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94" r:id="rId3"/>
    <p:sldMasterId id="2147483707" r:id="rId4"/>
    <p:sldMasterId id="2147483711" r:id="rId5"/>
    <p:sldMasterId id="2147483761" r:id="rId6"/>
    <p:sldMasterId id="2147483800" r:id="rId7"/>
  </p:sldMasterIdLst>
  <p:notesMasterIdLst>
    <p:notesMasterId r:id="rId85"/>
  </p:notesMasterIdLst>
  <p:sldIdLst>
    <p:sldId id="2147469483" r:id="rId8"/>
    <p:sldId id="2147469424" r:id="rId9"/>
    <p:sldId id="272" r:id="rId10"/>
    <p:sldId id="2147375825" r:id="rId11"/>
    <p:sldId id="2147470990" r:id="rId12"/>
    <p:sldId id="2147470991" r:id="rId13"/>
    <p:sldId id="2147469461" r:id="rId14"/>
    <p:sldId id="2147469467" r:id="rId15"/>
    <p:sldId id="2147471011" r:id="rId16"/>
    <p:sldId id="2147471068" r:id="rId17"/>
    <p:sldId id="2147471069" r:id="rId18"/>
    <p:sldId id="2147470995" r:id="rId19"/>
    <p:sldId id="2147471066" r:id="rId20"/>
    <p:sldId id="2147471004" r:id="rId21"/>
    <p:sldId id="2147470999" r:id="rId22"/>
    <p:sldId id="2147471016" r:id="rId23"/>
    <p:sldId id="2147471000" r:id="rId24"/>
    <p:sldId id="2147471001" r:id="rId25"/>
    <p:sldId id="2147471002" r:id="rId26"/>
    <p:sldId id="2147471003" r:id="rId27"/>
    <p:sldId id="2147471005" r:id="rId28"/>
    <p:sldId id="2147470998" r:id="rId29"/>
    <p:sldId id="2147471015" r:id="rId30"/>
    <p:sldId id="2147471012" r:id="rId31"/>
    <p:sldId id="2147471017" r:id="rId32"/>
    <p:sldId id="2147471058" r:id="rId33"/>
    <p:sldId id="2147471059" r:id="rId34"/>
    <p:sldId id="2147471018" r:id="rId35"/>
    <p:sldId id="2147471019" r:id="rId36"/>
    <p:sldId id="2147471021" r:id="rId37"/>
    <p:sldId id="2147471075" r:id="rId38"/>
    <p:sldId id="2147471022" r:id="rId39"/>
    <p:sldId id="2147471006" r:id="rId40"/>
    <p:sldId id="2147471035" r:id="rId41"/>
    <p:sldId id="2147471070" r:id="rId42"/>
    <p:sldId id="2147471023" r:id="rId43"/>
    <p:sldId id="2147471024" r:id="rId44"/>
    <p:sldId id="2147471025" r:id="rId45"/>
    <p:sldId id="2147471026" r:id="rId46"/>
    <p:sldId id="2147471034" r:id="rId47"/>
    <p:sldId id="2147471027" r:id="rId48"/>
    <p:sldId id="2147471028" r:id="rId49"/>
    <p:sldId id="2147471007" r:id="rId50"/>
    <p:sldId id="2147471029" r:id="rId51"/>
    <p:sldId id="2147471030" r:id="rId52"/>
    <p:sldId id="2147471061" r:id="rId53"/>
    <p:sldId id="2147471031" r:id="rId54"/>
    <p:sldId id="2147471073" r:id="rId55"/>
    <p:sldId id="2147471074" r:id="rId56"/>
    <p:sldId id="2147471008" r:id="rId57"/>
    <p:sldId id="2147471056" r:id="rId58"/>
    <p:sldId id="2147471033" r:id="rId59"/>
    <p:sldId id="2147471055" r:id="rId60"/>
    <p:sldId id="2147471032" r:id="rId61"/>
    <p:sldId id="2147471062" r:id="rId62"/>
    <p:sldId id="2147471054" r:id="rId63"/>
    <p:sldId id="2147471063" r:id="rId64"/>
    <p:sldId id="2147471064" r:id="rId65"/>
    <p:sldId id="2147471036" r:id="rId66"/>
    <p:sldId id="2147471013" r:id="rId67"/>
    <p:sldId id="2147471057" r:id="rId68"/>
    <p:sldId id="2147471037" r:id="rId69"/>
    <p:sldId id="2147471038" r:id="rId70"/>
    <p:sldId id="2147471039" r:id="rId71"/>
    <p:sldId id="2147471014" r:id="rId72"/>
    <p:sldId id="2147471041" r:id="rId73"/>
    <p:sldId id="2147471043" r:id="rId74"/>
    <p:sldId id="2147471044" r:id="rId75"/>
    <p:sldId id="2147471045" r:id="rId76"/>
    <p:sldId id="2147471046" r:id="rId77"/>
    <p:sldId id="2147471047" r:id="rId78"/>
    <p:sldId id="2147471048" r:id="rId79"/>
    <p:sldId id="2147471049" r:id="rId80"/>
    <p:sldId id="2147471060" r:id="rId81"/>
    <p:sldId id="2147471071" r:id="rId82"/>
    <p:sldId id="2147471072" r:id="rId83"/>
    <p:sldId id="2147471009" r:id="rId84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E5E6A7-376E-D793-DFC8-F05A558DF422}" name="Bravo, Ms. Pamela (WDC)" initials="BMP(" userId="S::bravopam@paho.org::bd47166a-b96e-4f14-b747-53ce1bf78792" providerId="AD"/>
  <p188:author id="{C0C12EBE-05C6-785C-61F7-99F9B45714F8}" name="Quezada,  Luis Fernando (GUT)" initials="Q(" userId="S::quezadalui@paho.org::4f198831-5225-4b5e-aa4b-f99408b18ab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ncent Bertin" initials="VB" lastIdx="2" clrIdx="0">
    <p:extLst>
      <p:ext uri="{19B8F6BF-5375-455C-9EA6-DF929625EA0E}">
        <p15:presenceInfo xmlns:p15="http://schemas.microsoft.com/office/powerpoint/2012/main" userId="Vincent Bert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C716"/>
    <a:srgbClr val="FF0000"/>
    <a:srgbClr val="6DED18"/>
    <a:srgbClr val="0070C0"/>
    <a:srgbClr val="92D050"/>
    <a:srgbClr val="CE1127"/>
    <a:srgbClr val="FFC000"/>
    <a:srgbClr val="BF0000"/>
    <a:srgbClr val="FFFFFF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88"/>
    <p:restoredTop sz="94769"/>
  </p:normalViewPr>
  <p:slideViewPr>
    <p:cSldViewPr snapToGrid="0">
      <p:cViewPr varScale="1">
        <p:scale>
          <a:sx n="101" d="100"/>
          <a:sy n="101" d="100"/>
        </p:scale>
        <p:origin x="224" y="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theme" Target="theme/theme1.xml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slide" Target="slides/slide73.xml"/><Relationship Id="rId85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presProps" Target="presProps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9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1DB-4843-8CC3-58A5DA5C385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1DB-4843-8CC3-58A5DA5C385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1DB-4843-8CC3-58A5DA5C385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1DB-4843-8CC3-58A5DA5C385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1DB-4843-8CC3-58A5DA5C385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Inmunidad poblacional</a:t>
                    </a:r>
                    <a:r>
                      <a:rPr lang="en-US" baseline="0"/>
                      <a:t>, </a:t>
                    </a:r>
                    <a:fld id="{EB1AE411-8F29-42ED-B453-42C221626AAF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1DB-4843-8CC3-58A5DA5C38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Calidad de la vigilancia</a:t>
                    </a:r>
                    <a:r>
                      <a:rPr lang="en-US" baseline="0"/>
                      <a:t>, </a:t>
                    </a:r>
                    <a:fld id="{99BFED34-3AC9-4E14-AF86-9C6CCE81940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1DB-4843-8CC3-58A5DA5C38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Desempeño</a:t>
                    </a:r>
                    <a:r>
                      <a:rPr lang="en-US" baseline="0"/>
                      <a:t> de programa, </a:t>
                    </a:r>
                    <a:fld id="{230717F2-C432-4473-8A91-B4A023C1E14A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1DB-4843-8CC3-58A5DA5C38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Evaluación de la</a:t>
                    </a:r>
                    <a:r>
                      <a:rPr lang="en-US" baseline="0"/>
                      <a:t> amenaza, </a:t>
                    </a:r>
                    <a:fld id="{590D6B8F-390F-483D-847F-DF57F87DB40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48632897138011"/>
                      <c:h val="0.2666879970675875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1DB-4843-8CC3-58A5DA5C38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Respuesta rápida</a:t>
                    </a:r>
                    <a:r>
                      <a:rPr lang="en-US" baseline="0"/>
                      <a:t>, </a:t>
                    </a:r>
                    <a:fld id="{9C8F08FD-2BA5-4658-8F03-2E6809BA105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1DB-4843-8CC3-58A5DA5C38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GT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Inmunidade populacional</c:v>
                </c:pt>
                <c:pt idx="1">
                  <c:v>Qualidade da vigilancia</c:v>
                </c:pt>
                <c:pt idx="2">
                  <c:v>Desempenho do programa</c:v>
                </c:pt>
                <c:pt idx="3">
                  <c:v>Avalidacao de risco</c:v>
                </c:pt>
                <c:pt idx="4">
                  <c:v>Resposta rápid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0</c:v>
                </c:pt>
                <c:pt idx="1">
                  <c:v>20</c:v>
                </c:pt>
                <c:pt idx="2">
                  <c:v>16</c:v>
                </c:pt>
                <c:pt idx="3">
                  <c:v>18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DB-4843-8CC3-58A5DA5C385F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 b="1"/>
      </a:pPr>
      <a:endParaRPr lang="en-G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svg"/><Relationship Id="rId1" Type="http://schemas.openxmlformats.org/officeDocument/2006/relationships/image" Target="../media/image30.png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svg"/><Relationship Id="rId1" Type="http://schemas.openxmlformats.org/officeDocument/2006/relationships/image" Target="../media/image51.png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diagrams/_rels/data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svg"/><Relationship Id="rId1" Type="http://schemas.openxmlformats.org/officeDocument/2006/relationships/image" Target="../media/image67.pn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svg"/><Relationship Id="rId3" Type="http://schemas.openxmlformats.org/officeDocument/2006/relationships/image" Target="../media/image141.png"/><Relationship Id="rId7" Type="http://schemas.openxmlformats.org/officeDocument/2006/relationships/image" Target="../media/image145.png"/><Relationship Id="rId2" Type="http://schemas.openxmlformats.org/officeDocument/2006/relationships/image" Target="../media/image140.svg"/><Relationship Id="rId1" Type="http://schemas.openxmlformats.org/officeDocument/2006/relationships/image" Target="../media/image139.png"/><Relationship Id="rId6" Type="http://schemas.openxmlformats.org/officeDocument/2006/relationships/image" Target="../media/image144.svg"/><Relationship Id="rId5" Type="http://schemas.openxmlformats.org/officeDocument/2006/relationships/image" Target="../media/image143.png"/><Relationship Id="rId4" Type="http://schemas.openxmlformats.org/officeDocument/2006/relationships/image" Target="../media/image142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svg"/><Relationship Id="rId1" Type="http://schemas.openxmlformats.org/officeDocument/2006/relationships/image" Target="../media/image30.png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svg"/><Relationship Id="rId1" Type="http://schemas.openxmlformats.org/officeDocument/2006/relationships/image" Target="../media/image51.png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diagrams/_rels/drawing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svg"/><Relationship Id="rId1" Type="http://schemas.openxmlformats.org/officeDocument/2006/relationships/image" Target="../media/image67.pn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svg"/><Relationship Id="rId3" Type="http://schemas.openxmlformats.org/officeDocument/2006/relationships/image" Target="../media/image141.png"/><Relationship Id="rId7" Type="http://schemas.openxmlformats.org/officeDocument/2006/relationships/image" Target="../media/image145.png"/><Relationship Id="rId2" Type="http://schemas.openxmlformats.org/officeDocument/2006/relationships/image" Target="../media/image140.svg"/><Relationship Id="rId1" Type="http://schemas.openxmlformats.org/officeDocument/2006/relationships/image" Target="../media/image139.png"/><Relationship Id="rId6" Type="http://schemas.openxmlformats.org/officeDocument/2006/relationships/image" Target="../media/image144.svg"/><Relationship Id="rId5" Type="http://schemas.openxmlformats.org/officeDocument/2006/relationships/image" Target="../media/image143.png"/><Relationship Id="rId4" Type="http://schemas.openxmlformats.org/officeDocument/2006/relationships/image" Target="../media/image14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2">
        <a:alpha val="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C48F2F-B2D1-4E50-82B3-A50188E4AF95}" type="doc">
      <dgm:prSet loTypeId="urn:microsoft.com/office/officeart/2005/8/layout/vList3" loCatId="list" qsTypeId="urn:microsoft.com/office/officeart/2005/8/quickstyle/simple1" qsCatId="simple" csTypeId="urn:microsoft.com/office/officeart/2005/8/colors/accent5_2" csCatId="accent5" phldr="1"/>
      <dgm:spPr/>
    </dgm:pt>
    <dgm:pt modelId="{ECF4A78C-8FC1-43E8-8956-935CBE9A01F9}">
      <dgm:prSet phldrT="[Text]"/>
      <dgm:spPr/>
      <dgm:t>
        <a:bodyPr/>
        <a:lstStyle/>
        <a:p>
          <a:r>
            <a:rPr lang="es-419" noProof="0"/>
            <a:t>¿Por qué?</a:t>
          </a:r>
        </a:p>
      </dgm:t>
    </dgm:pt>
    <dgm:pt modelId="{B29DEEC6-6FE9-46B5-B0DD-9AEEB26223E3}" type="parTrans" cxnId="{1F4DFD13-AA4D-4A26-8D64-B488E784D85E}">
      <dgm:prSet/>
      <dgm:spPr/>
      <dgm:t>
        <a:bodyPr/>
        <a:lstStyle/>
        <a:p>
          <a:endParaRPr lang="es-419" noProof="0"/>
        </a:p>
      </dgm:t>
    </dgm:pt>
    <dgm:pt modelId="{83006A85-C5CD-4809-8E8B-2EAC72BF318D}" type="sibTrans" cxnId="{1F4DFD13-AA4D-4A26-8D64-B488E784D85E}">
      <dgm:prSet/>
      <dgm:spPr/>
      <dgm:t>
        <a:bodyPr/>
        <a:lstStyle/>
        <a:p>
          <a:endParaRPr lang="es-419" noProof="0"/>
        </a:p>
      </dgm:t>
    </dgm:pt>
    <dgm:pt modelId="{65E2C14B-6D63-4488-8ADE-7B83082AE3C7}">
      <dgm:prSet phldrT="[Text]"/>
      <dgm:spPr/>
      <dgm:t>
        <a:bodyPr/>
        <a:lstStyle/>
        <a:p>
          <a:r>
            <a:rPr lang="es-419" noProof="0"/>
            <a:t>¿Cómo?</a:t>
          </a:r>
        </a:p>
      </dgm:t>
    </dgm:pt>
    <dgm:pt modelId="{E4AAF8CB-1DC2-440E-999D-C4D6B17E6E7F}" type="parTrans" cxnId="{797844E2-EC23-43FE-83AE-8881BD30A711}">
      <dgm:prSet/>
      <dgm:spPr/>
      <dgm:t>
        <a:bodyPr/>
        <a:lstStyle/>
        <a:p>
          <a:endParaRPr lang="es-419" noProof="0"/>
        </a:p>
      </dgm:t>
    </dgm:pt>
    <dgm:pt modelId="{057A0C29-CF98-48B4-B7FE-221E6042B68E}" type="sibTrans" cxnId="{797844E2-EC23-43FE-83AE-8881BD30A711}">
      <dgm:prSet/>
      <dgm:spPr/>
      <dgm:t>
        <a:bodyPr/>
        <a:lstStyle/>
        <a:p>
          <a:endParaRPr lang="es-419" noProof="0"/>
        </a:p>
      </dgm:t>
    </dgm:pt>
    <dgm:pt modelId="{B9519568-6A5B-4AE9-8C37-060A02AAF5EE}">
      <dgm:prSet phldrT="[Text]"/>
      <dgm:spPr/>
      <dgm:t>
        <a:bodyPr/>
        <a:lstStyle/>
        <a:p>
          <a:r>
            <a:rPr lang="es-419" noProof="0"/>
            <a:t>¿Qué hacer?</a:t>
          </a:r>
        </a:p>
      </dgm:t>
    </dgm:pt>
    <dgm:pt modelId="{306323F3-1BDD-43FD-AA56-F0C888265029}" type="parTrans" cxnId="{81013165-6F9C-47B7-A2ED-EF05DC04A8C0}">
      <dgm:prSet/>
      <dgm:spPr/>
      <dgm:t>
        <a:bodyPr/>
        <a:lstStyle/>
        <a:p>
          <a:endParaRPr lang="es-419" noProof="0"/>
        </a:p>
      </dgm:t>
    </dgm:pt>
    <dgm:pt modelId="{7BE5B94A-6788-493E-BEEB-366D74D627A2}" type="sibTrans" cxnId="{81013165-6F9C-47B7-A2ED-EF05DC04A8C0}">
      <dgm:prSet/>
      <dgm:spPr/>
      <dgm:t>
        <a:bodyPr/>
        <a:lstStyle/>
        <a:p>
          <a:endParaRPr lang="es-419" noProof="0"/>
        </a:p>
      </dgm:t>
    </dgm:pt>
    <dgm:pt modelId="{B877AE5F-D579-4387-BDEB-E9931BE532CD}" type="pres">
      <dgm:prSet presAssocID="{78C48F2F-B2D1-4E50-82B3-A50188E4AF95}" presName="linearFlow" presStyleCnt="0">
        <dgm:presLayoutVars>
          <dgm:dir/>
          <dgm:resizeHandles val="exact"/>
        </dgm:presLayoutVars>
      </dgm:prSet>
      <dgm:spPr/>
    </dgm:pt>
    <dgm:pt modelId="{6E8F095C-413B-424F-99EB-4D5165CE1D09}" type="pres">
      <dgm:prSet presAssocID="{ECF4A78C-8FC1-43E8-8956-935CBE9A01F9}" presName="composite" presStyleCnt="0"/>
      <dgm:spPr/>
    </dgm:pt>
    <dgm:pt modelId="{A8748931-5045-4D17-BC4A-3713B00D8B50}" type="pres">
      <dgm:prSet presAssocID="{ECF4A78C-8FC1-43E8-8956-935CBE9A01F9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1 with solid fill"/>
        </a:ext>
      </dgm:extLst>
    </dgm:pt>
    <dgm:pt modelId="{863D4BBF-F939-4555-810E-30FB0F48B385}" type="pres">
      <dgm:prSet presAssocID="{ECF4A78C-8FC1-43E8-8956-935CBE9A01F9}" presName="txShp" presStyleLbl="node1" presStyleIdx="0" presStyleCnt="3">
        <dgm:presLayoutVars>
          <dgm:bulletEnabled val="1"/>
        </dgm:presLayoutVars>
      </dgm:prSet>
      <dgm:spPr/>
    </dgm:pt>
    <dgm:pt modelId="{F5D592F2-E47F-443A-A094-79E0A51CC67B}" type="pres">
      <dgm:prSet presAssocID="{83006A85-C5CD-4809-8E8B-2EAC72BF318D}" presName="spacing" presStyleCnt="0"/>
      <dgm:spPr/>
    </dgm:pt>
    <dgm:pt modelId="{BCB25987-31B6-444A-AD30-0507492E4C8A}" type="pres">
      <dgm:prSet presAssocID="{65E2C14B-6D63-4488-8ADE-7B83082AE3C7}" presName="composite" presStyleCnt="0"/>
      <dgm:spPr/>
    </dgm:pt>
    <dgm:pt modelId="{09026911-68E2-40EA-80FE-0B794CA53FBC}" type="pres">
      <dgm:prSet presAssocID="{65E2C14B-6D63-4488-8ADE-7B83082AE3C7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with solid fill"/>
        </a:ext>
      </dgm:extLst>
    </dgm:pt>
    <dgm:pt modelId="{B987E190-D889-4DD7-A1C2-82A3FA73215E}" type="pres">
      <dgm:prSet presAssocID="{65E2C14B-6D63-4488-8ADE-7B83082AE3C7}" presName="txShp" presStyleLbl="node1" presStyleIdx="1" presStyleCnt="3">
        <dgm:presLayoutVars>
          <dgm:bulletEnabled val="1"/>
        </dgm:presLayoutVars>
      </dgm:prSet>
      <dgm:spPr/>
    </dgm:pt>
    <dgm:pt modelId="{19D7AEC5-7614-4AC1-ACBB-701B76953114}" type="pres">
      <dgm:prSet presAssocID="{057A0C29-CF98-48B4-B7FE-221E6042B68E}" presName="spacing" presStyleCnt="0"/>
      <dgm:spPr/>
    </dgm:pt>
    <dgm:pt modelId="{092486A1-AD76-4A2C-9917-EC5796510647}" type="pres">
      <dgm:prSet presAssocID="{B9519568-6A5B-4AE9-8C37-060A02AAF5EE}" presName="composite" presStyleCnt="0"/>
      <dgm:spPr/>
    </dgm:pt>
    <dgm:pt modelId="{64FF51E2-F63B-4CE9-B3C0-FE807F777C89}" type="pres">
      <dgm:prSet presAssocID="{B9519568-6A5B-4AE9-8C37-060A02AAF5EE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3 with solid fill"/>
        </a:ext>
      </dgm:extLst>
    </dgm:pt>
    <dgm:pt modelId="{3968535B-3741-4B1F-A8F7-394CC38B7B7D}" type="pres">
      <dgm:prSet presAssocID="{B9519568-6A5B-4AE9-8C37-060A02AAF5EE}" presName="txShp" presStyleLbl="node1" presStyleIdx="2" presStyleCnt="3">
        <dgm:presLayoutVars>
          <dgm:bulletEnabled val="1"/>
        </dgm:presLayoutVars>
      </dgm:prSet>
      <dgm:spPr/>
    </dgm:pt>
  </dgm:ptLst>
  <dgm:cxnLst>
    <dgm:cxn modelId="{1F4DFD13-AA4D-4A26-8D64-B488E784D85E}" srcId="{78C48F2F-B2D1-4E50-82B3-A50188E4AF95}" destId="{ECF4A78C-8FC1-43E8-8956-935CBE9A01F9}" srcOrd="0" destOrd="0" parTransId="{B29DEEC6-6FE9-46B5-B0DD-9AEEB26223E3}" sibTransId="{83006A85-C5CD-4809-8E8B-2EAC72BF318D}"/>
    <dgm:cxn modelId="{81013165-6F9C-47B7-A2ED-EF05DC04A8C0}" srcId="{78C48F2F-B2D1-4E50-82B3-A50188E4AF95}" destId="{B9519568-6A5B-4AE9-8C37-060A02AAF5EE}" srcOrd="2" destOrd="0" parTransId="{306323F3-1BDD-43FD-AA56-F0C888265029}" sibTransId="{7BE5B94A-6788-493E-BEEB-366D74D627A2}"/>
    <dgm:cxn modelId="{848349A6-087B-4AD1-930D-3CB17592A20F}" type="presOf" srcId="{65E2C14B-6D63-4488-8ADE-7B83082AE3C7}" destId="{B987E190-D889-4DD7-A1C2-82A3FA73215E}" srcOrd="0" destOrd="0" presId="urn:microsoft.com/office/officeart/2005/8/layout/vList3"/>
    <dgm:cxn modelId="{9279FBC1-0877-46F0-AA78-4C74FDE2B79F}" type="presOf" srcId="{78C48F2F-B2D1-4E50-82B3-A50188E4AF95}" destId="{B877AE5F-D579-4387-BDEB-E9931BE532CD}" srcOrd="0" destOrd="0" presId="urn:microsoft.com/office/officeart/2005/8/layout/vList3"/>
    <dgm:cxn modelId="{9FACA4CD-4514-4E68-BB79-DF97C56F266D}" type="presOf" srcId="{ECF4A78C-8FC1-43E8-8956-935CBE9A01F9}" destId="{863D4BBF-F939-4555-810E-30FB0F48B385}" srcOrd="0" destOrd="0" presId="urn:microsoft.com/office/officeart/2005/8/layout/vList3"/>
    <dgm:cxn modelId="{797844E2-EC23-43FE-83AE-8881BD30A711}" srcId="{78C48F2F-B2D1-4E50-82B3-A50188E4AF95}" destId="{65E2C14B-6D63-4488-8ADE-7B83082AE3C7}" srcOrd="1" destOrd="0" parTransId="{E4AAF8CB-1DC2-440E-999D-C4D6B17E6E7F}" sibTransId="{057A0C29-CF98-48B4-B7FE-221E6042B68E}"/>
    <dgm:cxn modelId="{96F0A9EB-5294-4091-81E5-1AA6A308CAC4}" type="presOf" srcId="{B9519568-6A5B-4AE9-8C37-060A02AAF5EE}" destId="{3968535B-3741-4B1F-A8F7-394CC38B7B7D}" srcOrd="0" destOrd="0" presId="urn:microsoft.com/office/officeart/2005/8/layout/vList3"/>
    <dgm:cxn modelId="{57F53E93-0D87-4034-BB23-1A0978386762}" type="presParOf" srcId="{B877AE5F-D579-4387-BDEB-E9931BE532CD}" destId="{6E8F095C-413B-424F-99EB-4D5165CE1D09}" srcOrd="0" destOrd="0" presId="urn:microsoft.com/office/officeart/2005/8/layout/vList3"/>
    <dgm:cxn modelId="{55D172DE-A526-4FCD-AFA1-42F2D179B14F}" type="presParOf" srcId="{6E8F095C-413B-424F-99EB-4D5165CE1D09}" destId="{A8748931-5045-4D17-BC4A-3713B00D8B50}" srcOrd="0" destOrd="0" presId="urn:microsoft.com/office/officeart/2005/8/layout/vList3"/>
    <dgm:cxn modelId="{B4A52919-2568-4649-9265-96B09E45DB41}" type="presParOf" srcId="{6E8F095C-413B-424F-99EB-4D5165CE1D09}" destId="{863D4BBF-F939-4555-810E-30FB0F48B385}" srcOrd="1" destOrd="0" presId="urn:microsoft.com/office/officeart/2005/8/layout/vList3"/>
    <dgm:cxn modelId="{9B1C351F-1D8A-4CBD-A2FC-234E37C85A32}" type="presParOf" srcId="{B877AE5F-D579-4387-BDEB-E9931BE532CD}" destId="{F5D592F2-E47F-443A-A094-79E0A51CC67B}" srcOrd="1" destOrd="0" presId="urn:microsoft.com/office/officeart/2005/8/layout/vList3"/>
    <dgm:cxn modelId="{444ABD27-9D1B-4299-A90E-E36D55D17126}" type="presParOf" srcId="{B877AE5F-D579-4387-BDEB-E9931BE532CD}" destId="{BCB25987-31B6-444A-AD30-0507492E4C8A}" srcOrd="2" destOrd="0" presId="urn:microsoft.com/office/officeart/2005/8/layout/vList3"/>
    <dgm:cxn modelId="{0D230F2A-6435-4158-831A-51517177AD97}" type="presParOf" srcId="{BCB25987-31B6-444A-AD30-0507492E4C8A}" destId="{09026911-68E2-40EA-80FE-0B794CA53FBC}" srcOrd="0" destOrd="0" presId="urn:microsoft.com/office/officeart/2005/8/layout/vList3"/>
    <dgm:cxn modelId="{E00CF6AF-3ADB-47D6-B0D7-81BE28CE5DA5}" type="presParOf" srcId="{BCB25987-31B6-444A-AD30-0507492E4C8A}" destId="{B987E190-D889-4DD7-A1C2-82A3FA73215E}" srcOrd="1" destOrd="0" presId="urn:microsoft.com/office/officeart/2005/8/layout/vList3"/>
    <dgm:cxn modelId="{351EAB7D-D5C6-42FB-AC3F-C5C5D17E17CB}" type="presParOf" srcId="{B877AE5F-D579-4387-BDEB-E9931BE532CD}" destId="{19D7AEC5-7614-4AC1-ACBB-701B76953114}" srcOrd="3" destOrd="0" presId="urn:microsoft.com/office/officeart/2005/8/layout/vList3"/>
    <dgm:cxn modelId="{B2DDD3E2-1526-4976-9FD4-709D0D42AE91}" type="presParOf" srcId="{B877AE5F-D579-4387-BDEB-E9931BE532CD}" destId="{092486A1-AD76-4A2C-9917-EC5796510647}" srcOrd="4" destOrd="0" presId="urn:microsoft.com/office/officeart/2005/8/layout/vList3"/>
    <dgm:cxn modelId="{1BF75E1C-999B-43E8-A8E7-8AF416614D35}" type="presParOf" srcId="{092486A1-AD76-4A2C-9917-EC5796510647}" destId="{64FF51E2-F63B-4CE9-B3C0-FE807F777C89}" srcOrd="0" destOrd="0" presId="urn:microsoft.com/office/officeart/2005/8/layout/vList3"/>
    <dgm:cxn modelId="{F4A5652E-3C58-420A-BDE9-B43C9370138A}" type="presParOf" srcId="{092486A1-AD76-4A2C-9917-EC5796510647}" destId="{3968535B-3741-4B1F-A8F7-394CC38B7B7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857FE3-C3A8-4760-AAA9-7CDBE6D0AEB7}" type="doc">
      <dgm:prSet loTypeId="urn:microsoft.com/office/officeart/2005/8/layout/vList2" loCatId="list" qsTypeId="urn:microsoft.com/office/officeart/2005/8/quickstyle/simple4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7B6E8584-34EA-4F9C-B137-7CCDEB139720}">
      <dgm:prSet custT="1"/>
      <dgm:spPr/>
      <dgm:t>
        <a:bodyPr/>
        <a:lstStyle/>
        <a:p>
          <a:pPr algn="ctr"/>
          <a:r>
            <a:rPr lang="es-419" sz="2000" noProof="0"/>
            <a:t>Riesgo calculado sumando los puntajes individuales según 5 categorías</a:t>
          </a:r>
        </a:p>
      </dgm:t>
    </dgm:pt>
    <dgm:pt modelId="{D2FB8315-B09C-4A58-9DC0-27A77794C717}" type="parTrans" cxnId="{C73C5527-53AD-487E-A35F-E84015EDF056}">
      <dgm:prSet/>
      <dgm:spPr/>
      <dgm:t>
        <a:bodyPr/>
        <a:lstStyle/>
        <a:p>
          <a:endParaRPr lang="es-CO"/>
        </a:p>
      </dgm:t>
    </dgm:pt>
    <dgm:pt modelId="{B090927C-68BA-45E0-B756-07B34A7960E5}" type="sibTrans" cxnId="{C73C5527-53AD-487E-A35F-E84015EDF056}">
      <dgm:prSet/>
      <dgm:spPr/>
      <dgm:t>
        <a:bodyPr/>
        <a:lstStyle/>
        <a:p>
          <a:endParaRPr lang="es-CO"/>
        </a:p>
      </dgm:t>
    </dgm:pt>
    <dgm:pt modelId="{6AB6730C-3553-4762-9567-BA6C4C610A5E}">
      <dgm:prSet custT="1"/>
      <dgm:spPr/>
      <dgm:t>
        <a:bodyPr/>
        <a:lstStyle/>
        <a:p>
          <a:pPr algn="ctr"/>
          <a:r>
            <a:rPr lang="es-419" sz="2000" noProof="0"/>
            <a:t>Cada municipio es categorizado en bajo, mediano, alto y muy alto riesgo</a:t>
          </a:r>
        </a:p>
      </dgm:t>
    </dgm:pt>
    <dgm:pt modelId="{18EFCF3B-8F00-488C-939E-E5F6EBBDCD74}" type="parTrans" cxnId="{3D3803D6-425D-4115-BB3E-3765BB9A4881}">
      <dgm:prSet/>
      <dgm:spPr/>
      <dgm:t>
        <a:bodyPr/>
        <a:lstStyle/>
        <a:p>
          <a:endParaRPr lang="es-CO"/>
        </a:p>
      </dgm:t>
    </dgm:pt>
    <dgm:pt modelId="{1FF9FA84-5765-4BE4-A12E-3C35AD0BE3D7}" type="sibTrans" cxnId="{3D3803D6-425D-4115-BB3E-3765BB9A4881}">
      <dgm:prSet/>
      <dgm:spPr/>
      <dgm:t>
        <a:bodyPr/>
        <a:lstStyle/>
        <a:p>
          <a:endParaRPr lang="es-CO"/>
        </a:p>
      </dgm:t>
    </dgm:pt>
    <dgm:pt modelId="{CCEC5187-1880-4680-A403-79D8285F5D3A}">
      <dgm:prSet custT="1"/>
      <dgm:spPr/>
      <dgm:t>
        <a:bodyPr/>
        <a:lstStyle/>
        <a:p>
          <a:pPr algn="ctr"/>
          <a:r>
            <a:rPr lang="es-419" sz="2000" noProof="0"/>
            <a:t>La herramienta genera un reporte automatizado con tablas y mapas</a:t>
          </a:r>
        </a:p>
      </dgm:t>
    </dgm:pt>
    <dgm:pt modelId="{009D844B-7BEB-4C5D-86D4-6AE77A03951C}" type="parTrans" cxnId="{3769711F-6F04-47DB-9DB5-C471FE73EBF2}">
      <dgm:prSet/>
      <dgm:spPr/>
      <dgm:t>
        <a:bodyPr/>
        <a:lstStyle/>
        <a:p>
          <a:endParaRPr lang="es-CO"/>
        </a:p>
      </dgm:t>
    </dgm:pt>
    <dgm:pt modelId="{DB4AE9EE-02BB-44C3-863F-BACA1BAE7A6E}" type="sibTrans" cxnId="{3769711F-6F04-47DB-9DB5-C471FE73EBF2}">
      <dgm:prSet/>
      <dgm:spPr/>
      <dgm:t>
        <a:bodyPr/>
        <a:lstStyle/>
        <a:p>
          <a:endParaRPr lang="es-CO"/>
        </a:p>
      </dgm:t>
    </dgm:pt>
    <dgm:pt modelId="{BA47BFC3-90B1-4408-819B-E2169DAC5E4B}">
      <dgm:prSet custT="1"/>
      <dgm:spPr/>
      <dgm:t>
        <a:bodyPr/>
        <a:lstStyle/>
        <a:p>
          <a:pPr algn="ctr"/>
          <a:r>
            <a:rPr lang="es-419" sz="2000" noProof="0" dirty="0"/>
            <a:t>Versión brotes y no brotes</a:t>
          </a:r>
        </a:p>
      </dgm:t>
    </dgm:pt>
    <dgm:pt modelId="{EBCB021D-58A5-408E-9814-B74D38E56473}" type="parTrans" cxnId="{80EE2CAD-9005-4882-B1D7-FE2FEB6E572C}">
      <dgm:prSet/>
      <dgm:spPr/>
      <dgm:t>
        <a:bodyPr/>
        <a:lstStyle/>
        <a:p>
          <a:endParaRPr lang="es-CO"/>
        </a:p>
      </dgm:t>
    </dgm:pt>
    <dgm:pt modelId="{5E9A0C85-4512-4F43-88A3-878ACBAA9D91}" type="sibTrans" cxnId="{80EE2CAD-9005-4882-B1D7-FE2FEB6E572C}">
      <dgm:prSet/>
      <dgm:spPr/>
      <dgm:t>
        <a:bodyPr/>
        <a:lstStyle/>
        <a:p>
          <a:endParaRPr lang="es-CO"/>
        </a:p>
      </dgm:t>
    </dgm:pt>
    <dgm:pt modelId="{345D75B0-4329-4D2C-94FB-43CCCFDB9094}">
      <dgm:prSet custT="1"/>
      <dgm:spPr/>
      <dgm:t>
        <a:bodyPr/>
        <a:lstStyle/>
        <a:p>
          <a:pPr algn="ctr"/>
          <a:r>
            <a:rPr lang="es-419" sz="2000" noProof="0"/>
            <a:t>Datos recolectados rutinariamente y disponibles a nivel municipal</a:t>
          </a:r>
        </a:p>
      </dgm:t>
    </dgm:pt>
    <dgm:pt modelId="{4E826E41-612A-4F1C-AFD1-7339999FAB4F}" type="parTrans" cxnId="{6F8E6FC2-7548-40E3-97FE-2ECD16406245}">
      <dgm:prSet/>
      <dgm:spPr/>
      <dgm:t>
        <a:bodyPr/>
        <a:lstStyle/>
        <a:p>
          <a:endParaRPr lang="en-US"/>
        </a:p>
      </dgm:t>
    </dgm:pt>
    <dgm:pt modelId="{F1CED19E-8585-4CCF-B23B-339872DD6EAF}" type="sibTrans" cxnId="{6F8E6FC2-7548-40E3-97FE-2ECD16406245}">
      <dgm:prSet/>
      <dgm:spPr/>
      <dgm:t>
        <a:bodyPr/>
        <a:lstStyle/>
        <a:p>
          <a:endParaRPr lang="en-US"/>
        </a:p>
      </dgm:t>
    </dgm:pt>
    <dgm:pt modelId="{F5B970ED-3EA5-45E8-AC96-F3E4E183B66D}" type="pres">
      <dgm:prSet presAssocID="{DA857FE3-C3A8-4760-AAA9-7CDBE6D0AEB7}" presName="linear" presStyleCnt="0">
        <dgm:presLayoutVars>
          <dgm:animLvl val="lvl"/>
          <dgm:resizeHandles val="exact"/>
        </dgm:presLayoutVars>
      </dgm:prSet>
      <dgm:spPr/>
    </dgm:pt>
    <dgm:pt modelId="{25FDD24F-6E43-4354-8D97-66B5C3F27F66}" type="pres">
      <dgm:prSet presAssocID="{7B6E8584-34EA-4F9C-B137-7CCDEB139720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ABFF0756-D2E3-4AB0-AE7B-24E4E4257EFE}" type="pres">
      <dgm:prSet presAssocID="{B090927C-68BA-45E0-B756-07B34A7960E5}" presName="spacer" presStyleCnt="0"/>
      <dgm:spPr/>
    </dgm:pt>
    <dgm:pt modelId="{65D237EF-C325-4F8B-BE4B-5647AC4E0E55}" type="pres">
      <dgm:prSet presAssocID="{345D75B0-4329-4D2C-94FB-43CCCFDB9094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C810372A-781D-4E43-AEB5-42CE0CC878B1}" type="pres">
      <dgm:prSet presAssocID="{F1CED19E-8585-4CCF-B23B-339872DD6EAF}" presName="spacer" presStyleCnt="0"/>
      <dgm:spPr/>
    </dgm:pt>
    <dgm:pt modelId="{28BB13EF-6115-4830-9D7A-69F288A124DE}" type="pres">
      <dgm:prSet presAssocID="{6AB6730C-3553-4762-9567-BA6C4C610A5E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5AA36F74-EAC1-4F4E-A85C-83423F22E49A}" type="pres">
      <dgm:prSet presAssocID="{1FF9FA84-5765-4BE4-A12E-3C35AD0BE3D7}" presName="spacer" presStyleCnt="0"/>
      <dgm:spPr/>
    </dgm:pt>
    <dgm:pt modelId="{D81A3ADD-7628-4EEC-9FA5-BE55AC616E7B}" type="pres">
      <dgm:prSet presAssocID="{CCEC5187-1880-4680-A403-79D8285F5D3A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0AAB8A11-EA23-49D4-9A0E-1686E0A88C3C}" type="pres">
      <dgm:prSet presAssocID="{DB4AE9EE-02BB-44C3-863F-BACA1BAE7A6E}" presName="spacer" presStyleCnt="0"/>
      <dgm:spPr/>
    </dgm:pt>
    <dgm:pt modelId="{FF789AF4-58B9-467C-8159-46D41EFD0463}" type="pres">
      <dgm:prSet presAssocID="{BA47BFC3-90B1-4408-819B-E2169DAC5E4B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316FA701-5B54-4C07-A386-0D370AE63383}" type="presOf" srcId="{6AB6730C-3553-4762-9567-BA6C4C610A5E}" destId="{28BB13EF-6115-4830-9D7A-69F288A124DE}" srcOrd="0" destOrd="0" presId="urn:microsoft.com/office/officeart/2005/8/layout/vList2"/>
    <dgm:cxn modelId="{3769711F-6F04-47DB-9DB5-C471FE73EBF2}" srcId="{DA857FE3-C3A8-4760-AAA9-7CDBE6D0AEB7}" destId="{CCEC5187-1880-4680-A403-79D8285F5D3A}" srcOrd="3" destOrd="0" parTransId="{009D844B-7BEB-4C5D-86D4-6AE77A03951C}" sibTransId="{DB4AE9EE-02BB-44C3-863F-BACA1BAE7A6E}"/>
    <dgm:cxn modelId="{2BA99A23-126A-42A5-B470-2D6E8015E124}" type="presOf" srcId="{7B6E8584-34EA-4F9C-B137-7CCDEB139720}" destId="{25FDD24F-6E43-4354-8D97-66B5C3F27F66}" srcOrd="0" destOrd="0" presId="urn:microsoft.com/office/officeart/2005/8/layout/vList2"/>
    <dgm:cxn modelId="{F4930327-811D-42D2-A0EE-71C0611E21A6}" type="presOf" srcId="{345D75B0-4329-4D2C-94FB-43CCCFDB9094}" destId="{65D237EF-C325-4F8B-BE4B-5647AC4E0E55}" srcOrd="0" destOrd="0" presId="urn:microsoft.com/office/officeart/2005/8/layout/vList2"/>
    <dgm:cxn modelId="{C73C5527-53AD-487E-A35F-E84015EDF056}" srcId="{DA857FE3-C3A8-4760-AAA9-7CDBE6D0AEB7}" destId="{7B6E8584-34EA-4F9C-B137-7CCDEB139720}" srcOrd="0" destOrd="0" parTransId="{D2FB8315-B09C-4A58-9DC0-27A77794C717}" sibTransId="{B090927C-68BA-45E0-B756-07B34A7960E5}"/>
    <dgm:cxn modelId="{F0CB5B5B-24B3-4F33-8B9F-684271C60108}" type="presOf" srcId="{DA857FE3-C3A8-4760-AAA9-7CDBE6D0AEB7}" destId="{F5B970ED-3EA5-45E8-AC96-F3E4E183B66D}" srcOrd="0" destOrd="0" presId="urn:microsoft.com/office/officeart/2005/8/layout/vList2"/>
    <dgm:cxn modelId="{81A37F67-4734-467F-9195-A25CE7457BAB}" type="presOf" srcId="{BA47BFC3-90B1-4408-819B-E2169DAC5E4B}" destId="{FF789AF4-58B9-467C-8159-46D41EFD0463}" srcOrd="0" destOrd="0" presId="urn:microsoft.com/office/officeart/2005/8/layout/vList2"/>
    <dgm:cxn modelId="{FC64C198-C498-4848-9898-0DA2637A292D}" type="presOf" srcId="{CCEC5187-1880-4680-A403-79D8285F5D3A}" destId="{D81A3ADD-7628-4EEC-9FA5-BE55AC616E7B}" srcOrd="0" destOrd="0" presId="urn:microsoft.com/office/officeart/2005/8/layout/vList2"/>
    <dgm:cxn modelId="{80EE2CAD-9005-4882-B1D7-FE2FEB6E572C}" srcId="{DA857FE3-C3A8-4760-AAA9-7CDBE6D0AEB7}" destId="{BA47BFC3-90B1-4408-819B-E2169DAC5E4B}" srcOrd="4" destOrd="0" parTransId="{EBCB021D-58A5-408E-9814-B74D38E56473}" sibTransId="{5E9A0C85-4512-4F43-88A3-878ACBAA9D91}"/>
    <dgm:cxn modelId="{6F8E6FC2-7548-40E3-97FE-2ECD16406245}" srcId="{DA857FE3-C3A8-4760-AAA9-7CDBE6D0AEB7}" destId="{345D75B0-4329-4D2C-94FB-43CCCFDB9094}" srcOrd="1" destOrd="0" parTransId="{4E826E41-612A-4F1C-AFD1-7339999FAB4F}" sibTransId="{F1CED19E-8585-4CCF-B23B-339872DD6EAF}"/>
    <dgm:cxn modelId="{3D3803D6-425D-4115-BB3E-3765BB9A4881}" srcId="{DA857FE3-C3A8-4760-AAA9-7CDBE6D0AEB7}" destId="{6AB6730C-3553-4762-9567-BA6C4C610A5E}" srcOrd="2" destOrd="0" parTransId="{18EFCF3B-8F00-488C-939E-E5F6EBBDCD74}" sibTransId="{1FF9FA84-5765-4BE4-A12E-3C35AD0BE3D7}"/>
    <dgm:cxn modelId="{9E4F1341-8458-42BC-8323-7C9C0155B309}" type="presParOf" srcId="{F5B970ED-3EA5-45E8-AC96-F3E4E183B66D}" destId="{25FDD24F-6E43-4354-8D97-66B5C3F27F66}" srcOrd="0" destOrd="0" presId="urn:microsoft.com/office/officeart/2005/8/layout/vList2"/>
    <dgm:cxn modelId="{FC76C8CE-5A95-409A-B6B3-FFB7EFBCA661}" type="presParOf" srcId="{F5B970ED-3EA5-45E8-AC96-F3E4E183B66D}" destId="{ABFF0756-D2E3-4AB0-AE7B-24E4E4257EFE}" srcOrd="1" destOrd="0" presId="urn:microsoft.com/office/officeart/2005/8/layout/vList2"/>
    <dgm:cxn modelId="{00D8567C-5D08-42B5-B9B3-8AF58E1C69A7}" type="presParOf" srcId="{F5B970ED-3EA5-45E8-AC96-F3E4E183B66D}" destId="{65D237EF-C325-4F8B-BE4B-5647AC4E0E55}" srcOrd="2" destOrd="0" presId="urn:microsoft.com/office/officeart/2005/8/layout/vList2"/>
    <dgm:cxn modelId="{40F088E7-9A03-42D0-BBA7-366E048821D9}" type="presParOf" srcId="{F5B970ED-3EA5-45E8-AC96-F3E4E183B66D}" destId="{C810372A-781D-4E43-AEB5-42CE0CC878B1}" srcOrd="3" destOrd="0" presId="urn:microsoft.com/office/officeart/2005/8/layout/vList2"/>
    <dgm:cxn modelId="{14723FE2-D0A3-48C2-A5F6-E3777FF4D232}" type="presParOf" srcId="{F5B970ED-3EA5-45E8-AC96-F3E4E183B66D}" destId="{28BB13EF-6115-4830-9D7A-69F288A124DE}" srcOrd="4" destOrd="0" presId="urn:microsoft.com/office/officeart/2005/8/layout/vList2"/>
    <dgm:cxn modelId="{159B4970-EA86-4826-8BAD-AC10BC08D095}" type="presParOf" srcId="{F5B970ED-3EA5-45E8-AC96-F3E4E183B66D}" destId="{5AA36F74-EAC1-4F4E-A85C-83423F22E49A}" srcOrd="5" destOrd="0" presId="urn:microsoft.com/office/officeart/2005/8/layout/vList2"/>
    <dgm:cxn modelId="{269515E8-B185-4BC6-93BC-2E8404A68190}" type="presParOf" srcId="{F5B970ED-3EA5-45E8-AC96-F3E4E183B66D}" destId="{D81A3ADD-7628-4EEC-9FA5-BE55AC616E7B}" srcOrd="6" destOrd="0" presId="urn:microsoft.com/office/officeart/2005/8/layout/vList2"/>
    <dgm:cxn modelId="{693A46A5-D501-4482-9A7B-3EC9639B9014}" type="presParOf" srcId="{F5B970ED-3EA5-45E8-AC96-F3E4E183B66D}" destId="{0AAB8A11-EA23-49D4-9A0E-1686E0A88C3C}" srcOrd="7" destOrd="0" presId="urn:microsoft.com/office/officeart/2005/8/layout/vList2"/>
    <dgm:cxn modelId="{7CF68605-CBA5-4E9F-84C0-B5763410C6C4}" type="presParOf" srcId="{F5B970ED-3EA5-45E8-AC96-F3E4E183B66D}" destId="{FF789AF4-58B9-467C-8159-46D41EFD0463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776735-D8E5-4DC9-B588-A0B3924D7ED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31D4A5F-30AC-49C9-B5C3-70D31EB146B1}">
      <dgm:prSet/>
      <dgm:spPr/>
      <dgm:t>
        <a:bodyPr/>
        <a:lstStyle/>
        <a:p>
          <a:r>
            <a:rPr lang="es-ES_tradnl"/>
            <a:t>+ 4 Idiomas*</a:t>
          </a:r>
          <a:endParaRPr lang="en-US"/>
        </a:p>
      </dgm:t>
    </dgm:pt>
    <dgm:pt modelId="{123AD2BE-CF30-4C31-AAB9-31C379552065}" type="parTrans" cxnId="{67C7BE73-C937-4621-A849-C3243D413119}">
      <dgm:prSet/>
      <dgm:spPr/>
      <dgm:t>
        <a:bodyPr/>
        <a:lstStyle/>
        <a:p>
          <a:endParaRPr lang="en-US"/>
        </a:p>
      </dgm:t>
    </dgm:pt>
    <dgm:pt modelId="{C6AA03E0-00D3-46F5-8DB5-90E0FE40A0CE}" type="sibTrans" cxnId="{67C7BE73-C937-4621-A849-C3243D413119}">
      <dgm:prSet/>
      <dgm:spPr/>
      <dgm:t>
        <a:bodyPr/>
        <a:lstStyle/>
        <a:p>
          <a:endParaRPr lang="en-US"/>
        </a:p>
      </dgm:t>
    </dgm:pt>
    <dgm:pt modelId="{B3A5AE63-3553-4E98-AE6A-1CE0828D35E7}">
      <dgm:prSet/>
      <dgm:spPr/>
      <dgm:t>
        <a:bodyPr/>
        <a:lstStyle/>
        <a:p>
          <a:r>
            <a:rPr lang="es-ES_tradnl"/>
            <a:t>+ Posibilidad de uso de geocódigos, nombres o nombres alternativos</a:t>
          </a:r>
          <a:endParaRPr lang="en-US"/>
        </a:p>
      </dgm:t>
    </dgm:pt>
    <dgm:pt modelId="{3B91BC3A-3A38-45A4-8EFA-8A73E909AA86}" type="parTrans" cxnId="{8D03B556-1A86-47FF-BE1C-898D87E50AFE}">
      <dgm:prSet/>
      <dgm:spPr/>
      <dgm:t>
        <a:bodyPr/>
        <a:lstStyle/>
        <a:p>
          <a:endParaRPr lang="en-US"/>
        </a:p>
      </dgm:t>
    </dgm:pt>
    <dgm:pt modelId="{7134BAC4-5FB2-4073-872E-90F200930661}" type="sibTrans" cxnId="{8D03B556-1A86-47FF-BE1C-898D87E50AFE}">
      <dgm:prSet/>
      <dgm:spPr/>
      <dgm:t>
        <a:bodyPr/>
        <a:lstStyle/>
        <a:p>
          <a:endParaRPr lang="en-US"/>
        </a:p>
      </dgm:t>
    </dgm:pt>
    <dgm:pt modelId="{CA278606-9382-4C21-BA76-8E69770B558A}">
      <dgm:prSet/>
      <dgm:spPr/>
      <dgm:t>
        <a:bodyPr/>
        <a:lstStyle/>
        <a:p>
          <a:r>
            <a:rPr lang="es-ES_tradnl"/>
            <a:t>+ Informe estático</a:t>
          </a:r>
          <a:endParaRPr lang="en-US"/>
        </a:p>
      </dgm:t>
    </dgm:pt>
    <dgm:pt modelId="{AAC624EE-188C-4F6D-8C2A-78CC6AD18BDB}" type="parTrans" cxnId="{84D2F9CB-714B-424B-A963-5820824B6C7D}">
      <dgm:prSet/>
      <dgm:spPr/>
      <dgm:t>
        <a:bodyPr/>
        <a:lstStyle/>
        <a:p>
          <a:endParaRPr lang="en-US"/>
        </a:p>
      </dgm:t>
    </dgm:pt>
    <dgm:pt modelId="{3528598B-C654-4A18-B044-E6ED6AF2C060}" type="sibTrans" cxnId="{84D2F9CB-714B-424B-A963-5820824B6C7D}">
      <dgm:prSet/>
      <dgm:spPr/>
      <dgm:t>
        <a:bodyPr/>
        <a:lstStyle/>
        <a:p>
          <a:endParaRPr lang="en-US"/>
        </a:p>
      </dgm:t>
    </dgm:pt>
    <dgm:pt modelId="{F0D4D8E4-8AC4-4B27-AEAE-6A38CD53D6BB}">
      <dgm:prSet/>
      <dgm:spPr/>
      <dgm:t>
        <a:bodyPr/>
        <a:lstStyle/>
        <a:p>
          <a:r>
            <a:rPr lang="es-ES_tradnl"/>
            <a:t>+ Facilidad de acceso a Excel</a:t>
          </a:r>
          <a:endParaRPr lang="en-US"/>
        </a:p>
      </dgm:t>
    </dgm:pt>
    <dgm:pt modelId="{8FFE9541-EE60-494A-A1F7-DB54A1AEAA18}" type="parTrans" cxnId="{C12EC01C-3BEC-4DE5-8054-18144B67A8FA}">
      <dgm:prSet/>
      <dgm:spPr/>
      <dgm:t>
        <a:bodyPr/>
        <a:lstStyle/>
        <a:p>
          <a:endParaRPr lang="en-US"/>
        </a:p>
      </dgm:t>
    </dgm:pt>
    <dgm:pt modelId="{99D9580E-9BB2-45F5-A276-565F342E4972}" type="sibTrans" cxnId="{C12EC01C-3BEC-4DE5-8054-18144B67A8FA}">
      <dgm:prSet/>
      <dgm:spPr/>
      <dgm:t>
        <a:bodyPr/>
        <a:lstStyle/>
        <a:p>
          <a:endParaRPr lang="en-US"/>
        </a:p>
      </dgm:t>
    </dgm:pt>
    <dgm:pt modelId="{6191A278-8C81-4568-BD1F-32F9B44FF06F}">
      <dgm:prSet/>
      <dgm:spPr/>
      <dgm:t>
        <a:bodyPr/>
        <a:lstStyle/>
        <a:p>
          <a:r>
            <a:rPr lang="es-ES_tradnl"/>
            <a:t>Disponible solo para Windows</a:t>
          </a:r>
          <a:endParaRPr lang="en-US"/>
        </a:p>
      </dgm:t>
    </dgm:pt>
    <dgm:pt modelId="{1C669737-DED6-4E0A-BE15-9E39F59047C6}" type="parTrans" cxnId="{B2D3933B-E8B9-4294-837F-A9A4C5619A8E}">
      <dgm:prSet/>
      <dgm:spPr/>
      <dgm:t>
        <a:bodyPr/>
        <a:lstStyle/>
        <a:p>
          <a:endParaRPr lang="en-US"/>
        </a:p>
      </dgm:t>
    </dgm:pt>
    <dgm:pt modelId="{8B359330-0B70-409D-ABD6-EEF2044533C7}" type="sibTrans" cxnId="{B2D3933B-E8B9-4294-837F-A9A4C5619A8E}">
      <dgm:prSet/>
      <dgm:spPr/>
      <dgm:t>
        <a:bodyPr/>
        <a:lstStyle/>
        <a:p>
          <a:endParaRPr lang="en-US"/>
        </a:p>
      </dgm:t>
    </dgm:pt>
    <dgm:pt modelId="{1CE90B2D-42D0-4BF5-A954-7A36AE0657A2}">
      <dgm:prSet/>
      <dgm:spPr/>
      <dgm:t>
        <a:bodyPr/>
        <a:lstStyle/>
        <a:p>
          <a:r>
            <a:rPr lang="es-ES_tradnl"/>
            <a:t>Carga de datos manual a herramienta</a:t>
          </a:r>
          <a:endParaRPr lang="en-US"/>
        </a:p>
      </dgm:t>
    </dgm:pt>
    <dgm:pt modelId="{766D94A4-E4AC-458D-9007-CA6358BB84A9}" type="parTrans" cxnId="{27F44443-A2A6-4B69-8167-E555E9CB9B15}">
      <dgm:prSet/>
      <dgm:spPr/>
      <dgm:t>
        <a:bodyPr/>
        <a:lstStyle/>
        <a:p>
          <a:endParaRPr lang="en-US"/>
        </a:p>
      </dgm:t>
    </dgm:pt>
    <dgm:pt modelId="{330A8161-C71A-4D32-B369-00D5732705EE}" type="sibTrans" cxnId="{27F44443-A2A6-4B69-8167-E555E9CB9B15}">
      <dgm:prSet/>
      <dgm:spPr/>
      <dgm:t>
        <a:bodyPr/>
        <a:lstStyle/>
        <a:p>
          <a:endParaRPr lang="en-US"/>
        </a:p>
      </dgm:t>
    </dgm:pt>
    <dgm:pt modelId="{945F408D-D726-4D6A-B9F0-274E2717603F}">
      <dgm:prSet/>
      <dgm:spPr/>
      <dgm:t>
        <a:bodyPr/>
        <a:lstStyle/>
        <a:p>
          <a:r>
            <a:rPr lang="es-ES_tradnl"/>
            <a:t>Velocidad sujeta a </a:t>
          </a:r>
          <a:r>
            <a:rPr lang="es-ES_tradnl" i="1"/>
            <a:t>shapefiles</a:t>
          </a:r>
          <a:r>
            <a:rPr lang="es-ES_tradnl"/>
            <a:t> en Excel</a:t>
          </a:r>
          <a:endParaRPr lang="en-US"/>
        </a:p>
      </dgm:t>
    </dgm:pt>
    <dgm:pt modelId="{C3E2483A-B1AB-426E-A705-9541AAEDEC95}" type="parTrans" cxnId="{3C17224A-BDF7-4903-86A6-DB0703AB902D}">
      <dgm:prSet/>
      <dgm:spPr/>
      <dgm:t>
        <a:bodyPr/>
        <a:lstStyle/>
        <a:p>
          <a:endParaRPr lang="en-US"/>
        </a:p>
      </dgm:t>
    </dgm:pt>
    <dgm:pt modelId="{E29C784A-E897-496F-8ECA-6BF89BD85102}" type="sibTrans" cxnId="{3C17224A-BDF7-4903-86A6-DB0703AB902D}">
      <dgm:prSet/>
      <dgm:spPr/>
      <dgm:t>
        <a:bodyPr/>
        <a:lstStyle/>
        <a:p>
          <a:endParaRPr lang="en-US"/>
        </a:p>
      </dgm:t>
    </dgm:pt>
    <dgm:pt modelId="{7FD3E104-375F-4DBE-B4FD-BC7B1DF2067D}" type="pres">
      <dgm:prSet presAssocID="{49776735-D8E5-4DC9-B588-A0B3924D7ED3}" presName="linear" presStyleCnt="0">
        <dgm:presLayoutVars>
          <dgm:animLvl val="lvl"/>
          <dgm:resizeHandles val="exact"/>
        </dgm:presLayoutVars>
      </dgm:prSet>
      <dgm:spPr/>
    </dgm:pt>
    <dgm:pt modelId="{E80F9D75-3881-4BFA-A84F-0530943DE65B}" type="pres">
      <dgm:prSet presAssocID="{431D4A5F-30AC-49C9-B5C3-70D31EB146B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76DF541C-987C-4D54-AC0B-DB4987C4587F}" type="pres">
      <dgm:prSet presAssocID="{C6AA03E0-00D3-46F5-8DB5-90E0FE40A0CE}" presName="spacer" presStyleCnt="0"/>
      <dgm:spPr/>
    </dgm:pt>
    <dgm:pt modelId="{3C57187B-1F75-4975-B533-8F54434F1913}" type="pres">
      <dgm:prSet presAssocID="{B3A5AE63-3553-4E98-AE6A-1CE0828D35E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3C9947A-58E1-4E8A-BF99-408881971FE8}" type="pres">
      <dgm:prSet presAssocID="{7134BAC4-5FB2-4073-872E-90F200930661}" presName="spacer" presStyleCnt="0"/>
      <dgm:spPr/>
    </dgm:pt>
    <dgm:pt modelId="{A352E5E2-B32F-4933-A71C-58C3BC4DF54A}" type="pres">
      <dgm:prSet presAssocID="{CA278606-9382-4C21-BA76-8E69770B558A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F00C00AF-940A-4631-9143-C4AE6F9FACF8}" type="pres">
      <dgm:prSet presAssocID="{3528598B-C654-4A18-B044-E6ED6AF2C060}" presName="spacer" presStyleCnt="0"/>
      <dgm:spPr/>
    </dgm:pt>
    <dgm:pt modelId="{F64CA851-2B0B-415B-8567-BE8D31E0EA2A}" type="pres">
      <dgm:prSet presAssocID="{F0D4D8E4-8AC4-4B27-AEAE-6A38CD53D6BB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E03A61BE-1995-48BB-A67F-5E8D146A24BC}" type="pres">
      <dgm:prSet presAssocID="{F0D4D8E4-8AC4-4B27-AEAE-6A38CD53D6BB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A0DB7904-A7A4-468D-9913-E494F391A3E9}" type="presOf" srcId="{F0D4D8E4-8AC4-4B27-AEAE-6A38CD53D6BB}" destId="{F64CA851-2B0B-415B-8567-BE8D31E0EA2A}" srcOrd="0" destOrd="0" presId="urn:microsoft.com/office/officeart/2005/8/layout/vList2"/>
    <dgm:cxn modelId="{9892AE0B-BBC5-47AA-8EC7-5BFC538AB9CA}" type="presOf" srcId="{945F408D-D726-4D6A-B9F0-274E2717603F}" destId="{E03A61BE-1995-48BB-A67F-5E8D146A24BC}" srcOrd="0" destOrd="2" presId="urn:microsoft.com/office/officeart/2005/8/layout/vList2"/>
    <dgm:cxn modelId="{C12EC01C-3BEC-4DE5-8054-18144B67A8FA}" srcId="{49776735-D8E5-4DC9-B588-A0B3924D7ED3}" destId="{F0D4D8E4-8AC4-4B27-AEAE-6A38CD53D6BB}" srcOrd="3" destOrd="0" parTransId="{8FFE9541-EE60-494A-A1F7-DB54A1AEAA18}" sibTransId="{99D9580E-9BB2-45F5-A276-565F342E4972}"/>
    <dgm:cxn modelId="{B2D3933B-E8B9-4294-837F-A9A4C5619A8E}" srcId="{F0D4D8E4-8AC4-4B27-AEAE-6A38CD53D6BB}" destId="{6191A278-8C81-4568-BD1F-32F9B44FF06F}" srcOrd="0" destOrd="0" parTransId="{1C669737-DED6-4E0A-BE15-9E39F59047C6}" sibTransId="{8B359330-0B70-409D-ABD6-EEF2044533C7}"/>
    <dgm:cxn modelId="{A48C113E-1141-4849-9E08-2AABD592F2C6}" type="presOf" srcId="{CA278606-9382-4C21-BA76-8E69770B558A}" destId="{A352E5E2-B32F-4933-A71C-58C3BC4DF54A}" srcOrd="0" destOrd="0" presId="urn:microsoft.com/office/officeart/2005/8/layout/vList2"/>
    <dgm:cxn modelId="{27F44443-A2A6-4B69-8167-E555E9CB9B15}" srcId="{F0D4D8E4-8AC4-4B27-AEAE-6A38CD53D6BB}" destId="{1CE90B2D-42D0-4BF5-A954-7A36AE0657A2}" srcOrd="1" destOrd="0" parTransId="{766D94A4-E4AC-458D-9007-CA6358BB84A9}" sibTransId="{330A8161-C71A-4D32-B369-00D5732705EE}"/>
    <dgm:cxn modelId="{3C17224A-BDF7-4903-86A6-DB0703AB902D}" srcId="{F0D4D8E4-8AC4-4B27-AEAE-6A38CD53D6BB}" destId="{945F408D-D726-4D6A-B9F0-274E2717603F}" srcOrd="2" destOrd="0" parTransId="{C3E2483A-B1AB-426E-A705-9541AAEDEC95}" sibTransId="{E29C784A-E897-496F-8ECA-6BF89BD85102}"/>
    <dgm:cxn modelId="{8D03B556-1A86-47FF-BE1C-898D87E50AFE}" srcId="{49776735-D8E5-4DC9-B588-A0B3924D7ED3}" destId="{B3A5AE63-3553-4E98-AE6A-1CE0828D35E7}" srcOrd="1" destOrd="0" parTransId="{3B91BC3A-3A38-45A4-8EFA-8A73E909AA86}" sibTransId="{7134BAC4-5FB2-4073-872E-90F200930661}"/>
    <dgm:cxn modelId="{7C302673-70C1-489E-B8BD-5F58BE5EA7C9}" type="presOf" srcId="{1CE90B2D-42D0-4BF5-A954-7A36AE0657A2}" destId="{E03A61BE-1995-48BB-A67F-5E8D146A24BC}" srcOrd="0" destOrd="1" presId="urn:microsoft.com/office/officeart/2005/8/layout/vList2"/>
    <dgm:cxn modelId="{67C7BE73-C937-4621-A849-C3243D413119}" srcId="{49776735-D8E5-4DC9-B588-A0B3924D7ED3}" destId="{431D4A5F-30AC-49C9-B5C3-70D31EB146B1}" srcOrd="0" destOrd="0" parTransId="{123AD2BE-CF30-4C31-AAB9-31C379552065}" sibTransId="{C6AA03E0-00D3-46F5-8DB5-90E0FE40A0CE}"/>
    <dgm:cxn modelId="{92001B81-C968-484E-8419-B464FA482554}" type="presOf" srcId="{6191A278-8C81-4568-BD1F-32F9B44FF06F}" destId="{E03A61BE-1995-48BB-A67F-5E8D146A24BC}" srcOrd="0" destOrd="0" presId="urn:microsoft.com/office/officeart/2005/8/layout/vList2"/>
    <dgm:cxn modelId="{6A68A3AB-D3F2-48CC-8129-271BB0425B59}" type="presOf" srcId="{49776735-D8E5-4DC9-B588-A0B3924D7ED3}" destId="{7FD3E104-375F-4DBE-B4FD-BC7B1DF2067D}" srcOrd="0" destOrd="0" presId="urn:microsoft.com/office/officeart/2005/8/layout/vList2"/>
    <dgm:cxn modelId="{932A43CB-2D73-4078-8A11-E9CBD599CD10}" type="presOf" srcId="{431D4A5F-30AC-49C9-B5C3-70D31EB146B1}" destId="{E80F9D75-3881-4BFA-A84F-0530943DE65B}" srcOrd="0" destOrd="0" presId="urn:microsoft.com/office/officeart/2005/8/layout/vList2"/>
    <dgm:cxn modelId="{84D2F9CB-714B-424B-A963-5820824B6C7D}" srcId="{49776735-D8E5-4DC9-B588-A0B3924D7ED3}" destId="{CA278606-9382-4C21-BA76-8E69770B558A}" srcOrd="2" destOrd="0" parTransId="{AAC624EE-188C-4F6D-8C2A-78CC6AD18BDB}" sibTransId="{3528598B-C654-4A18-B044-E6ED6AF2C060}"/>
    <dgm:cxn modelId="{3D9335E8-4680-4E92-BAE5-333AAE90697F}" type="presOf" srcId="{B3A5AE63-3553-4E98-AE6A-1CE0828D35E7}" destId="{3C57187B-1F75-4975-B533-8F54434F1913}" srcOrd="0" destOrd="0" presId="urn:microsoft.com/office/officeart/2005/8/layout/vList2"/>
    <dgm:cxn modelId="{028C50CD-36C6-46D3-87D5-1E29AD3A8E9F}" type="presParOf" srcId="{7FD3E104-375F-4DBE-B4FD-BC7B1DF2067D}" destId="{E80F9D75-3881-4BFA-A84F-0530943DE65B}" srcOrd="0" destOrd="0" presId="urn:microsoft.com/office/officeart/2005/8/layout/vList2"/>
    <dgm:cxn modelId="{D2693AB5-3900-4D18-ACE3-12B750C14230}" type="presParOf" srcId="{7FD3E104-375F-4DBE-B4FD-BC7B1DF2067D}" destId="{76DF541C-987C-4D54-AC0B-DB4987C4587F}" srcOrd="1" destOrd="0" presId="urn:microsoft.com/office/officeart/2005/8/layout/vList2"/>
    <dgm:cxn modelId="{08E5302B-B1C5-432E-A91D-2C88651E4908}" type="presParOf" srcId="{7FD3E104-375F-4DBE-B4FD-BC7B1DF2067D}" destId="{3C57187B-1F75-4975-B533-8F54434F1913}" srcOrd="2" destOrd="0" presId="urn:microsoft.com/office/officeart/2005/8/layout/vList2"/>
    <dgm:cxn modelId="{1AF533A4-C14D-4B02-8522-6431A2B60EE2}" type="presParOf" srcId="{7FD3E104-375F-4DBE-B4FD-BC7B1DF2067D}" destId="{93C9947A-58E1-4E8A-BF99-408881971FE8}" srcOrd="3" destOrd="0" presId="urn:microsoft.com/office/officeart/2005/8/layout/vList2"/>
    <dgm:cxn modelId="{79C6B083-2BE1-45FB-AF3D-3241C253CE2E}" type="presParOf" srcId="{7FD3E104-375F-4DBE-B4FD-BC7B1DF2067D}" destId="{A352E5E2-B32F-4933-A71C-58C3BC4DF54A}" srcOrd="4" destOrd="0" presId="urn:microsoft.com/office/officeart/2005/8/layout/vList2"/>
    <dgm:cxn modelId="{72DC6859-1A3C-49DD-B4D6-FC6F722995D3}" type="presParOf" srcId="{7FD3E104-375F-4DBE-B4FD-BC7B1DF2067D}" destId="{F00C00AF-940A-4631-9143-C4AE6F9FACF8}" srcOrd="5" destOrd="0" presId="urn:microsoft.com/office/officeart/2005/8/layout/vList2"/>
    <dgm:cxn modelId="{EF9FC815-10C2-44E6-BC76-B9CFB12BDAA1}" type="presParOf" srcId="{7FD3E104-375F-4DBE-B4FD-BC7B1DF2067D}" destId="{F64CA851-2B0B-415B-8567-BE8D31E0EA2A}" srcOrd="6" destOrd="0" presId="urn:microsoft.com/office/officeart/2005/8/layout/vList2"/>
    <dgm:cxn modelId="{506C241A-63CB-4302-8EAF-C6A9E5561879}" type="presParOf" srcId="{7FD3E104-375F-4DBE-B4FD-BC7B1DF2067D}" destId="{E03A61BE-1995-48BB-A67F-5E8D146A24BC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40A63DE-5164-4484-AE73-12950AADD989}" type="doc">
      <dgm:prSet loTypeId="urn:microsoft.com/office/officeart/2005/8/layout/vList2" loCatId="list" qsTypeId="urn:microsoft.com/office/officeart/2005/8/quickstyle/simple3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B547E0BA-3E27-4216-94CD-DC7A6FC28239}">
      <dgm:prSet/>
      <dgm:spPr/>
      <dgm:t>
        <a:bodyPr/>
        <a:lstStyle/>
        <a:p>
          <a:r>
            <a:rPr lang="es-ES_tradnl"/>
            <a:t>+ Interactiva, rápida y con escalabilidad</a:t>
          </a:r>
          <a:endParaRPr lang="en-US"/>
        </a:p>
      </dgm:t>
    </dgm:pt>
    <dgm:pt modelId="{18EC3F60-8C53-49C4-99B2-9F15B1E22121}" type="parTrans" cxnId="{20969E90-1FBE-486F-AA93-4B331BFC102B}">
      <dgm:prSet/>
      <dgm:spPr/>
      <dgm:t>
        <a:bodyPr/>
        <a:lstStyle/>
        <a:p>
          <a:endParaRPr lang="en-US"/>
        </a:p>
      </dgm:t>
    </dgm:pt>
    <dgm:pt modelId="{8546806A-61B9-4B16-A52B-3F9D2AF737B2}" type="sibTrans" cxnId="{20969E90-1FBE-486F-AA93-4B331BFC102B}">
      <dgm:prSet/>
      <dgm:spPr/>
      <dgm:t>
        <a:bodyPr/>
        <a:lstStyle/>
        <a:p>
          <a:endParaRPr lang="en-US"/>
        </a:p>
      </dgm:t>
    </dgm:pt>
    <dgm:pt modelId="{0E42C306-88DF-4B94-8F72-085B15B6876F}">
      <dgm:prSet/>
      <dgm:spPr/>
      <dgm:t>
        <a:bodyPr/>
        <a:lstStyle/>
        <a:p>
          <a:r>
            <a:rPr lang="es-ES_tradnl"/>
            <a:t>+ Resultados online</a:t>
          </a:r>
          <a:endParaRPr lang="en-US"/>
        </a:p>
      </dgm:t>
    </dgm:pt>
    <dgm:pt modelId="{85E03176-1B8A-4242-A950-DABEC3580838}" type="parTrans" cxnId="{68534D9A-5EB0-43C8-A4A1-420F50BE6984}">
      <dgm:prSet/>
      <dgm:spPr/>
      <dgm:t>
        <a:bodyPr/>
        <a:lstStyle/>
        <a:p>
          <a:endParaRPr lang="en-US"/>
        </a:p>
      </dgm:t>
    </dgm:pt>
    <dgm:pt modelId="{E0B76769-FB3F-4706-9AF2-EF4E33020891}" type="sibTrans" cxnId="{68534D9A-5EB0-43C8-A4A1-420F50BE6984}">
      <dgm:prSet/>
      <dgm:spPr/>
      <dgm:t>
        <a:bodyPr/>
        <a:lstStyle/>
        <a:p>
          <a:endParaRPr lang="en-US"/>
        </a:p>
      </dgm:t>
    </dgm:pt>
    <dgm:pt modelId="{E26EB2A5-8330-40C2-AE7F-6A64D70A32EC}">
      <dgm:prSet/>
      <dgm:spPr/>
      <dgm:t>
        <a:bodyPr/>
        <a:lstStyle/>
        <a:p>
          <a:r>
            <a:rPr lang="es-ES_tradnl"/>
            <a:t>+ Revisión de calidad del rato</a:t>
          </a:r>
          <a:endParaRPr lang="en-US"/>
        </a:p>
      </dgm:t>
    </dgm:pt>
    <dgm:pt modelId="{FC61BF7D-6E23-42E6-9A06-AF049FC60432}" type="parTrans" cxnId="{E2776BF4-2767-4498-BA85-C585C3BC91B9}">
      <dgm:prSet/>
      <dgm:spPr/>
      <dgm:t>
        <a:bodyPr/>
        <a:lstStyle/>
        <a:p>
          <a:endParaRPr lang="en-US"/>
        </a:p>
      </dgm:t>
    </dgm:pt>
    <dgm:pt modelId="{27EAC16C-7818-40A8-80EA-0EE40913B54D}" type="sibTrans" cxnId="{E2776BF4-2767-4498-BA85-C585C3BC91B9}">
      <dgm:prSet/>
      <dgm:spPr/>
      <dgm:t>
        <a:bodyPr/>
        <a:lstStyle/>
        <a:p>
          <a:endParaRPr lang="en-US"/>
        </a:p>
      </dgm:t>
    </dgm:pt>
    <dgm:pt modelId="{00027356-7ACF-40F1-8D70-DCE77425D4A2}">
      <dgm:prSet/>
      <dgm:spPr/>
      <dgm:t>
        <a:bodyPr/>
        <a:lstStyle/>
        <a:p>
          <a:r>
            <a:rPr lang="es-ES_tradnl"/>
            <a:t>+ Informe estático e interactivo offline</a:t>
          </a:r>
          <a:endParaRPr lang="en-US"/>
        </a:p>
      </dgm:t>
    </dgm:pt>
    <dgm:pt modelId="{10A3CE9B-66E6-4360-B8A1-005C80A0A3F6}" type="parTrans" cxnId="{1F587ACE-7659-4EFE-B75F-2EC1D0C9D88E}">
      <dgm:prSet/>
      <dgm:spPr/>
      <dgm:t>
        <a:bodyPr/>
        <a:lstStyle/>
        <a:p>
          <a:endParaRPr lang="en-US"/>
        </a:p>
      </dgm:t>
    </dgm:pt>
    <dgm:pt modelId="{475A3299-BF8A-4297-8DCF-D71B31A99FC4}" type="sibTrans" cxnId="{1F587ACE-7659-4EFE-B75F-2EC1D0C9D88E}">
      <dgm:prSet/>
      <dgm:spPr/>
      <dgm:t>
        <a:bodyPr/>
        <a:lstStyle/>
        <a:p>
          <a:endParaRPr lang="en-US"/>
        </a:p>
      </dgm:t>
    </dgm:pt>
    <dgm:pt modelId="{B7077A38-E817-41FE-AAEF-AF6A29D8CA46}">
      <dgm:prSet/>
      <dgm:spPr/>
      <dgm:t>
        <a:bodyPr/>
        <a:lstStyle/>
        <a:p>
          <a:r>
            <a:rPr lang="es-ES_tradnl"/>
            <a:t>+ Windows, MacOS, Linux</a:t>
          </a:r>
          <a:endParaRPr lang="en-US"/>
        </a:p>
      </dgm:t>
    </dgm:pt>
    <dgm:pt modelId="{F893AF37-3978-4FA4-B911-8CFE7BE673C6}" type="parTrans" cxnId="{6C8A15A1-3172-4296-928E-1FFFBEE042F9}">
      <dgm:prSet/>
      <dgm:spPr/>
      <dgm:t>
        <a:bodyPr/>
        <a:lstStyle/>
        <a:p>
          <a:endParaRPr lang="en-US"/>
        </a:p>
      </dgm:t>
    </dgm:pt>
    <dgm:pt modelId="{2D5C4B82-14AD-4B47-AFA6-DFA2ACE79888}" type="sibTrans" cxnId="{6C8A15A1-3172-4296-928E-1FFFBEE042F9}">
      <dgm:prSet/>
      <dgm:spPr/>
      <dgm:t>
        <a:bodyPr/>
        <a:lstStyle/>
        <a:p>
          <a:endParaRPr lang="en-US"/>
        </a:p>
      </dgm:t>
    </dgm:pt>
    <dgm:pt modelId="{6F78108B-7249-4BE7-A899-DFF3474E3D70}">
      <dgm:prSet/>
      <dgm:spPr/>
      <dgm:t>
        <a:bodyPr/>
        <a:lstStyle/>
        <a:p>
          <a:r>
            <a:rPr lang="es-ES_tradnl"/>
            <a:t>+ Manejo de filtro por nivel subnacional</a:t>
          </a:r>
          <a:endParaRPr lang="en-US"/>
        </a:p>
      </dgm:t>
    </dgm:pt>
    <dgm:pt modelId="{36C03494-8FFC-42A6-9A2C-2BA3E7858B32}" type="parTrans" cxnId="{AAC74C3B-C5BC-4458-A9D2-5C9D2A46DE9B}">
      <dgm:prSet/>
      <dgm:spPr/>
      <dgm:t>
        <a:bodyPr/>
        <a:lstStyle/>
        <a:p>
          <a:endParaRPr lang="en-US"/>
        </a:p>
      </dgm:t>
    </dgm:pt>
    <dgm:pt modelId="{E8D3D996-FDBB-480A-964F-C358B2A88059}" type="sibTrans" cxnId="{AAC74C3B-C5BC-4458-A9D2-5C9D2A46DE9B}">
      <dgm:prSet/>
      <dgm:spPr/>
      <dgm:t>
        <a:bodyPr/>
        <a:lstStyle/>
        <a:p>
          <a:endParaRPr lang="en-US"/>
        </a:p>
      </dgm:t>
    </dgm:pt>
    <dgm:pt modelId="{F0CB1BE4-0A26-4430-BCC7-21778DF03537}">
      <dgm:prSet/>
      <dgm:spPr/>
      <dgm:t>
        <a:bodyPr/>
        <a:lstStyle/>
        <a:p>
          <a:r>
            <a:rPr lang="es-ES_tradnl"/>
            <a:t>+ Visualización de nivel y componentes de puntos de riesgo</a:t>
          </a:r>
          <a:endParaRPr lang="en-US"/>
        </a:p>
      </dgm:t>
    </dgm:pt>
    <dgm:pt modelId="{63BB85D9-FA48-45BB-873E-C3441B381E2C}" type="parTrans" cxnId="{D3D5A378-7750-4EA2-B231-1610A9D77DA8}">
      <dgm:prSet/>
      <dgm:spPr/>
      <dgm:t>
        <a:bodyPr/>
        <a:lstStyle/>
        <a:p>
          <a:endParaRPr lang="en-US"/>
        </a:p>
      </dgm:t>
    </dgm:pt>
    <dgm:pt modelId="{E60FD9D6-E316-40EC-A187-E108B99CAC77}" type="sibTrans" cxnId="{D3D5A378-7750-4EA2-B231-1610A9D77DA8}">
      <dgm:prSet/>
      <dgm:spPr/>
      <dgm:t>
        <a:bodyPr/>
        <a:lstStyle/>
        <a:p>
          <a:endParaRPr lang="en-US"/>
        </a:p>
      </dgm:t>
    </dgm:pt>
    <dgm:pt modelId="{773F2AC7-37E9-4986-9758-9A9BC537657A}">
      <dgm:prSet/>
      <dgm:spPr/>
      <dgm:t>
        <a:bodyPr/>
        <a:lstStyle/>
        <a:p>
          <a:r>
            <a:rPr lang="es-ES_tradnl"/>
            <a:t>+ Descarga de mapas como imagen</a:t>
          </a:r>
          <a:endParaRPr lang="en-US"/>
        </a:p>
      </dgm:t>
    </dgm:pt>
    <dgm:pt modelId="{ECC25CA2-2A96-4693-AE4D-8467435C2AA0}" type="parTrans" cxnId="{D7D91EC2-639B-49C2-8C82-DD6CA472B8BD}">
      <dgm:prSet/>
      <dgm:spPr/>
      <dgm:t>
        <a:bodyPr/>
        <a:lstStyle/>
        <a:p>
          <a:endParaRPr lang="en-US"/>
        </a:p>
      </dgm:t>
    </dgm:pt>
    <dgm:pt modelId="{B7B7C156-E3AE-48A0-8E1A-0196A92DEEC2}" type="sibTrans" cxnId="{D7D91EC2-639B-49C2-8C82-DD6CA472B8BD}">
      <dgm:prSet/>
      <dgm:spPr/>
      <dgm:t>
        <a:bodyPr/>
        <a:lstStyle/>
        <a:p>
          <a:endParaRPr lang="en-US"/>
        </a:p>
      </dgm:t>
    </dgm:pt>
    <dgm:pt modelId="{CCF05E87-5BF7-4E8C-A92A-0EF6FF319446}">
      <dgm:prSet/>
      <dgm:spPr/>
      <dgm:t>
        <a:bodyPr/>
        <a:lstStyle/>
        <a:p>
          <a:r>
            <a:rPr lang="es-ES_tradnl"/>
            <a:t>+ Facilita datos para pre-llenado de plantilla de país</a:t>
          </a:r>
          <a:endParaRPr lang="en-US"/>
        </a:p>
      </dgm:t>
    </dgm:pt>
    <dgm:pt modelId="{89C39C01-4532-4656-9388-54B676A5F584}" type="parTrans" cxnId="{BE109D3B-E6D0-44B8-9D6B-722CB6639CF6}">
      <dgm:prSet/>
      <dgm:spPr/>
      <dgm:t>
        <a:bodyPr/>
        <a:lstStyle/>
        <a:p>
          <a:endParaRPr lang="en-US"/>
        </a:p>
      </dgm:t>
    </dgm:pt>
    <dgm:pt modelId="{BEC6CC0C-4345-4AA2-A1A0-4E68F087A714}" type="sibTrans" cxnId="{BE109D3B-E6D0-44B8-9D6B-722CB6639CF6}">
      <dgm:prSet/>
      <dgm:spPr/>
      <dgm:t>
        <a:bodyPr/>
        <a:lstStyle/>
        <a:p>
          <a:endParaRPr lang="en-US"/>
        </a:p>
      </dgm:t>
    </dgm:pt>
    <dgm:pt modelId="{BBCC341D-FE91-4FE9-A3BD-181BE5275B14}">
      <dgm:prSet/>
      <dgm:spPr/>
      <dgm:t>
        <a:bodyPr/>
        <a:lstStyle/>
        <a:p>
          <a:r>
            <a:rPr lang="es-ES_tradnl"/>
            <a:t>+ Capacidad de trabajo con alta cantidad de municipios</a:t>
          </a:r>
          <a:endParaRPr lang="en-US"/>
        </a:p>
      </dgm:t>
    </dgm:pt>
    <dgm:pt modelId="{1C08938D-7643-402A-9DD3-38DEF0FDABBF}" type="parTrans" cxnId="{51678D7B-3555-4A9F-B26F-40A79B493911}">
      <dgm:prSet/>
      <dgm:spPr/>
      <dgm:t>
        <a:bodyPr/>
        <a:lstStyle/>
        <a:p>
          <a:endParaRPr lang="en-US"/>
        </a:p>
      </dgm:t>
    </dgm:pt>
    <dgm:pt modelId="{D212B087-2F63-4F32-ACD6-7B1139B9DB97}" type="sibTrans" cxnId="{51678D7B-3555-4A9F-B26F-40A79B493911}">
      <dgm:prSet/>
      <dgm:spPr/>
      <dgm:t>
        <a:bodyPr/>
        <a:lstStyle/>
        <a:p>
          <a:endParaRPr lang="en-US"/>
        </a:p>
      </dgm:t>
    </dgm:pt>
    <dgm:pt modelId="{DFF3AB07-C7E8-49A6-85BB-9A01A1570446}">
      <dgm:prSet/>
      <dgm:spPr/>
      <dgm:t>
        <a:bodyPr/>
        <a:lstStyle/>
        <a:p>
          <a:r>
            <a:rPr lang="es-ES_tradnl"/>
            <a:t>+ Código abierto</a:t>
          </a:r>
          <a:endParaRPr lang="en-US"/>
        </a:p>
      </dgm:t>
    </dgm:pt>
    <dgm:pt modelId="{4E559C5B-2B89-429E-87C3-DF77D987BD4D}" type="parTrans" cxnId="{958AA67A-665F-4541-BCDE-CD8F11272B02}">
      <dgm:prSet/>
      <dgm:spPr/>
      <dgm:t>
        <a:bodyPr/>
        <a:lstStyle/>
        <a:p>
          <a:endParaRPr lang="en-US"/>
        </a:p>
      </dgm:t>
    </dgm:pt>
    <dgm:pt modelId="{FAEB9149-2391-4ECA-91DD-3593CD3E32F9}" type="sibTrans" cxnId="{958AA67A-665F-4541-BCDE-CD8F11272B02}">
      <dgm:prSet/>
      <dgm:spPr/>
      <dgm:t>
        <a:bodyPr/>
        <a:lstStyle/>
        <a:p>
          <a:endParaRPr lang="en-US"/>
        </a:p>
      </dgm:t>
    </dgm:pt>
    <dgm:pt modelId="{2929CD2A-E22D-4BEA-8496-1A154E3F4DF0}">
      <dgm:prSet/>
      <dgm:spPr/>
      <dgm:t>
        <a:bodyPr/>
        <a:lstStyle/>
        <a:p>
          <a:endParaRPr lang="en-US"/>
        </a:p>
      </dgm:t>
    </dgm:pt>
    <dgm:pt modelId="{5FFED71E-7B61-4899-9B0E-AB5701F503B2}" type="parTrans" cxnId="{7E423EA9-E540-427A-88F4-B48D358E8B0D}">
      <dgm:prSet/>
      <dgm:spPr/>
      <dgm:t>
        <a:bodyPr/>
        <a:lstStyle/>
        <a:p>
          <a:endParaRPr lang="en-US"/>
        </a:p>
      </dgm:t>
    </dgm:pt>
    <dgm:pt modelId="{82B643FB-D184-4914-8290-3B721D5270E3}" type="sibTrans" cxnId="{7E423EA9-E540-427A-88F4-B48D358E8B0D}">
      <dgm:prSet/>
      <dgm:spPr/>
      <dgm:t>
        <a:bodyPr/>
        <a:lstStyle/>
        <a:p>
          <a:endParaRPr lang="en-US"/>
        </a:p>
      </dgm:t>
    </dgm:pt>
    <dgm:pt modelId="{E9665D12-F2EB-4688-B442-A7FF979A2B5E}">
      <dgm:prSet/>
      <dgm:spPr/>
      <dgm:t>
        <a:bodyPr/>
        <a:lstStyle/>
        <a:p>
          <a:r>
            <a:rPr lang="es-ES_tradnl"/>
            <a:t>Nivel técnico avanzado</a:t>
          </a:r>
          <a:endParaRPr lang="en-US"/>
        </a:p>
      </dgm:t>
    </dgm:pt>
    <dgm:pt modelId="{DB8567DE-A212-4E3C-90DD-7EFEB433E00A}" type="parTrans" cxnId="{66AA1FF7-CA73-4D81-BCC1-EDED4A20632F}">
      <dgm:prSet/>
      <dgm:spPr/>
      <dgm:t>
        <a:bodyPr/>
        <a:lstStyle/>
        <a:p>
          <a:endParaRPr lang="en-US"/>
        </a:p>
      </dgm:t>
    </dgm:pt>
    <dgm:pt modelId="{74798832-903F-44E2-887E-AC0536C407F6}" type="sibTrans" cxnId="{66AA1FF7-CA73-4D81-BCC1-EDED4A20632F}">
      <dgm:prSet/>
      <dgm:spPr/>
      <dgm:t>
        <a:bodyPr/>
        <a:lstStyle/>
        <a:p>
          <a:endParaRPr lang="en-US"/>
        </a:p>
      </dgm:t>
    </dgm:pt>
    <dgm:pt modelId="{EF772EB6-21B2-014D-9A6D-620700326CCD}">
      <dgm:prSet/>
      <dgm:spPr/>
      <dgm:t>
        <a:bodyPr/>
        <a:lstStyle/>
        <a:p>
          <a:r>
            <a:rPr lang="en-US"/>
            <a:t>+ 4 </a:t>
          </a:r>
          <a:r>
            <a:rPr lang="en-US" err="1"/>
            <a:t>idiomas</a:t>
          </a:r>
          <a:endParaRPr lang="en-US"/>
        </a:p>
      </dgm:t>
    </dgm:pt>
    <dgm:pt modelId="{C24E7113-3F66-0C4B-A1FD-5285E5895B5A}" type="sibTrans" cxnId="{40416FD4-FA09-104D-9CA4-CFBF7658B8EC}">
      <dgm:prSet/>
      <dgm:spPr/>
      <dgm:t>
        <a:bodyPr/>
        <a:lstStyle/>
        <a:p>
          <a:endParaRPr lang="en-US"/>
        </a:p>
      </dgm:t>
    </dgm:pt>
    <dgm:pt modelId="{A407DB84-3411-594B-9872-927CB2A19FA6}" type="parTrans" cxnId="{40416FD4-FA09-104D-9CA4-CFBF7658B8EC}">
      <dgm:prSet/>
      <dgm:spPr/>
      <dgm:t>
        <a:bodyPr/>
        <a:lstStyle/>
        <a:p>
          <a:endParaRPr lang="en-US"/>
        </a:p>
      </dgm:t>
    </dgm:pt>
    <dgm:pt modelId="{8C9EE390-CD04-4D27-B151-676CE42BDD60}" type="pres">
      <dgm:prSet presAssocID="{640A63DE-5164-4484-AE73-12950AADD989}" presName="linear" presStyleCnt="0">
        <dgm:presLayoutVars>
          <dgm:animLvl val="lvl"/>
          <dgm:resizeHandles val="exact"/>
        </dgm:presLayoutVars>
      </dgm:prSet>
      <dgm:spPr/>
    </dgm:pt>
    <dgm:pt modelId="{29F1A1A7-8225-4154-91DB-E4283A1D0357}" type="pres">
      <dgm:prSet presAssocID="{B547E0BA-3E27-4216-94CD-DC7A6FC28239}" presName="parentText" presStyleLbl="node1" presStyleIdx="0" presStyleCnt="12">
        <dgm:presLayoutVars>
          <dgm:chMax val="0"/>
          <dgm:bulletEnabled val="1"/>
        </dgm:presLayoutVars>
      </dgm:prSet>
      <dgm:spPr/>
    </dgm:pt>
    <dgm:pt modelId="{2CF19E09-B1BB-4899-8C5A-9BDFBE0FF7E5}" type="pres">
      <dgm:prSet presAssocID="{8546806A-61B9-4B16-A52B-3F9D2AF737B2}" presName="spacer" presStyleCnt="0"/>
      <dgm:spPr/>
    </dgm:pt>
    <dgm:pt modelId="{27ED9086-81DE-4778-8F9D-A10557411A12}" type="pres">
      <dgm:prSet presAssocID="{0E42C306-88DF-4B94-8F72-085B15B6876F}" presName="parentText" presStyleLbl="node1" presStyleIdx="1" presStyleCnt="12">
        <dgm:presLayoutVars>
          <dgm:chMax val="0"/>
          <dgm:bulletEnabled val="1"/>
        </dgm:presLayoutVars>
      </dgm:prSet>
      <dgm:spPr/>
    </dgm:pt>
    <dgm:pt modelId="{96441574-BB8A-49A0-B4BE-50E7419DB8D2}" type="pres">
      <dgm:prSet presAssocID="{E0B76769-FB3F-4706-9AF2-EF4E33020891}" presName="spacer" presStyleCnt="0"/>
      <dgm:spPr/>
    </dgm:pt>
    <dgm:pt modelId="{43CE0F2F-041A-485C-9AF7-F6AA73F06AF3}" type="pres">
      <dgm:prSet presAssocID="{E26EB2A5-8330-40C2-AE7F-6A64D70A32EC}" presName="parentText" presStyleLbl="node1" presStyleIdx="2" presStyleCnt="12">
        <dgm:presLayoutVars>
          <dgm:chMax val="0"/>
          <dgm:bulletEnabled val="1"/>
        </dgm:presLayoutVars>
      </dgm:prSet>
      <dgm:spPr/>
    </dgm:pt>
    <dgm:pt modelId="{BCC57A0B-2734-43E1-AC96-8ACA819E934E}" type="pres">
      <dgm:prSet presAssocID="{27EAC16C-7818-40A8-80EA-0EE40913B54D}" presName="spacer" presStyleCnt="0"/>
      <dgm:spPr/>
    </dgm:pt>
    <dgm:pt modelId="{DB67BF98-114D-4F8A-AB9A-EC5A7572B18C}" type="pres">
      <dgm:prSet presAssocID="{00027356-7ACF-40F1-8D70-DCE77425D4A2}" presName="parentText" presStyleLbl="node1" presStyleIdx="3" presStyleCnt="12">
        <dgm:presLayoutVars>
          <dgm:chMax val="0"/>
          <dgm:bulletEnabled val="1"/>
        </dgm:presLayoutVars>
      </dgm:prSet>
      <dgm:spPr/>
    </dgm:pt>
    <dgm:pt modelId="{8B60D23E-4614-4C04-959B-6A1BF78FE819}" type="pres">
      <dgm:prSet presAssocID="{475A3299-BF8A-4297-8DCF-D71B31A99FC4}" presName="spacer" presStyleCnt="0"/>
      <dgm:spPr/>
    </dgm:pt>
    <dgm:pt modelId="{1CEAC3DD-A742-4243-9588-FB4811CF30BC}" type="pres">
      <dgm:prSet presAssocID="{B7077A38-E817-41FE-AAEF-AF6A29D8CA46}" presName="parentText" presStyleLbl="node1" presStyleIdx="4" presStyleCnt="12">
        <dgm:presLayoutVars>
          <dgm:chMax val="0"/>
          <dgm:bulletEnabled val="1"/>
        </dgm:presLayoutVars>
      </dgm:prSet>
      <dgm:spPr/>
    </dgm:pt>
    <dgm:pt modelId="{790B12E1-68BF-42AC-86BE-2EA7B979D3D4}" type="pres">
      <dgm:prSet presAssocID="{2D5C4B82-14AD-4B47-AFA6-DFA2ACE79888}" presName="spacer" presStyleCnt="0"/>
      <dgm:spPr/>
    </dgm:pt>
    <dgm:pt modelId="{88542592-7CF5-482F-A227-FCDD53FD7590}" type="pres">
      <dgm:prSet presAssocID="{6F78108B-7249-4BE7-A899-DFF3474E3D70}" presName="parentText" presStyleLbl="node1" presStyleIdx="5" presStyleCnt="12">
        <dgm:presLayoutVars>
          <dgm:chMax val="0"/>
          <dgm:bulletEnabled val="1"/>
        </dgm:presLayoutVars>
      </dgm:prSet>
      <dgm:spPr/>
    </dgm:pt>
    <dgm:pt modelId="{CE7641D2-13D3-4197-9174-38140EB03253}" type="pres">
      <dgm:prSet presAssocID="{E8D3D996-FDBB-480A-964F-C358B2A88059}" presName="spacer" presStyleCnt="0"/>
      <dgm:spPr/>
    </dgm:pt>
    <dgm:pt modelId="{D313A462-5727-494C-AC63-DB079474B5C6}" type="pres">
      <dgm:prSet presAssocID="{F0CB1BE4-0A26-4430-BCC7-21778DF03537}" presName="parentText" presStyleLbl="node1" presStyleIdx="6" presStyleCnt="12">
        <dgm:presLayoutVars>
          <dgm:chMax val="0"/>
          <dgm:bulletEnabled val="1"/>
        </dgm:presLayoutVars>
      </dgm:prSet>
      <dgm:spPr/>
    </dgm:pt>
    <dgm:pt modelId="{6ECCDDCF-7174-4A00-B8B9-9D7177028B6F}" type="pres">
      <dgm:prSet presAssocID="{E60FD9D6-E316-40EC-A187-E108B99CAC77}" presName="spacer" presStyleCnt="0"/>
      <dgm:spPr/>
    </dgm:pt>
    <dgm:pt modelId="{503426BF-88FF-4244-B941-F245A14496CC}" type="pres">
      <dgm:prSet presAssocID="{773F2AC7-37E9-4986-9758-9A9BC537657A}" presName="parentText" presStyleLbl="node1" presStyleIdx="7" presStyleCnt="12">
        <dgm:presLayoutVars>
          <dgm:chMax val="0"/>
          <dgm:bulletEnabled val="1"/>
        </dgm:presLayoutVars>
      </dgm:prSet>
      <dgm:spPr/>
    </dgm:pt>
    <dgm:pt modelId="{0F07F545-B55D-4C50-8CB5-2961CB930792}" type="pres">
      <dgm:prSet presAssocID="{B7B7C156-E3AE-48A0-8E1A-0196A92DEEC2}" presName="spacer" presStyleCnt="0"/>
      <dgm:spPr/>
    </dgm:pt>
    <dgm:pt modelId="{9F1E1117-3890-4498-884C-3D7C142CEC4D}" type="pres">
      <dgm:prSet presAssocID="{CCF05E87-5BF7-4E8C-A92A-0EF6FF319446}" presName="parentText" presStyleLbl="node1" presStyleIdx="8" presStyleCnt="12">
        <dgm:presLayoutVars>
          <dgm:chMax val="0"/>
          <dgm:bulletEnabled val="1"/>
        </dgm:presLayoutVars>
      </dgm:prSet>
      <dgm:spPr/>
    </dgm:pt>
    <dgm:pt modelId="{BB55C776-5031-42B4-9907-9F0257404D63}" type="pres">
      <dgm:prSet presAssocID="{BEC6CC0C-4345-4AA2-A1A0-4E68F087A714}" presName="spacer" presStyleCnt="0"/>
      <dgm:spPr/>
    </dgm:pt>
    <dgm:pt modelId="{D35D465D-24E3-4892-A819-9A537DA5695E}" type="pres">
      <dgm:prSet presAssocID="{BBCC341D-FE91-4FE9-A3BD-181BE5275B14}" presName="parentText" presStyleLbl="node1" presStyleIdx="9" presStyleCnt="12">
        <dgm:presLayoutVars>
          <dgm:chMax val="0"/>
          <dgm:bulletEnabled val="1"/>
        </dgm:presLayoutVars>
      </dgm:prSet>
      <dgm:spPr/>
    </dgm:pt>
    <dgm:pt modelId="{846CFAF8-ACC1-4104-A788-505C845FA125}" type="pres">
      <dgm:prSet presAssocID="{D212B087-2F63-4F32-ACD6-7B1139B9DB97}" presName="spacer" presStyleCnt="0"/>
      <dgm:spPr/>
    </dgm:pt>
    <dgm:pt modelId="{FDC1ACB3-699F-824C-A2A4-4E3BD8449AAA}" type="pres">
      <dgm:prSet presAssocID="{EF772EB6-21B2-014D-9A6D-620700326CCD}" presName="parentText" presStyleLbl="node1" presStyleIdx="10" presStyleCnt="12">
        <dgm:presLayoutVars>
          <dgm:chMax val="0"/>
          <dgm:bulletEnabled val="1"/>
        </dgm:presLayoutVars>
      </dgm:prSet>
      <dgm:spPr/>
    </dgm:pt>
    <dgm:pt modelId="{05B0D111-0A56-6348-9986-E02388A7DD85}" type="pres">
      <dgm:prSet presAssocID="{C24E7113-3F66-0C4B-A1FD-5285E5895B5A}" presName="spacer" presStyleCnt="0"/>
      <dgm:spPr/>
    </dgm:pt>
    <dgm:pt modelId="{E1783CF1-6CA9-4D14-802C-F9EE6FA3A8CC}" type="pres">
      <dgm:prSet presAssocID="{DFF3AB07-C7E8-49A6-85BB-9A01A1570446}" presName="parentText" presStyleLbl="node1" presStyleIdx="11" presStyleCnt="12">
        <dgm:presLayoutVars>
          <dgm:chMax val="0"/>
          <dgm:bulletEnabled val="1"/>
        </dgm:presLayoutVars>
      </dgm:prSet>
      <dgm:spPr/>
    </dgm:pt>
    <dgm:pt modelId="{4F329CA3-D568-4E4D-A359-5B02D9046586}" type="pres">
      <dgm:prSet presAssocID="{DFF3AB07-C7E8-49A6-85BB-9A01A1570446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DA518721-9802-5D4D-BBAD-B40EB2360070}" type="presOf" srcId="{00027356-7ACF-40F1-8D70-DCE77425D4A2}" destId="{DB67BF98-114D-4F8A-AB9A-EC5A7572B18C}" srcOrd="0" destOrd="0" presId="urn:microsoft.com/office/officeart/2005/8/layout/vList2"/>
    <dgm:cxn modelId="{756D5723-3F97-1844-9CEB-1C13E6028CAC}" type="presOf" srcId="{DFF3AB07-C7E8-49A6-85BB-9A01A1570446}" destId="{E1783CF1-6CA9-4D14-802C-F9EE6FA3A8CC}" srcOrd="0" destOrd="0" presId="urn:microsoft.com/office/officeart/2005/8/layout/vList2"/>
    <dgm:cxn modelId="{AAC74C3B-C5BC-4458-A9D2-5C9D2A46DE9B}" srcId="{640A63DE-5164-4484-AE73-12950AADD989}" destId="{6F78108B-7249-4BE7-A899-DFF3474E3D70}" srcOrd="5" destOrd="0" parTransId="{36C03494-8FFC-42A6-9A2C-2BA3E7858B32}" sibTransId="{E8D3D996-FDBB-480A-964F-C358B2A88059}"/>
    <dgm:cxn modelId="{BE109D3B-E6D0-44B8-9D6B-722CB6639CF6}" srcId="{640A63DE-5164-4484-AE73-12950AADD989}" destId="{CCF05E87-5BF7-4E8C-A92A-0EF6FF319446}" srcOrd="8" destOrd="0" parTransId="{89C39C01-4532-4656-9388-54B676A5F584}" sibTransId="{BEC6CC0C-4345-4AA2-A1A0-4E68F087A714}"/>
    <dgm:cxn modelId="{C0C6913E-AF2D-AE41-A8F9-A4A8118F3A32}" type="presOf" srcId="{B7077A38-E817-41FE-AAEF-AF6A29D8CA46}" destId="{1CEAC3DD-A742-4243-9588-FB4811CF30BC}" srcOrd="0" destOrd="0" presId="urn:microsoft.com/office/officeart/2005/8/layout/vList2"/>
    <dgm:cxn modelId="{B648F742-E2CC-0146-89D3-1C0EB9FD647C}" type="presOf" srcId="{EF772EB6-21B2-014D-9A6D-620700326CCD}" destId="{FDC1ACB3-699F-824C-A2A4-4E3BD8449AAA}" srcOrd="0" destOrd="0" presId="urn:microsoft.com/office/officeart/2005/8/layout/vList2"/>
    <dgm:cxn modelId="{90A8304B-FFA2-2941-9226-9613C1945DEA}" type="presOf" srcId="{CCF05E87-5BF7-4E8C-A92A-0EF6FF319446}" destId="{9F1E1117-3890-4498-884C-3D7C142CEC4D}" srcOrd="0" destOrd="0" presId="urn:microsoft.com/office/officeart/2005/8/layout/vList2"/>
    <dgm:cxn modelId="{F7A87556-82AB-CB43-BF8B-2F5020BAA846}" type="presOf" srcId="{F0CB1BE4-0A26-4430-BCC7-21778DF03537}" destId="{D313A462-5727-494C-AC63-DB079474B5C6}" srcOrd="0" destOrd="0" presId="urn:microsoft.com/office/officeart/2005/8/layout/vList2"/>
    <dgm:cxn modelId="{E3FCEC5C-9AB5-4F39-905D-FC146F31AD43}" type="presOf" srcId="{640A63DE-5164-4484-AE73-12950AADD989}" destId="{8C9EE390-CD04-4D27-B151-676CE42BDD60}" srcOrd="0" destOrd="0" presId="urn:microsoft.com/office/officeart/2005/8/layout/vList2"/>
    <dgm:cxn modelId="{42CE736B-F512-594D-8D73-5672D7527115}" type="presOf" srcId="{0E42C306-88DF-4B94-8F72-085B15B6876F}" destId="{27ED9086-81DE-4778-8F9D-A10557411A12}" srcOrd="0" destOrd="0" presId="urn:microsoft.com/office/officeart/2005/8/layout/vList2"/>
    <dgm:cxn modelId="{B0462B71-C48E-5C45-8BC7-8EC9EDBF6FD9}" type="presOf" srcId="{BBCC341D-FE91-4FE9-A3BD-181BE5275B14}" destId="{D35D465D-24E3-4892-A819-9A537DA5695E}" srcOrd="0" destOrd="0" presId="urn:microsoft.com/office/officeart/2005/8/layout/vList2"/>
    <dgm:cxn modelId="{D3D5A378-7750-4EA2-B231-1610A9D77DA8}" srcId="{640A63DE-5164-4484-AE73-12950AADD989}" destId="{F0CB1BE4-0A26-4430-BCC7-21778DF03537}" srcOrd="6" destOrd="0" parTransId="{63BB85D9-FA48-45BB-873E-C3441B381E2C}" sibTransId="{E60FD9D6-E316-40EC-A187-E108B99CAC77}"/>
    <dgm:cxn modelId="{958AA67A-665F-4541-BCDE-CD8F11272B02}" srcId="{640A63DE-5164-4484-AE73-12950AADD989}" destId="{DFF3AB07-C7E8-49A6-85BB-9A01A1570446}" srcOrd="11" destOrd="0" parTransId="{4E559C5B-2B89-429E-87C3-DF77D987BD4D}" sibTransId="{FAEB9149-2391-4ECA-91DD-3593CD3E32F9}"/>
    <dgm:cxn modelId="{51678D7B-3555-4A9F-B26F-40A79B493911}" srcId="{640A63DE-5164-4484-AE73-12950AADD989}" destId="{BBCC341D-FE91-4FE9-A3BD-181BE5275B14}" srcOrd="9" destOrd="0" parTransId="{1C08938D-7643-402A-9DD3-38DEF0FDABBF}" sibTransId="{D212B087-2F63-4F32-ACD6-7B1139B9DB97}"/>
    <dgm:cxn modelId="{CC336C87-604E-1C40-9D77-4DABB7595F6A}" type="presOf" srcId="{6F78108B-7249-4BE7-A899-DFF3474E3D70}" destId="{88542592-7CF5-482F-A227-FCDD53FD7590}" srcOrd="0" destOrd="0" presId="urn:microsoft.com/office/officeart/2005/8/layout/vList2"/>
    <dgm:cxn modelId="{6F240289-4B78-144D-AB29-91F96B08E91D}" type="presOf" srcId="{2929CD2A-E22D-4BEA-8496-1A154E3F4DF0}" destId="{4F329CA3-D568-4E4D-A359-5B02D9046586}" srcOrd="0" destOrd="0" presId="urn:microsoft.com/office/officeart/2005/8/layout/vList2"/>
    <dgm:cxn modelId="{20969E90-1FBE-486F-AA93-4B331BFC102B}" srcId="{640A63DE-5164-4484-AE73-12950AADD989}" destId="{B547E0BA-3E27-4216-94CD-DC7A6FC28239}" srcOrd="0" destOrd="0" parTransId="{18EC3F60-8C53-49C4-99B2-9F15B1E22121}" sibTransId="{8546806A-61B9-4B16-A52B-3F9D2AF737B2}"/>
    <dgm:cxn modelId="{68534D9A-5EB0-43C8-A4A1-420F50BE6984}" srcId="{640A63DE-5164-4484-AE73-12950AADD989}" destId="{0E42C306-88DF-4B94-8F72-085B15B6876F}" srcOrd="1" destOrd="0" parTransId="{85E03176-1B8A-4242-A950-DABEC3580838}" sibTransId="{E0B76769-FB3F-4706-9AF2-EF4E33020891}"/>
    <dgm:cxn modelId="{6C8A15A1-3172-4296-928E-1FFFBEE042F9}" srcId="{640A63DE-5164-4484-AE73-12950AADD989}" destId="{B7077A38-E817-41FE-AAEF-AF6A29D8CA46}" srcOrd="4" destOrd="0" parTransId="{F893AF37-3978-4FA4-B911-8CFE7BE673C6}" sibTransId="{2D5C4B82-14AD-4B47-AFA6-DFA2ACE79888}"/>
    <dgm:cxn modelId="{7E423EA9-E540-427A-88F4-B48D358E8B0D}" srcId="{DFF3AB07-C7E8-49A6-85BB-9A01A1570446}" destId="{2929CD2A-E22D-4BEA-8496-1A154E3F4DF0}" srcOrd="0" destOrd="0" parTransId="{5FFED71E-7B61-4899-9B0E-AB5701F503B2}" sibTransId="{82B643FB-D184-4914-8290-3B721D5270E3}"/>
    <dgm:cxn modelId="{D7D91EC2-639B-49C2-8C82-DD6CA472B8BD}" srcId="{640A63DE-5164-4484-AE73-12950AADD989}" destId="{773F2AC7-37E9-4986-9758-9A9BC537657A}" srcOrd="7" destOrd="0" parTransId="{ECC25CA2-2A96-4693-AE4D-8467435C2AA0}" sibTransId="{B7B7C156-E3AE-48A0-8E1A-0196A92DEEC2}"/>
    <dgm:cxn modelId="{1F44ACCB-3E25-CB40-AE1C-D780F7C23BD0}" type="presOf" srcId="{E9665D12-F2EB-4688-B442-A7FF979A2B5E}" destId="{4F329CA3-D568-4E4D-A359-5B02D9046586}" srcOrd="0" destOrd="1" presId="urn:microsoft.com/office/officeart/2005/8/layout/vList2"/>
    <dgm:cxn modelId="{1F587ACE-7659-4EFE-B75F-2EC1D0C9D88E}" srcId="{640A63DE-5164-4484-AE73-12950AADD989}" destId="{00027356-7ACF-40F1-8D70-DCE77425D4A2}" srcOrd="3" destOrd="0" parTransId="{10A3CE9B-66E6-4360-B8A1-005C80A0A3F6}" sibTransId="{475A3299-BF8A-4297-8DCF-D71B31A99FC4}"/>
    <dgm:cxn modelId="{40416FD4-FA09-104D-9CA4-CFBF7658B8EC}" srcId="{640A63DE-5164-4484-AE73-12950AADD989}" destId="{EF772EB6-21B2-014D-9A6D-620700326CCD}" srcOrd="10" destOrd="0" parTransId="{A407DB84-3411-594B-9872-927CB2A19FA6}" sibTransId="{C24E7113-3F66-0C4B-A1FD-5285E5895B5A}"/>
    <dgm:cxn modelId="{3D5A6AD7-F931-F44B-86DF-DA15B2387CFE}" type="presOf" srcId="{E26EB2A5-8330-40C2-AE7F-6A64D70A32EC}" destId="{43CE0F2F-041A-485C-9AF7-F6AA73F06AF3}" srcOrd="0" destOrd="0" presId="urn:microsoft.com/office/officeart/2005/8/layout/vList2"/>
    <dgm:cxn modelId="{E2776BF4-2767-4498-BA85-C585C3BC91B9}" srcId="{640A63DE-5164-4484-AE73-12950AADD989}" destId="{E26EB2A5-8330-40C2-AE7F-6A64D70A32EC}" srcOrd="2" destOrd="0" parTransId="{FC61BF7D-6E23-42E6-9A06-AF049FC60432}" sibTransId="{27EAC16C-7818-40A8-80EA-0EE40913B54D}"/>
    <dgm:cxn modelId="{66AA1FF7-CA73-4D81-BCC1-EDED4A20632F}" srcId="{DFF3AB07-C7E8-49A6-85BB-9A01A1570446}" destId="{E9665D12-F2EB-4688-B442-A7FF979A2B5E}" srcOrd="1" destOrd="0" parTransId="{DB8567DE-A212-4E3C-90DD-7EFEB433E00A}" sibTransId="{74798832-903F-44E2-887E-AC0536C407F6}"/>
    <dgm:cxn modelId="{A6EDDFFC-385A-764B-BADD-2EB636ADEADB}" type="presOf" srcId="{B547E0BA-3E27-4216-94CD-DC7A6FC28239}" destId="{29F1A1A7-8225-4154-91DB-E4283A1D0357}" srcOrd="0" destOrd="0" presId="urn:microsoft.com/office/officeart/2005/8/layout/vList2"/>
    <dgm:cxn modelId="{F70D94FE-7A69-104F-97E3-B9F2C49A51CF}" type="presOf" srcId="{773F2AC7-37E9-4986-9758-9A9BC537657A}" destId="{503426BF-88FF-4244-B941-F245A14496CC}" srcOrd="0" destOrd="0" presId="urn:microsoft.com/office/officeart/2005/8/layout/vList2"/>
    <dgm:cxn modelId="{82DBCBBE-8C00-2747-BFCE-865559907F5F}" type="presParOf" srcId="{8C9EE390-CD04-4D27-B151-676CE42BDD60}" destId="{29F1A1A7-8225-4154-91DB-E4283A1D0357}" srcOrd="0" destOrd="0" presId="urn:microsoft.com/office/officeart/2005/8/layout/vList2"/>
    <dgm:cxn modelId="{AC9EB3E5-7116-8740-9753-3570D749F334}" type="presParOf" srcId="{8C9EE390-CD04-4D27-B151-676CE42BDD60}" destId="{2CF19E09-B1BB-4899-8C5A-9BDFBE0FF7E5}" srcOrd="1" destOrd="0" presId="urn:microsoft.com/office/officeart/2005/8/layout/vList2"/>
    <dgm:cxn modelId="{E832B4C0-DF39-7240-A5E2-A8B05655E21E}" type="presParOf" srcId="{8C9EE390-CD04-4D27-B151-676CE42BDD60}" destId="{27ED9086-81DE-4778-8F9D-A10557411A12}" srcOrd="2" destOrd="0" presId="urn:microsoft.com/office/officeart/2005/8/layout/vList2"/>
    <dgm:cxn modelId="{01CA0B60-4FD7-2643-86FE-2888778F9F88}" type="presParOf" srcId="{8C9EE390-CD04-4D27-B151-676CE42BDD60}" destId="{96441574-BB8A-49A0-B4BE-50E7419DB8D2}" srcOrd="3" destOrd="0" presId="urn:microsoft.com/office/officeart/2005/8/layout/vList2"/>
    <dgm:cxn modelId="{23B3C35B-83A4-B44F-9D56-C65A542141EB}" type="presParOf" srcId="{8C9EE390-CD04-4D27-B151-676CE42BDD60}" destId="{43CE0F2F-041A-485C-9AF7-F6AA73F06AF3}" srcOrd="4" destOrd="0" presId="urn:microsoft.com/office/officeart/2005/8/layout/vList2"/>
    <dgm:cxn modelId="{BE871084-6ED6-B14D-BD3F-3BBF732AFDED}" type="presParOf" srcId="{8C9EE390-CD04-4D27-B151-676CE42BDD60}" destId="{BCC57A0B-2734-43E1-AC96-8ACA819E934E}" srcOrd="5" destOrd="0" presId="urn:microsoft.com/office/officeart/2005/8/layout/vList2"/>
    <dgm:cxn modelId="{2CA039B8-2DEA-B143-A564-8F38E65A3655}" type="presParOf" srcId="{8C9EE390-CD04-4D27-B151-676CE42BDD60}" destId="{DB67BF98-114D-4F8A-AB9A-EC5A7572B18C}" srcOrd="6" destOrd="0" presId="urn:microsoft.com/office/officeart/2005/8/layout/vList2"/>
    <dgm:cxn modelId="{B36021BA-94F2-D94B-9D30-BCFCDF81651A}" type="presParOf" srcId="{8C9EE390-CD04-4D27-B151-676CE42BDD60}" destId="{8B60D23E-4614-4C04-959B-6A1BF78FE819}" srcOrd="7" destOrd="0" presId="urn:microsoft.com/office/officeart/2005/8/layout/vList2"/>
    <dgm:cxn modelId="{27AEA03D-E04B-E44D-BCB7-AEFCB20768F5}" type="presParOf" srcId="{8C9EE390-CD04-4D27-B151-676CE42BDD60}" destId="{1CEAC3DD-A742-4243-9588-FB4811CF30BC}" srcOrd="8" destOrd="0" presId="urn:microsoft.com/office/officeart/2005/8/layout/vList2"/>
    <dgm:cxn modelId="{DF7A2F63-40B3-4549-9AAB-BDC5A924D0D0}" type="presParOf" srcId="{8C9EE390-CD04-4D27-B151-676CE42BDD60}" destId="{790B12E1-68BF-42AC-86BE-2EA7B979D3D4}" srcOrd="9" destOrd="0" presId="urn:microsoft.com/office/officeart/2005/8/layout/vList2"/>
    <dgm:cxn modelId="{A3176EED-D146-B24B-910B-EC572AE1C405}" type="presParOf" srcId="{8C9EE390-CD04-4D27-B151-676CE42BDD60}" destId="{88542592-7CF5-482F-A227-FCDD53FD7590}" srcOrd="10" destOrd="0" presId="urn:microsoft.com/office/officeart/2005/8/layout/vList2"/>
    <dgm:cxn modelId="{751D15FB-1881-EF44-967B-9A9F4D34CE05}" type="presParOf" srcId="{8C9EE390-CD04-4D27-B151-676CE42BDD60}" destId="{CE7641D2-13D3-4197-9174-38140EB03253}" srcOrd="11" destOrd="0" presId="urn:microsoft.com/office/officeart/2005/8/layout/vList2"/>
    <dgm:cxn modelId="{3CD41400-10E4-7A4E-B6D4-1E430F362647}" type="presParOf" srcId="{8C9EE390-CD04-4D27-B151-676CE42BDD60}" destId="{D313A462-5727-494C-AC63-DB079474B5C6}" srcOrd="12" destOrd="0" presId="urn:microsoft.com/office/officeart/2005/8/layout/vList2"/>
    <dgm:cxn modelId="{DA4C1443-33E1-BB4B-A573-6743B0FB4588}" type="presParOf" srcId="{8C9EE390-CD04-4D27-B151-676CE42BDD60}" destId="{6ECCDDCF-7174-4A00-B8B9-9D7177028B6F}" srcOrd="13" destOrd="0" presId="urn:microsoft.com/office/officeart/2005/8/layout/vList2"/>
    <dgm:cxn modelId="{77368283-1427-C647-8055-6A028B936829}" type="presParOf" srcId="{8C9EE390-CD04-4D27-B151-676CE42BDD60}" destId="{503426BF-88FF-4244-B941-F245A14496CC}" srcOrd="14" destOrd="0" presId="urn:microsoft.com/office/officeart/2005/8/layout/vList2"/>
    <dgm:cxn modelId="{22F28A20-86D0-2C43-9408-55E6D926AFBB}" type="presParOf" srcId="{8C9EE390-CD04-4D27-B151-676CE42BDD60}" destId="{0F07F545-B55D-4C50-8CB5-2961CB930792}" srcOrd="15" destOrd="0" presId="urn:microsoft.com/office/officeart/2005/8/layout/vList2"/>
    <dgm:cxn modelId="{F522E491-F97B-5E40-8E28-1439BD0E8D29}" type="presParOf" srcId="{8C9EE390-CD04-4D27-B151-676CE42BDD60}" destId="{9F1E1117-3890-4498-884C-3D7C142CEC4D}" srcOrd="16" destOrd="0" presId="urn:microsoft.com/office/officeart/2005/8/layout/vList2"/>
    <dgm:cxn modelId="{7647A8D2-D01A-B24C-898B-05DCC09A187A}" type="presParOf" srcId="{8C9EE390-CD04-4D27-B151-676CE42BDD60}" destId="{BB55C776-5031-42B4-9907-9F0257404D63}" srcOrd="17" destOrd="0" presId="urn:microsoft.com/office/officeart/2005/8/layout/vList2"/>
    <dgm:cxn modelId="{89D64B08-5977-8C49-8E62-FFA1DEBC5855}" type="presParOf" srcId="{8C9EE390-CD04-4D27-B151-676CE42BDD60}" destId="{D35D465D-24E3-4892-A819-9A537DA5695E}" srcOrd="18" destOrd="0" presId="urn:microsoft.com/office/officeart/2005/8/layout/vList2"/>
    <dgm:cxn modelId="{68CD543D-4135-9A44-8590-D3293C65AC85}" type="presParOf" srcId="{8C9EE390-CD04-4D27-B151-676CE42BDD60}" destId="{846CFAF8-ACC1-4104-A788-505C845FA125}" srcOrd="19" destOrd="0" presId="urn:microsoft.com/office/officeart/2005/8/layout/vList2"/>
    <dgm:cxn modelId="{792FEE13-F573-6743-A9DF-5C479AE690E8}" type="presParOf" srcId="{8C9EE390-CD04-4D27-B151-676CE42BDD60}" destId="{FDC1ACB3-699F-824C-A2A4-4E3BD8449AAA}" srcOrd="20" destOrd="0" presId="urn:microsoft.com/office/officeart/2005/8/layout/vList2"/>
    <dgm:cxn modelId="{01A882AB-C83C-824E-B7ED-077824F8CE89}" type="presParOf" srcId="{8C9EE390-CD04-4D27-B151-676CE42BDD60}" destId="{05B0D111-0A56-6348-9986-E02388A7DD85}" srcOrd="21" destOrd="0" presId="urn:microsoft.com/office/officeart/2005/8/layout/vList2"/>
    <dgm:cxn modelId="{65E8E6D5-1E26-4A44-B1A8-D22C30DA5C7F}" type="presParOf" srcId="{8C9EE390-CD04-4D27-B151-676CE42BDD60}" destId="{E1783CF1-6CA9-4D14-802C-F9EE6FA3A8CC}" srcOrd="22" destOrd="0" presId="urn:microsoft.com/office/officeart/2005/8/layout/vList2"/>
    <dgm:cxn modelId="{61D702A5-A116-B74B-B06E-0FAAF602F73F}" type="presParOf" srcId="{8C9EE390-CD04-4D27-B151-676CE42BDD60}" destId="{4F329CA3-D568-4E4D-A359-5B02D9046586}" srcOrd="2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2BAE16-5BC9-4D8F-8999-18675E03F4C6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6_2" csCatId="accent6" phldr="1"/>
      <dgm:spPr/>
      <dgm:t>
        <a:bodyPr/>
        <a:lstStyle/>
        <a:p>
          <a:endParaRPr lang="es-CO"/>
        </a:p>
      </dgm:t>
    </dgm:pt>
    <dgm:pt modelId="{22E43278-826E-41F6-B1A8-B81F42DA2F1B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Recomendado por la Comisión Regional para ser implementado cada 1-2 años</a:t>
          </a:r>
        </a:p>
      </dgm:t>
    </dgm:pt>
    <dgm:pt modelId="{3BC97365-71F1-4DAF-99F5-1C0E34537EB8}" type="parTrans" cxnId="{DBC1DEFC-587C-4566-8166-C2DC656FC8C0}">
      <dgm:prSet/>
      <dgm:spPr/>
      <dgm:t>
        <a:bodyPr/>
        <a:lstStyle/>
        <a:p>
          <a:endParaRPr lang="es-CO"/>
        </a:p>
      </dgm:t>
    </dgm:pt>
    <dgm:pt modelId="{68AFF9DC-C309-4B1C-87BC-B41DD584F946}" type="sibTrans" cxnId="{DBC1DEFC-587C-4566-8166-C2DC656FC8C0}">
      <dgm:prSet/>
      <dgm:spPr/>
      <dgm:t>
        <a:bodyPr/>
        <a:lstStyle/>
        <a:p>
          <a:endParaRPr lang="es-CO"/>
        </a:p>
      </dgm:t>
    </dgm:pt>
    <dgm:pt modelId="{3A19D7C3-1F8D-4F1D-B9A9-D86F18A18051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Propicia el uso de los datos por los gerentes de programas para guiar toma de decisiones</a:t>
          </a:r>
        </a:p>
      </dgm:t>
    </dgm:pt>
    <dgm:pt modelId="{F66FA148-0675-4FD6-AE48-B6A69A1A776C}" type="parTrans" cxnId="{96DFFA9A-8346-490E-B54F-E9FDAD912BA1}">
      <dgm:prSet/>
      <dgm:spPr/>
      <dgm:t>
        <a:bodyPr/>
        <a:lstStyle/>
        <a:p>
          <a:endParaRPr lang="es-CO"/>
        </a:p>
      </dgm:t>
    </dgm:pt>
    <dgm:pt modelId="{67496A22-C426-4567-AB09-87CA09E45018}" type="sibTrans" cxnId="{96DFFA9A-8346-490E-B54F-E9FDAD912BA1}">
      <dgm:prSet/>
      <dgm:spPr/>
      <dgm:t>
        <a:bodyPr/>
        <a:lstStyle/>
        <a:p>
          <a:endParaRPr lang="es-CO"/>
        </a:p>
      </dgm:t>
    </dgm:pt>
    <dgm:pt modelId="{BC50E7B4-BDBF-422B-B079-D3D387A9DE69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b="1" noProof="0"/>
            <a:t>Rendición de cuentas</a:t>
          </a:r>
          <a:endParaRPr lang="es-419" noProof="0"/>
        </a:p>
      </dgm:t>
    </dgm:pt>
    <dgm:pt modelId="{44555263-D20E-461A-A983-7A099E60A47D}" type="parTrans" cxnId="{FB7FCFE7-37BD-40BF-8E5F-4F7268385766}">
      <dgm:prSet/>
      <dgm:spPr/>
      <dgm:t>
        <a:bodyPr/>
        <a:lstStyle/>
        <a:p>
          <a:endParaRPr lang="es-CO"/>
        </a:p>
      </dgm:t>
    </dgm:pt>
    <dgm:pt modelId="{1E18E6C7-F1D6-4405-B8C8-8B336115D80A}" type="sibTrans" cxnId="{FB7FCFE7-37BD-40BF-8E5F-4F7268385766}">
      <dgm:prSet/>
      <dgm:spPr/>
      <dgm:t>
        <a:bodyPr/>
        <a:lstStyle/>
        <a:p>
          <a:endParaRPr lang="es-CO"/>
        </a:p>
      </dgm:t>
    </dgm:pt>
    <dgm:pt modelId="{84185E48-EE24-4B28-AFC5-1062EBE57ED5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b="1" noProof="0"/>
            <a:t>Evaluaciones internacionales del PNI</a:t>
          </a:r>
          <a:endParaRPr lang="es-419" noProof="0"/>
        </a:p>
      </dgm:t>
    </dgm:pt>
    <dgm:pt modelId="{9AE5FD6B-49D1-4A40-9CFB-DBC1A8D235BE}" type="parTrans" cxnId="{5D9E471C-906C-4570-825E-6998F28770BA}">
      <dgm:prSet/>
      <dgm:spPr/>
      <dgm:t>
        <a:bodyPr/>
        <a:lstStyle/>
        <a:p>
          <a:endParaRPr lang="es-CO"/>
        </a:p>
      </dgm:t>
    </dgm:pt>
    <dgm:pt modelId="{219EB25C-A8C1-4B8B-A90D-B511A71B804D}" type="sibTrans" cxnId="{5D9E471C-906C-4570-825E-6998F28770BA}">
      <dgm:prSet/>
      <dgm:spPr/>
      <dgm:t>
        <a:bodyPr/>
        <a:lstStyle/>
        <a:p>
          <a:endParaRPr lang="es-CO"/>
        </a:p>
      </dgm:t>
    </dgm:pt>
    <dgm:pt modelId="{815B63D4-7B58-449F-83B9-07B444133BB8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Planificación y priorización de actividades programáticas para el cierre de brechas</a:t>
          </a:r>
        </a:p>
      </dgm:t>
    </dgm:pt>
    <dgm:pt modelId="{0D5E113B-146C-479D-97A3-FC230EB4D7ED}" type="parTrans" cxnId="{7EA22FBD-E8C7-4575-9CEA-A02D1B1E5266}">
      <dgm:prSet/>
      <dgm:spPr/>
      <dgm:t>
        <a:bodyPr/>
        <a:lstStyle/>
        <a:p>
          <a:endParaRPr lang="en-US"/>
        </a:p>
      </dgm:t>
    </dgm:pt>
    <dgm:pt modelId="{262C7867-705B-4469-9828-C3EDABB1719D}" type="sibTrans" cxnId="{7EA22FBD-E8C7-4575-9CEA-A02D1B1E5266}">
      <dgm:prSet/>
      <dgm:spPr/>
      <dgm:t>
        <a:bodyPr/>
        <a:lstStyle/>
        <a:p>
          <a:endParaRPr lang="en-US"/>
        </a:p>
      </dgm:t>
    </dgm:pt>
    <dgm:pt modelId="{0EF554A7-2CF3-4A64-82F0-25AD0C82492C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Potenciales usos específicos</a:t>
          </a:r>
        </a:p>
      </dgm:t>
    </dgm:pt>
    <dgm:pt modelId="{54F2FD5F-42D0-4517-B935-6937F7F881F6}" type="parTrans" cxnId="{15C7FAC1-2254-4CA4-B9E6-B0B96ADC9968}">
      <dgm:prSet/>
      <dgm:spPr/>
      <dgm:t>
        <a:bodyPr/>
        <a:lstStyle/>
        <a:p>
          <a:endParaRPr lang="en-US"/>
        </a:p>
      </dgm:t>
    </dgm:pt>
    <dgm:pt modelId="{5BAB6CEE-82ED-4251-B0AF-8A991534BC7A}" type="sibTrans" cxnId="{15C7FAC1-2254-4CA4-B9E6-B0B96ADC9968}">
      <dgm:prSet/>
      <dgm:spPr/>
      <dgm:t>
        <a:bodyPr/>
        <a:lstStyle/>
        <a:p>
          <a:endParaRPr lang="en-US"/>
        </a:p>
      </dgm:t>
    </dgm:pt>
    <dgm:pt modelId="{A6C917E6-DF52-4F20-A619-0662532A8BCD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b="1" noProof="0"/>
            <a:t>Abogacía y movilización de recursos</a:t>
          </a:r>
          <a:endParaRPr lang="es-419" noProof="0"/>
        </a:p>
      </dgm:t>
    </dgm:pt>
    <dgm:pt modelId="{FA85FB55-9FC1-4F61-BC5D-C16A426A4D87}" type="parTrans" cxnId="{D99B4A09-70AA-4D06-ACD1-0EBBB8450C8A}">
      <dgm:prSet/>
      <dgm:spPr/>
      <dgm:t>
        <a:bodyPr/>
        <a:lstStyle/>
        <a:p>
          <a:endParaRPr lang="en-US"/>
        </a:p>
      </dgm:t>
    </dgm:pt>
    <dgm:pt modelId="{4C293F81-EAA7-491D-99FC-EC6652CACA90}" type="sibTrans" cxnId="{D99B4A09-70AA-4D06-ACD1-0EBBB8450C8A}">
      <dgm:prSet/>
      <dgm:spPr/>
      <dgm:t>
        <a:bodyPr/>
        <a:lstStyle/>
        <a:p>
          <a:endParaRPr lang="en-US"/>
        </a:p>
      </dgm:t>
    </dgm:pt>
    <dgm:pt modelId="{63AF8FEA-26D7-44E3-B78C-06DDB0E2C722}" type="pres">
      <dgm:prSet presAssocID="{E62BAE16-5BC9-4D8F-8999-18675E03F4C6}" presName="root" presStyleCnt="0">
        <dgm:presLayoutVars>
          <dgm:dir/>
          <dgm:resizeHandles val="exact"/>
        </dgm:presLayoutVars>
      </dgm:prSet>
      <dgm:spPr/>
    </dgm:pt>
    <dgm:pt modelId="{3DE56E0E-6321-4106-92D0-E0AF38F3A813}" type="pres">
      <dgm:prSet presAssocID="{22E43278-826E-41F6-B1A8-B81F42DA2F1B}" presName="compNode" presStyleCnt="0"/>
      <dgm:spPr/>
    </dgm:pt>
    <dgm:pt modelId="{A0F59463-9300-49DF-AA31-4C3FD811B6F0}" type="pres">
      <dgm:prSet presAssocID="{22E43278-826E-41F6-B1A8-B81F42DA2F1B}" presName="bgRect" presStyleLbl="bgShp" presStyleIdx="0" presStyleCnt="4"/>
      <dgm:spPr/>
    </dgm:pt>
    <dgm:pt modelId="{2A01D0CE-56AA-4933-859F-3A1F4AB421A6}" type="pres">
      <dgm:prSet presAssocID="{22E43278-826E-41F6-B1A8-B81F42DA2F1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ation with Checklist"/>
        </a:ext>
      </dgm:extLst>
    </dgm:pt>
    <dgm:pt modelId="{81A664EF-3B08-423F-B88B-5FF6F66B8BEF}" type="pres">
      <dgm:prSet presAssocID="{22E43278-826E-41F6-B1A8-B81F42DA2F1B}" presName="spaceRect" presStyleCnt="0"/>
      <dgm:spPr/>
    </dgm:pt>
    <dgm:pt modelId="{678F766B-DED2-4C2A-B694-CCA38FC2EE35}" type="pres">
      <dgm:prSet presAssocID="{22E43278-826E-41F6-B1A8-B81F42DA2F1B}" presName="parTx" presStyleLbl="revTx" presStyleIdx="0" presStyleCnt="5">
        <dgm:presLayoutVars>
          <dgm:chMax val="0"/>
          <dgm:chPref val="0"/>
        </dgm:presLayoutVars>
      </dgm:prSet>
      <dgm:spPr/>
    </dgm:pt>
    <dgm:pt modelId="{FC8E6A2B-D7E5-41A3-B1AF-3BF07ECE73A3}" type="pres">
      <dgm:prSet presAssocID="{68AFF9DC-C309-4B1C-87BC-B41DD584F946}" presName="sibTrans" presStyleCnt="0"/>
      <dgm:spPr/>
    </dgm:pt>
    <dgm:pt modelId="{6350F0E2-F66A-436C-95FF-9F9A01ADE660}" type="pres">
      <dgm:prSet presAssocID="{3A19D7C3-1F8D-4F1D-B9A9-D86F18A18051}" presName="compNode" presStyleCnt="0"/>
      <dgm:spPr/>
    </dgm:pt>
    <dgm:pt modelId="{3008025E-0041-4D17-8D49-0B705DE7DAA7}" type="pres">
      <dgm:prSet presAssocID="{3A19D7C3-1F8D-4F1D-B9A9-D86F18A18051}" presName="bgRect" presStyleLbl="bgShp" presStyleIdx="1" presStyleCnt="4"/>
      <dgm:spPr/>
    </dgm:pt>
    <dgm:pt modelId="{30296265-EF9A-40BC-AE45-34DA055B5D35}" type="pres">
      <dgm:prSet presAssocID="{3A19D7C3-1F8D-4F1D-B9A9-D86F18A18051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834C1914-2EF8-4E40-8BF5-5AFD192C637A}" type="pres">
      <dgm:prSet presAssocID="{3A19D7C3-1F8D-4F1D-B9A9-D86F18A18051}" presName="spaceRect" presStyleCnt="0"/>
      <dgm:spPr/>
    </dgm:pt>
    <dgm:pt modelId="{EBC1CEF0-5F9B-45AE-ADBC-4F210DB4D94D}" type="pres">
      <dgm:prSet presAssocID="{3A19D7C3-1F8D-4F1D-B9A9-D86F18A18051}" presName="parTx" presStyleLbl="revTx" presStyleIdx="1" presStyleCnt="5">
        <dgm:presLayoutVars>
          <dgm:chMax val="0"/>
          <dgm:chPref val="0"/>
        </dgm:presLayoutVars>
      </dgm:prSet>
      <dgm:spPr/>
    </dgm:pt>
    <dgm:pt modelId="{6EA3CF97-667E-41D2-8BC5-81A2B6236656}" type="pres">
      <dgm:prSet presAssocID="{67496A22-C426-4567-AB09-87CA09E45018}" presName="sibTrans" presStyleCnt="0"/>
      <dgm:spPr/>
    </dgm:pt>
    <dgm:pt modelId="{0EE06158-A739-472B-A73F-63383275515F}" type="pres">
      <dgm:prSet presAssocID="{815B63D4-7B58-449F-83B9-07B444133BB8}" presName="compNode" presStyleCnt="0"/>
      <dgm:spPr/>
    </dgm:pt>
    <dgm:pt modelId="{31F4CACB-F282-4932-9FEF-1BCBD8BDA1A5}" type="pres">
      <dgm:prSet presAssocID="{815B63D4-7B58-449F-83B9-07B444133BB8}" presName="bgRect" presStyleLbl="bgShp" presStyleIdx="2" presStyleCnt="4"/>
      <dgm:spPr/>
    </dgm:pt>
    <dgm:pt modelId="{44B90C8E-3B06-4E6A-8E41-AF35225C1EF6}" type="pres">
      <dgm:prSet presAssocID="{815B63D4-7B58-449F-83B9-07B444133BB8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5AD8240-0356-409F-8820-51280C530532}" type="pres">
      <dgm:prSet presAssocID="{815B63D4-7B58-449F-83B9-07B444133BB8}" presName="spaceRect" presStyleCnt="0"/>
      <dgm:spPr/>
    </dgm:pt>
    <dgm:pt modelId="{EE5C5C35-8CC4-49D9-A2A9-582CC49E285F}" type="pres">
      <dgm:prSet presAssocID="{815B63D4-7B58-449F-83B9-07B444133BB8}" presName="parTx" presStyleLbl="revTx" presStyleIdx="2" presStyleCnt="5">
        <dgm:presLayoutVars>
          <dgm:chMax val="0"/>
          <dgm:chPref val="0"/>
        </dgm:presLayoutVars>
      </dgm:prSet>
      <dgm:spPr/>
    </dgm:pt>
    <dgm:pt modelId="{02CE2001-9F3D-45AF-95E8-20BBDAE1E61C}" type="pres">
      <dgm:prSet presAssocID="{262C7867-705B-4469-9828-C3EDABB1719D}" presName="sibTrans" presStyleCnt="0"/>
      <dgm:spPr/>
    </dgm:pt>
    <dgm:pt modelId="{F4E10F70-864D-4CF3-8076-74CE9E2905AB}" type="pres">
      <dgm:prSet presAssocID="{0EF554A7-2CF3-4A64-82F0-25AD0C82492C}" presName="compNode" presStyleCnt="0"/>
      <dgm:spPr/>
    </dgm:pt>
    <dgm:pt modelId="{D375BA47-E815-475A-8BBF-F0E1EEA250F1}" type="pres">
      <dgm:prSet presAssocID="{0EF554A7-2CF3-4A64-82F0-25AD0C82492C}" presName="bgRect" presStyleLbl="bgShp" presStyleIdx="3" presStyleCnt="4"/>
      <dgm:spPr/>
    </dgm:pt>
    <dgm:pt modelId="{E066FE07-713D-473D-A2A6-394884DB3A20}" type="pres">
      <dgm:prSet presAssocID="{0EF554A7-2CF3-4A64-82F0-25AD0C82492C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8CC6E55C-F573-4E81-B65D-46CD2147F289}" type="pres">
      <dgm:prSet presAssocID="{0EF554A7-2CF3-4A64-82F0-25AD0C82492C}" presName="spaceRect" presStyleCnt="0"/>
      <dgm:spPr/>
    </dgm:pt>
    <dgm:pt modelId="{534C51B5-3A28-4468-8E0E-57EDF70F8E67}" type="pres">
      <dgm:prSet presAssocID="{0EF554A7-2CF3-4A64-82F0-25AD0C82492C}" presName="parTx" presStyleLbl="revTx" presStyleIdx="3" presStyleCnt="5">
        <dgm:presLayoutVars>
          <dgm:chMax val="0"/>
          <dgm:chPref val="0"/>
        </dgm:presLayoutVars>
      </dgm:prSet>
      <dgm:spPr/>
    </dgm:pt>
    <dgm:pt modelId="{7DDA76F9-D966-4C9C-B6F7-1A07CCC1C2E9}" type="pres">
      <dgm:prSet presAssocID="{0EF554A7-2CF3-4A64-82F0-25AD0C82492C}" presName="desTx" presStyleLbl="revTx" presStyleIdx="4" presStyleCnt="5">
        <dgm:presLayoutVars/>
      </dgm:prSet>
      <dgm:spPr/>
    </dgm:pt>
  </dgm:ptLst>
  <dgm:cxnLst>
    <dgm:cxn modelId="{D99B4A09-70AA-4D06-ACD1-0EBBB8450C8A}" srcId="{0EF554A7-2CF3-4A64-82F0-25AD0C82492C}" destId="{A6C917E6-DF52-4F20-A619-0662532A8BCD}" srcOrd="2" destOrd="0" parTransId="{FA85FB55-9FC1-4F61-BC5D-C16A426A4D87}" sibTransId="{4C293F81-EAA7-491D-99FC-EC6652CACA90}"/>
    <dgm:cxn modelId="{5D9E471C-906C-4570-825E-6998F28770BA}" srcId="{0EF554A7-2CF3-4A64-82F0-25AD0C82492C}" destId="{84185E48-EE24-4B28-AFC5-1062EBE57ED5}" srcOrd="1" destOrd="0" parTransId="{9AE5FD6B-49D1-4A40-9CFB-DBC1A8D235BE}" sibTransId="{219EB25C-A8C1-4B8B-A90D-B511A71B804D}"/>
    <dgm:cxn modelId="{4D39F61F-A1B6-487F-AED3-3014359F66D5}" type="presOf" srcId="{BC50E7B4-BDBF-422B-B079-D3D387A9DE69}" destId="{7DDA76F9-D966-4C9C-B6F7-1A07CCC1C2E9}" srcOrd="0" destOrd="0" presId="urn:microsoft.com/office/officeart/2018/2/layout/IconVerticalSolidList"/>
    <dgm:cxn modelId="{B8B16F3C-884D-4A59-BE62-3F0088AFBA10}" type="presOf" srcId="{E62BAE16-5BC9-4D8F-8999-18675E03F4C6}" destId="{63AF8FEA-26D7-44E3-B78C-06DDB0E2C722}" srcOrd="0" destOrd="0" presId="urn:microsoft.com/office/officeart/2018/2/layout/IconVerticalSolidList"/>
    <dgm:cxn modelId="{DAA67F57-2812-41AC-869E-DC3D57D47426}" type="presOf" srcId="{3A19D7C3-1F8D-4F1D-B9A9-D86F18A18051}" destId="{EBC1CEF0-5F9B-45AE-ADBC-4F210DB4D94D}" srcOrd="0" destOrd="0" presId="urn:microsoft.com/office/officeart/2018/2/layout/IconVerticalSolidList"/>
    <dgm:cxn modelId="{C7FDF46D-39F0-429B-A078-1DDFECED0752}" type="presOf" srcId="{A6C917E6-DF52-4F20-A619-0662532A8BCD}" destId="{7DDA76F9-D966-4C9C-B6F7-1A07CCC1C2E9}" srcOrd="0" destOrd="2" presId="urn:microsoft.com/office/officeart/2018/2/layout/IconVerticalSolidList"/>
    <dgm:cxn modelId="{95211672-5D91-4E33-8444-09A7073DF3F5}" type="presOf" srcId="{815B63D4-7B58-449F-83B9-07B444133BB8}" destId="{EE5C5C35-8CC4-49D9-A2A9-582CC49E285F}" srcOrd="0" destOrd="0" presId="urn:microsoft.com/office/officeart/2018/2/layout/IconVerticalSolidList"/>
    <dgm:cxn modelId="{52EA428D-D2B8-46C4-8888-F345696AFB0F}" type="presOf" srcId="{22E43278-826E-41F6-B1A8-B81F42DA2F1B}" destId="{678F766B-DED2-4C2A-B694-CCA38FC2EE35}" srcOrd="0" destOrd="0" presId="urn:microsoft.com/office/officeart/2018/2/layout/IconVerticalSolidList"/>
    <dgm:cxn modelId="{96DFFA9A-8346-490E-B54F-E9FDAD912BA1}" srcId="{E62BAE16-5BC9-4D8F-8999-18675E03F4C6}" destId="{3A19D7C3-1F8D-4F1D-B9A9-D86F18A18051}" srcOrd="1" destOrd="0" parTransId="{F66FA148-0675-4FD6-AE48-B6A69A1A776C}" sibTransId="{67496A22-C426-4567-AB09-87CA09E45018}"/>
    <dgm:cxn modelId="{7EA22FBD-E8C7-4575-9CEA-A02D1B1E5266}" srcId="{E62BAE16-5BC9-4D8F-8999-18675E03F4C6}" destId="{815B63D4-7B58-449F-83B9-07B444133BB8}" srcOrd="2" destOrd="0" parTransId="{0D5E113B-146C-479D-97A3-FC230EB4D7ED}" sibTransId="{262C7867-705B-4469-9828-C3EDABB1719D}"/>
    <dgm:cxn modelId="{15C7FAC1-2254-4CA4-B9E6-B0B96ADC9968}" srcId="{E62BAE16-5BC9-4D8F-8999-18675E03F4C6}" destId="{0EF554A7-2CF3-4A64-82F0-25AD0C82492C}" srcOrd="3" destOrd="0" parTransId="{54F2FD5F-42D0-4517-B935-6937F7F881F6}" sibTransId="{5BAB6CEE-82ED-4251-B0AF-8A991534BC7A}"/>
    <dgm:cxn modelId="{6071DAE2-9611-453E-95E8-87497AC0C16C}" type="presOf" srcId="{0EF554A7-2CF3-4A64-82F0-25AD0C82492C}" destId="{534C51B5-3A28-4468-8E0E-57EDF70F8E67}" srcOrd="0" destOrd="0" presId="urn:microsoft.com/office/officeart/2018/2/layout/IconVerticalSolidList"/>
    <dgm:cxn modelId="{FB7FCFE7-37BD-40BF-8E5F-4F7268385766}" srcId="{0EF554A7-2CF3-4A64-82F0-25AD0C82492C}" destId="{BC50E7B4-BDBF-422B-B079-D3D387A9DE69}" srcOrd="0" destOrd="0" parTransId="{44555263-D20E-461A-A983-7A099E60A47D}" sibTransId="{1E18E6C7-F1D6-4405-B8C8-8B336115D80A}"/>
    <dgm:cxn modelId="{E1D3ADEB-A6B0-4B36-9644-C89F84D657C2}" type="presOf" srcId="{84185E48-EE24-4B28-AFC5-1062EBE57ED5}" destId="{7DDA76F9-D966-4C9C-B6F7-1A07CCC1C2E9}" srcOrd="0" destOrd="1" presId="urn:microsoft.com/office/officeart/2018/2/layout/IconVerticalSolidList"/>
    <dgm:cxn modelId="{DBC1DEFC-587C-4566-8166-C2DC656FC8C0}" srcId="{E62BAE16-5BC9-4D8F-8999-18675E03F4C6}" destId="{22E43278-826E-41F6-B1A8-B81F42DA2F1B}" srcOrd="0" destOrd="0" parTransId="{3BC97365-71F1-4DAF-99F5-1C0E34537EB8}" sibTransId="{68AFF9DC-C309-4B1C-87BC-B41DD584F946}"/>
    <dgm:cxn modelId="{9D159942-0B3A-4B82-B8D7-EAC8E97BE9C3}" type="presParOf" srcId="{63AF8FEA-26D7-44E3-B78C-06DDB0E2C722}" destId="{3DE56E0E-6321-4106-92D0-E0AF38F3A813}" srcOrd="0" destOrd="0" presId="urn:microsoft.com/office/officeart/2018/2/layout/IconVerticalSolidList"/>
    <dgm:cxn modelId="{973DFE0F-6B3D-4139-B8A8-39F90CCFE790}" type="presParOf" srcId="{3DE56E0E-6321-4106-92D0-E0AF38F3A813}" destId="{A0F59463-9300-49DF-AA31-4C3FD811B6F0}" srcOrd="0" destOrd="0" presId="urn:microsoft.com/office/officeart/2018/2/layout/IconVerticalSolidList"/>
    <dgm:cxn modelId="{ABE7919F-F69D-41C4-979E-810F50E15855}" type="presParOf" srcId="{3DE56E0E-6321-4106-92D0-E0AF38F3A813}" destId="{2A01D0CE-56AA-4933-859F-3A1F4AB421A6}" srcOrd="1" destOrd="0" presId="urn:microsoft.com/office/officeart/2018/2/layout/IconVerticalSolidList"/>
    <dgm:cxn modelId="{C401D6EC-4864-48A8-896C-BA7F19867E25}" type="presParOf" srcId="{3DE56E0E-6321-4106-92D0-E0AF38F3A813}" destId="{81A664EF-3B08-423F-B88B-5FF6F66B8BEF}" srcOrd="2" destOrd="0" presId="urn:microsoft.com/office/officeart/2018/2/layout/IconVerticalSolidList"/>
    <dgm:cxn modelId="{28C89256-7677-4CF4-B480-18B844B97D3D}" type="presParOf" srcId="{3DE56E0E-6321-4106-92D0-E0AF38F3A813}" destId="{678F766B-DED2-4C2A-B694-CCA38FC2EE35}" srcOrd="3" destOrd="0" presId="urn:microsoft.com/office/officeart/2018/2/layout/IconVerticalSolidList"/>
    <dgm:cxn modelId="{DAAC96CD-670D-4220-8C9C-9134CD77D816}" type="presParOf" srcId="{63AF8FEA-26D7-44E3-B78C-06DDB0E2C722}" destId="{FC8E6A2B-D7E5-41A3-B1AF-3BF07ECE73A3}" srcOrd="1" destOrd="0" presId="urn:microsoft.com/office/officeart/2018/2/layout/IconVerticalSolidList"/>
    <dgm:cxn modelId="{3B6E38C1-75D4-4615-BE4F-9B0B826BDA43}" type="presParOf" srcId="{63AF8FEA-26D7-44E3-B78C-06DDB0E2C722}" destId="{6350F0E2-F66A-436C-95FF-9F9A01ADE660}" srcOrd="2" destOrd="0" presId="urn:microsoft.com/office/officeart/2018/2/layout/IconVerticalSolidList"/>
    <dgm:cxn modelId="{38B1876F-1ED4-47BF-BA49-584480812119}" type="presParOf" srcId="{6350F0E2-F66A-436C-95FF-9F9A01ADE660}" destId="{3008025E-0041-4D17-8D49-0B705DE7DAA7}" srcOrd="0" destOrd="0" presId="urn:microsoft.com/office/officeart/2018/2/layout/IconVerticalSolidList"/>
    <dgm:cxn modelId="{DE12E913-BA8E-48F3-8B47-8F2A5B796479}" type="presParOf" srcId="{6350F0E2-F66A-436C-95FF-9F9A01ADE660}" destId="{30296265-EF9A-40BC-AE45-34DA055B5D35}" srcOrd="1" destOrd="0" presId="urn:microsoft.com/office/officeart/2018/2/layout/IconVerticalSolidList"/>
    <dgm:cxn modelId="{4E8564E6-87C7-40D6-B358-4AF254B11B80}" type="presParOf" srcId="{6350F0E2-F66A-436C-95FF-9F9A01ADE660}" destId="{834C1914-2EF8-4E40-8BF5-5AFD192C637A}" srcOrd="2" destOrd="0" presId="urn:microsoft.com/office/officeart/2018/2/layout/IconVerticalSolidList"/>
    <dgm:cxn modelId="{36A506C4-A6A1-409F-869C-326F62046C68}" type="presParOf" srcId="{6350F0E2-F66A-436C-95FF-9F9A01ADE660}" destId="{EBC1CEF0-5F9B-45AE-ADBC-4F210DB4D94D}" srcOrd="3" destOrd="0" presId="urn:microsoft.com/office/officeart/2018/2/layout/IconVerticalSolidList"/>
    <dgm:cxn modelId="{65D28EAB-D6B7-48C6-9BAC-7224729E18A2}" type="presParOf" srcId="{63AF8FEA-26D7-44E3-B78C-06DDB0E2C722}" destId="{6EA3CF97-667E-41D2-8BC5-81A2B6236656}" srcOrd="3" destOrd="0" presId="urn:microsoft.com/office/officeart/2018/2/layout/IconVerticalSolidList"/>
    <dgm:cxn modelId="{39D9C9A1-1993-4D69-859B-E8418B531490}" type="presParOf" srcId="{63AF8FEA-26D7-44E3-B78C-06DDB0E2C722}" destId="{0EE06158-A739-472B-A73F-63383275515F}" srcOrd="4" destOrd="0" presId="urn:microsoft.com/office/officeart/2018/2/layout/IconVerticalSolidList"/>
    <dgm:cxn modelId="{34C0890F-4BB2-42D8-AD72-EF76D7935423}" type="presParOf" srcId="{0EE06158-A739-472B-A73F-63383275515F}" destId="{31F4CACB-F282-4932-9FEF-1BCBD8BDA1A5}" srcOrd="0" destOrd="0" presId="urn:microsoft.com/office/officeart/2018/2/layout/IconVerticalSolidList"/>
    <dgm:cxn modelId="{06A397BB-8A6D-4B0A-A89B-029E43D6DDAD}" type="presParOf" srcId="{0EE06158-A739-472B-A73F-63383275515F}" destId="{44B90C8E-3B06-4E6A-8E41-AF35225C1EF6}" srcOrd="1" destOrd="0" presId="urn:microsoft.com/office/officeart/2018/2/layout/IconVerticalSolidList"/>
    <dgm:cxn modelId="{7936D5B7-81F0-4E99-BD56-243CE4600ACE}" type="presParOf" srcId="{0EE06158-A739-472B-A73F-63383275515F}" destId="{35AD8240-0356-409F-8820-51280C530532}" srcOrd="2" destOrd="0" presId="urn:microsoft.com/office/officeart/2018/2/layout/IconVerticalSolidList"/>
    <dgm:cxn modelId="{13F9D2E4-21A6-4498-A026-280988F4669A}" type="presParOf" srcId="{0EE06158-A739-472B-A73F-63383275515F}" destId="{EE5C5C35-8CC4-49D9-A2A9-582CC49E285F}" srcOrd="3" destOrd="0" presId="urn:microsoft.com/office/officeart/2018/2/layout/IconVerticalSolidList"/>
    <dgm:cxn modelId="{A8731F38-F935-4053-BF8D-F6E756FD48F6}" type="presParOf" srcId="{63AF8FEA-26D7-44E3-B78C-06DDB0E2C722}" destId="{02CE2001-9F3D-45AF-95E8-20BBDAE1E61C}" srcOrd="5" destOrd="0" presId="urn:microsoft.com/office/officeart/2018/2/layout/IconVerticalSolidList"/>
    <dgm:cxn modelId="{05CA9A2B-F2AA-4AED-B8D6-DAB114280F62}" type="presParOf" srcId="{63AF8FEA-26D7-44E3-B78C-06DDB0E2C722}" destId="{F4E10F70-864D-4CF3-8076-74CE9E2905AB}" srcOrd="6" destOrd="0" presId="urn:microsoft.com/office/officeart/2018/2/layout/IconVerticalSolidList"/>
    <dgm:cxn modelId="{3867E3E9-AE57-4C12-8326-256E4A4C6D81}" type="presParOf" srcId="{F4E10F70-864D-4CF3-8076-74CE9E2905AB}" destId="{D375BA47-E815-475A-8BBF-F0E1EEA250F1}" srcOrd="0" destOrd="0" presId="urn:microsoft.com/office/officeart/2018/2/layout/IconVerticalSolidList"/>
    <dgm:cxn modelId="{26085405-07AC-4A71-A77F-1E41B40CC2A6}" type="presParOf" srcId="{F4E10F70-864D-4CF3-8076-74CE9E2905AB}" destId="{E066FE07-713D-473D-A2A6-394884DB3A20}" srcOrd="1" destOrd="0" presId="urn:microsoft.com/office/officeart/2018/2/layout/IconVerticalSolidList"/>
    <dgm:cxn modelId="{535E091E-1997-4F94-B779-A01E1BF4401C}" type="presParOf" srcId="{F4E10F70-864D-4CF3-8076-74CE9E2905AB}" destId="{8CC6E55C-F573-4E81-B65D-46CD2147F289}" srcOrd="2" destOrd="0" presId="urn:microsoft.com/office/officeart/2018/2/layout/IconVerticalSolidList"/>
    <dgm:cxn modelId="{A0406373-6518-4FFB-AF6A-2D1074323C74}" type="presParOf" srcId="{F4E10F70-864D-4CF3-8076-74CE9E2905AB}" destId="{534C51B5-3A28-4468-8E0E-57EDF70F8E67}" srcOrd="3" destOrd="0" presId="urn:microsoft.com/office/officeart/2018/2/layout/IconVerticalSolidList"/>
    <dgm:cxn modelId="{BE92BCFD-8C0B-4EDF-A384-B73ABA61545F}" type="presParOf" srcId="{F4E10F70-864D-4CF3-8076-74CE9E2905AB}" destId="{7DDA76F9-D966-4C9C-B6F7-1A07CCC1C2E9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BBD116C-FFC2-4329-8C7B-F8919D1ED108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0766AF0-FF82-42A4-B5B4-179E9BB1EF16}">
      <dgm:prSet/>
      <dgm:spPr/>
      <dgm:t>
        <a:bodyPr/>
        <a:lstStyle/>
        <a:p>
          <a:r>
            <a:rPr lang="es-419" b="1" noProof="0"/>
            <a:t>TIPS</a:t>
          </a:r>
        </a:p>
      </dgm:t>
    </dgm:pt>
    <dgm:pt modelId="{FE23096C-1FE5-415F-9F1C-EAB992B654D6}" type="parTrans" cxnId="{130F7A94-E0F7-4623-B509-130F669295CF}">
      <dgm:prSet/>
      <dgm:spPr/>
      <dgm:t>
        <a:bodyPr/>
        <a:lstStyle/>
        <a:p>
          <a:endParaRPr lang="en-US"/>
        </a:p>
      </dgm:t>
    </dgm:pt>
    <dgm:pt modelId="{72546241-679D-4C2D-AF79-2246E8AE7C8E}" type="sibTrans" cxnId="{130F7A94-E0F7-4623-B509-130F669295CF}">
      <dgm:prSet/>
      <dgm:spPr/>
      <dgm:t>
        <a:bodyPr/>
        <a:lstStyle/>
        <a:p>
          <a:endParaRPr lang="en-US"/>
        </a:p>
      </dgm:t>
    </dgm:pt>
    <dgm:pt modelId="{047B5863-C5F8-48FD-BDDC-7C4DA95239D6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El formato de las variables numéricas debe ser </a:t>
          </a:r>
          <a:r>
            <a:rPr lang="es-419" b="1" noProof="0">
              <a:solidFill>
                <a:schemeClr val="accent4"/>
              </a:solidFill>
            </a:rPr>
            <a:t>“Número”</a:t>
          </a:r>
        </a:p>
      </dgm:t>
    </dgm:pt>
    <dgm:pt modelId="{451368C7-FB92-418E-B229-221A97CD9CD9}" type="parTrans" cxnId="{1BF5014C-57C2-4F49-B9FA-F46F1EA2DCDD}">
      <dgm:prSet/>
      <dgm:spPr/>
      <dgm:t>
        <a:bodyPr/>
        <a:lstStyle/>
        <a:p>
          <a:endParaRPr lang="en-US"/>
        </a:p>
      </dgm:t>
    </dgm:pt>
    <dgm:pt modelId="{6048223F-794B-4D5E-8241-1C0FB86BF320}" type="sibTrans" cxnId="{1BF5014C-57C2-4F49-B9FA-F46F1EA2DCDD}">
      <dgm:prSet/>
      <dgm:spPr/>
      <dgm:t>
        <a:bodyPr/>
        <a:lstStyle/>
        <a:p>
          <a:endParaRPr lang="en-US"/>
        </a:p>
      </dgm:t>
    </dgm:pt>
    <dgm:pt modelId="{CF681AA0-2B8A-4BEF-968F-A050105A9163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El formato de las variables fechas debe ser </a:t>
          </a:r>
          <a:r>
            <a:rPr lang="es-419" b="1" noProof="0">
              <a:solidFill>
                <a:schemeClr val="accent4"/>
              </a:solidFill>
            </a:rPr>
            <a:t>“Fecha”: DD/MM/AAAA</a:t>
          </a:r>
        </a:p>
      </dgm:t>
    </dgm:pt>
    <dgm:pt modelId="{52F806E7-95F8-44F0-98E6-306F3D52FCA5}" type="parTrans" cxnId="{ABE23DAB-13BD-410F-9120-78F418231E2A}">
      <dgm:prSet/>
      <dgm:spPr/>
      <dgm:t>
        <a:bodyPr/>
        <a:lstStyle/>
        <a:p>
          <a:endParaRPr lang="en-US"/>
        </a:p>
      </dgm:t>
    </dgm:pt>
    <dgm:pt modelId="{57ABEDD6-5E49-426E-BD91-18B5EF1EA734}" type="sibTrans" cxnId="{ABE23DAB-13BD-410F-9120-78F418231E2A}">
      <dgm:prSet/>
      <dgm:spPr/>
      <dgm:t>
        <a:bodyPr/>
        <a:lstStyle/>
        <a:p>
          <a:endParaRPr lang="en-US"/>
        </a:p>
      </dgm:t>
    </dgm:pt>
    <dgm:pt modelId="{38EB2E5F-7040-4978-B6E3-B837D69B0D88}">
      <dgm:prSet/>
      <dgm:spPr/>
      <dgm:t>
        <a:bodyPr/>
        <a:lstStyle/>
        <a:p>
          <a:pPr>
            <a:lnSpc>
              <a:spcPct val="100000"/>
            </a:lnSpc>
          </a:pPr>
          <a:r>
            <a:rPr lang="es-419" noProof="0"/>
            <a:t>Para el resto de las variables, se sugiere usar </a:t>
          </a:r>
          <a:r>
            <a:rPr lang="es-419" b="1" noProof="0">
              <a:solidFill>
                <a:schemeClr val="accent4"/>
              </a:solidFill>
            </a:rPr>
            <a:t>“General” </a:t>
          </a:r>
        </a:p>
      </dgm:t>
    </dgm:pt>
    <dgm:pt modelId="{68C554D8-5DE8-4D8E-8BEE-E1E39F3B964D}" type="parTrans" cxnId="{547F6072-EC47-41AD-B11D-4D7223E9A5BE}">
      <dgm:prSet/>
      <dgm:spPr/>
      <dgm:t>
        <a:bodyPr/>
        <a:lstStyle/>
        <a:p>
          <a:endParaRPr lang="en-US"/>
        </a:p>
      </dgm:t>
    </dgm:pt>
    <dgm:pt modelId="{7CA9C063-30A3-4271-9703-D97047CC4A08}" type="sibTrans" cxnId="{547F6072-EC47-41AD-B11D-4D7223E9A5BE}">
      <dgm:prSet/>
      <dgm:spPr/>
      <dgm:t>
        <a:bodyPr/>
        <a:lstStyle/>
        <a:p>
          <a:endParaRPr lang="en-US"/>
        </a:p>
      </dgm:t>
    </dgm:pt>
    <dgm:pt modelId="{99BD3CA9-6EAE-482D-BEF0-FFF828A7361D}" type="pres">
      <dgm:prSet presAssocID="{0BBD116C-FFC2-4329-8C7B-F8919D1ED108}" presName="linearFlow" presStyleCnt="0">
        <dgm:presLayoutVars>
          <dgm:dir/>
          <dgm:animLvl val="lvl"/>
          <dgm:resizeHandles/>
        </dgm:presLayoutVars>
      </dgm:prSet>
      <dgm:spPr/>
    </dgm:pt>
    <dgm:pt modelId="{6F3A5121-3C8F-460A-B30E-2C3C8F0A7877}" type="pres">
      <dgm:prSet presAssocID="{20766AF0-FF82-42A4-B5B4-179E9BB1EF16}" presName="compositeNode" presStyleCnt="0">
        <dgm:presLayoutVars>
          <dgm:bulletEnabled val="1"/>
        </dgm:presLayoutVars>
      </dgm:prSet>
      <dgm:spPr/>
    </dgm:pt>
    <dgm:pt modelId="{27D9A40B-603B-45BA-91BC-D7D69E987A3C}" type="pres">
      <dgm:prSet presAssocID="{20766AF0-FF82-42A4-B5B4-179E9BB1EF16}" presName="image" presStyleLbl="fgImgPlace1" presStyleIdx="0" presStyleCnt="1" custLinFactNeighborX="-194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Tick1 outline"/>
        </a:ext>
      </dgm:extLst>
    </dgm:pt>
    <dgm:pt modelId="{12366938-68D0-4EC7-AEA3-253D4693F39A}" type="pres">
      <dgm:prSet presAssocID="{20766AF0-FF82-42A4-B5B4-179E9BB1EF16}" presName="childNode" presStyleLbl="node1" presStyleIdx="0" presStyleCnt="1">
        <dgm:presLayoutVars>
          <dgm:bulletEnabled val="1"/>
        </dgm:presLayoutVars>
      </dgm:prSet>
      <dgm:spPr/>
    </dgm:pt>
    <dgm:pt modelId="{8933408E-6E43-43E0-8683-44E2A2A2EB25}" type="pres">
      <dgm:prSet presAssocID="{20766AF0-FF82-42A4-B5B4-179E9BB1EF16}" presName="parentNode" presStyleLbl="revTx" presStyleIdx="0" presStyleCnt="1">
        <dgm:presLayoutVars>
          <dgm:chMax val="0"/>
          <dgm:bulletEnabled val="1"/>
        </dgm:presLayoutVars>
      </dgm:prSet>
      <dgm:spPr/>
    </dgm:pt>
  </dgm:ptLst>
  <dgm:cxnLst>
    <dgm:cxn modelId="{083D2031-B460-4005-9043-CE51CF9672A9}" type="presOf" srcId="{38EB2E5F-7040-4978-B6E3-B837D69B0D88}" destId="{12366938-68D0-4EC7-AEA3-253D4693F39A}" srcOrd="0" destOrd="2" presId="urn:microsoft.com/office/officeart/2005/8/layout/hList2"/>
    <dgm:cxn modelId="{1BF5014C-57C2-4F49-B9FA-F46F1EA2DCDD}" srcId="{20766AF0-FF82-42A4-B5B4-179E9BB1EF16}" destId="{047B5863-C5F8-48FD-BDDC-7C4DA95239D6}" srcOrd="0" destOrd="0" parTransId="{451368C7-FB92-418E-B229-221A97CD9CD9}" sibTransId="{6048223F-794B-4D5E-8241-1C0FB86BF320}"/>
    <dgm:cxn modelId="{08575868-F829-4803-BE97-E4016DEBFCBA}" type="presOf" srcId="{CF681AA0-2B8A-4BEF-968F-A050105A9163}" destId="{12366938-68D0-4EC7-AEA3-253D4693F39A}" srcOrd="0" destOrd="1" presId="urn:microsoft.com/office/officeart/2005/8/layout/hList2"/>
    <dgm:cxn modelId="{547F6072-EC47-41AD-B11D-4D7223E9A5BE}" srcId="{20766AF0-FF82-42A4-B5B4-179E9BB1EF16}" destId="{38EB2E5F-7040-4978-B6E3-B837D69B0D88}" srcOrd="2" destOrd="0" parTransId="{68C554D8-5DE8-4D8E-8BEE-E1E39F3B964D}" sibTransId="{7CA9C063-30A3-4271-9703-D97047CC4A08}"/>
    <dgm:cxn modelId="{F988887F-CDE8-40B8-AC83-163632D36A58}" type="presOf" srcId="{047B5863-C5F8-48FD-BDDC-7C4DA95239D6}" destId="{12366938-68D0-4EC7-AEA3-253D4693F39A}" srcOrd="0" destOrd="0" presId="urn:microsoft.com/office/officeart/2005/8/layout/hList2"/>
    <dgm:cxn modelId="{B733A882-900E-4AEE-B2C6-5D92B470B253}" type="presOf" srcId="{0BBD116C-FFC2-4329-8C7B-F8919D1ED108}" destId="{99BD3CA9-6EAE-482D-BEF0-FFF828A7361D}" srcOrd="0" destOrd="0" presId="urn:microsoft.com/office/officeart/2005/8/layout/hList2"/>
    <dgm:cxn modelId="{130F7A94-E0F7-4623-B509-130F669295CF}" srcId="{0BBD116C-FFC2-4329-8C7B-F8919D1ED108}" destId="{20766AF0-FF82-42A4-B5B4-179E9BB1EF16}" srcOrd="0" destOrd="0" parTransId="{FE23096C-1FE5-415F-9F1C-EAB992B654D6}" sibTransId="{72546241-679D-4C2D-AF79-2246E8AE7C8E}"/>
    <dgm:cxn modelId="{ABE23DAB-13BD-410F-9120-78F418231E2A}" srcId="{20766AF0-FF82-42A4-B5B4-179E9BB1EF16}" destId="{CF681AA0-2B8A-4BEF-968F-A050105A9163}" srcOrd="1" destOrd="0" parTransId="{52F806E7-95F8-44F0-98E6-306F3D52FCA5}" sibTransId="{57ABEDD6-5E49-426E-BD91-18B5EF1EA734}"/>
    <dgm:cxn modelId="{552490E1-FCA1-4F3F-B5D8-57E04F2686DC}" type="presOf" srcId="{20766AF0-FF82-42A4-B5B4-179E9BB1EF16}" destId="{8933408E-6E43-43E0-8683-44E2A2A2EB25}" srcOrd="0" destOrd="0" presId="urn:microsoft.com/office/officeart/2005/8/layout/hList2"/>
    <dgm:cxn modelId="{69EEBBC6-DF9D-4B0E-B1B9-031CB4E311DA}" type="presParOf" srcId="{99BD3CA9-6EAE-482D-BEF0-FFF828A7361D}" destId="{6F3A5121-3C8F-460A-B30E-2C3C8F0A7877}" srcOrd="0" destOrd="0" presId="urn:microsoft.com/office/officeart/2005/8/layout/hList2"/>
    <dgm:cxn modelId="{E7CCD490-893A-4C56-AE0A-3726F1953912}" type="presParOf" srcId="{6F3A5121-3C8F-460A-B30E-2C3C8F0A7877}" destId="{27D9A40B-603B-45BA-91BC-D7D69E987A3C}" srcOrd="0" destOrd="0" presId="urn:microsoft.com/office/officeart/2005/8/layout/hList2"/>
    <dgm:cxn modelId="{9290AF30-8F40-43F3-948B-CAE1B178593E}" type="presParOf" srcId="{6F3A5121-3C8F-460A-B30E-2C3C8F0A7877}" destId="{12366938-68D0-4EC7-AEA3-253D4693F39A}" srcOrd="1" destOrd="0" presId="urn:microsoft.com/office/officeart/2005/8/layout/hList2"/>
    <dgm:cxn modelId="{2AF51107-5BB9-42A3-850C-B2B17A69F51E}" type="presParOf" srcId="{6F3A5121-3C8F-460A-B30E-2C3C8F0A7877}" destId="{8933408E-6E43-43E0-8683-44E2A2A2EB25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8713F0A-7475-443F-AE75-97C69337F6C5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0_3" csCatId="mainScheme" phldr="1"/>
      <dgm:spPr/>
      <dgm:t>
        <a:bodyPr/>
        <a:lstStyle/>
        <a:p>
          <a:endParaRPr lang="en-US"/>
        </a:p>
      </dgm:t>
    </dgm:pt>
    <dgm:pt modelId="{7C232B31-00E9-4956-BE91-126EAC66271F}">
      <dgm:prSet/>
      <dgm:spPr/>
      <dgm:t>
        <a:bodyPr/>
        <a:lstStyle/>
        <a:p>
          <a:r>
            <a:rPr lang="es-419"/>
            <a:t>Bandera de país</a:t>
          </a:r>
          <a:endParaRPr lang="en-US"/>
        </a:p>
      </dgm:t>
    </dgm:pt>
    <dgm:pt modelId="{8F2C23C4-6D1E-4F86-9E98-10894C55C444}" type="parTrans" cxnId="{2625ADD7-C379-477E-86A9-165F9B268A37}">
      <dgm:prSet/>
      <dgm:spPr/>
      <dgm:t>
        <a:bodyPr/>
        <a:lstStyle/>
        <a:p>
          <a:endParaRPr lang="en-US"/>
        </a:p>
      </dgm:t>
    </dgm:pt>
    <dgm:pt modelId="{600CBF11-4182-4A7E-880B-399BD6F8476F}" type="sibTrans" cxnId="{2625ADD7-C379-477E-86A9-165F9B268A37}">
      <dgm:prSet/>
      <dgm:spPr/>
      <dgm:t>
        <a:bodyPr/>
        <a:lstStyle/>
        <a:p>
          <a:endParaRPr lang="en-US"/>
        </a:p>
      </dgm:t>
    </dgm:pt>
    <dgm:pt modelId="{EC23E7B5-87BC-4341-9FFF-0603D1D9291C}">
      <dgm:prSet/>
      <dgm:spPr/>
      <dgm:t>
        <a:bodyPr/>
        <a:lstStyle/>
        <a:p>
          <a:r>
            <a:rPr lang="es-419"/>
            <a:t>Evaluación de riesgo</a:t>
          </a:r>
          <a:endParaRPr lang="en-US"/>
        </a:p>
      </dgm:t>
    </dgm:pt>
    <dgm:pt modelId="{E21889F4-4A40-467B-B5F0-81AF679FC55D}" type="parTrans" cxnId="{EFC6D0BC-F217-4488-AC3C-DD084721751F}">
      <dgm:prSet/>
      <dgm:spPr/>
      <dgm:t>
        <a:bodyPr/>
        <a:lstStyle/>
        <a:p>
          <a:endParaRPr lang="en-US"/>
        </a:p>
      </dgm:t>
    </dgm:pt>
    <dgm:pt modelId="{68EBBA50-8239-4C35-89F0-1283FFCB7B4A}" type="sibTrans" cxnId="{EFC6D0BC-F217-4488-AC3C-DD084721751F}">
      <dgm:prSet/>
      <dgm:spPr/>
      <dgm:t>
        <a:bodyPr/>
        <a:lstStyle/>
        <a:p>
          <a:endParaRPr lang="en-US"/>
        </a:p>
      </dgm:t>
    </dgm:pt>
    <dgm:pt modelId="{BC05CF8A-250D-4111-8DB6-49CCF523CB2C}">
      <dgm:prSet/>
      <dgm:spPr/>
      <dgm:t>
        <a:bodyPr/>
        <a:lstStyle/>
        <a:p>
          <a:r>
            <a:rPr lang="es-419"/>
            <a:t>Informe</a:t>
          </a:r>
          <a:endParaRPr lang="en-US"/>
        </a:p>
      </dgm:t>
    </dgm:pt>
    <dgm:pt modelId="{ADD9F7BC-B15F-4BAE-9B15-65460BAB55E4}" type="parTrans" cxnId="{0FE9419D-2972-49C3-B58A-F03F76D6BF36}">
      <dgm:prSet/>
      <dgm:spPr/>
      <dgm:t>
        <a:bodyPr/>
        <a:lstStyle/>
        <a:p>
          <a:endParaRPr lang="en-US"/>
        </a:p>
      </dgm:t>
    </dgm:pt>
    <dgm:pt modelId="{B41CAC68-DA34-4999-8110-58FEEEEB3706}" type="sibTrans" cxnId="{0FE9419D-2972-49C3-B58A-F03F76D6BF36}">
      <dgm:prSet/>
      <dgm:spPr/>
      <dgm:t>
        <a:bodyPr/>
        <a:lstStyle/>
        <a:p>
          <a:endParaRPr lang="en-US"/>
        </a:p>
      </dgm:t>
    </dgm:pt>
    <dgm:pt modelId="{9C81BFAB-1C2F-4EE0-8418-780D96C7D549}">
      <dgm:prSet/>
      <dgm:spPr/>
      <dgm:t>
        <a:bodyPr/>
        <a:lstStyle/>
        <a:p>
          <a:r>
            <a:rPr lang="es-419"/>
            <a:t>Dashboard</a:t>
          </a:r>
          <a:endParaRPr lang="en-US"/>
        </a:p>
      </dgm:t>
    </dgm:pt>
    <dgm:pt modelId="{049B3307-D6A7-4060-853E-AF33F1715AB4}" type="parTrans" cxnId="{02AC4C15-0165-4BD4-82F8-0BFC36F77818}">
      <dgm:prSet/>
      <dgm:spPr/>
      <dgm:t>
        <a:bodyPr/>
        <a:lstStyle/>
        <a:p>
          <a:endParaRPr lang="en-US"/>
        </a:p>
      </dgm:t>
    </dgm:pt>
    <dgm:pt modelId="{7D8BF9EB-6F85-403A-B019-1ED7CD4070DB}" type="sibTrans" cxnId="{02AC4C15-0165-4BD4-82F8-0BFC36F77818}">
      <dgm:prSet/>
      <dgm:spPr/>
      <dgm:t>
        <a:bodyPr/>
        <a:lstStyle/>
        <a:p>
          <a:endParaRPr lang="en-US"/>
        </a:p>
      </dgm:t>
    </dgm:pt>
    <dgm:pt modelId="{7C65D83C-59AC-49C6-83C9-162C73F4D189}" type="pres">
      <dgm:prSet presAssocID="{F8713F0A-7475-443F-AE75-97C69337F6C5}" presName="root" presStyleCnt="0">
        <dgm:presLayoutVars>
          <dgm:dir/>
          <dgm:resizeHandles val="exact"/>
        </dgm:presLayoutVars>
      </dgm:prSet>
      <dgm:spPr/>
    </dgm:pt>
    <dgm:pt modelId="{4988B42E-4409-4C9E-BACA-E4475CC03188}" type="pres">
      <dgm:prSet presAssocID="{7C232B31-00E9-4956-BE91-126EAC66271F}" presName="compNode" presStyleCnt="0"/>
      <dgm:spPr/>
    </dgm:pt>
    <dgm:pt modelId="{05EB4F4C-FB4A-4899-87A8-A9BBF7B0B78F}" type="pres">
      <dgm:prSet presAssocID="{7C232B31-00E9-4956-BE91-126EAC66271F}" presName="bgRect" presStyleLbl="bgShp" presStyleIdx="0" presStyleCnt="4"/>
      <dgm:spPr/>
    </dgm:pt>
    <dgm:pt modelId="{5D546337-F72D-4C6D-8B88-385F2A847FED}" type="pres">
      <dgm:prSet presAssocID="{7C232B31-00E9-4956-BE91-126EAC66271F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ag"/>
        </a:ext>
      </dgm:extLst>
    </dgm:pt>
    <dgm:pt modelId="{8823DEC9-A599-4679-9CE9-E63AABA3B9DA}" type="pres">
      <dgm:prSet presAssocID="{7C232B31-00E9-4956-BE91-126EAC66271F}" presName="spaceRect" presStyleCnt="0"/>
      <dgm:spPr/>
    </dgm:pt>
    <dgm:pt modelId="{E8AA2A30-C89B-4689-A7BF-6F9F0948D60D}" type="pres">
      <dgm:prSet presAssocID="{7C232B31-00E9-4956-BE91-126EAC66271F}" presName="parTx" presStyleLbl="revTx" presStyleIdx="0" presStyleCnt="4">
        <dgm:presLayoutVars>
          <dgm:chMax val="0"/>
          <dgm:chPref val="0"/>
        </dgm:presLayoutVars>
      </dgm:prSet>
      <dgm:spPr/>
    </dgm:pt>
    <dgm:pt modelId="{481F304F-EFE0-4A5A-9B65-25E2705EACC0}" type="pres">
      <dgm:prSet presAssocID="{600CBF11-4182-4A7E-880B-399BD6F8476F}" presName="sibTrans" presStyleCnt="0"/>
      <dgm:spPr/>
    </dgm:pt>
    <dgm:pt modelId="{2D6350FB-7F03-4847-8B7F-FCD222C3872D}" type="pres">
      <dgm:prSet presAssocID="{EC23E7B5-87BC-4341-9FFF-0603D1D9291C}" presName="compNode" presStyleCnt="0"/>
      <dgm:spPr/>
    </dgm:pt>
    <dgm:pt modelId="{8BE76162-25F1-4411-81C1-C20F1976574E}" type="pres">
      <dgm:prSet presAssocID="{EC23E7B5-87BC-4341-9FFF-0603D1D9291C}" presName="bgRect" presStyleLbl="bgShp" presStyleIdx="1" presStyleCnt="4"/>
      <dgm:spPr/>
    </dgm:pt>
    <dgm:pt modelId="{4F78BB1F-E7E5-4BBF-AABA-C5BC1E522D31}" type="pres">
      <dgm:prSet presAssocID="{EC23E7B5-87BC-4341-9FFF-0603D1D9291C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arning"/>
        </a:ext>
      </dgm:extLst>
    </dgm:pt>
    <dgm:pt modelId="{315F97C1-A6BF-4520-968E-7896E5D4C596}" type="pres">
      <dgm:prSet presAssocID="{EC23E7B5-87BC-4341-9FFF-0603D1D9291C}" presName="spaceRect" presStyleCnt="0"/>
      <dgm:spPr/>
    </dgm:pt>
    <dgm:pt modelId="{A47A7BDD-4928-4CE4-8719-FC4BE4017E5D}" type="pres">
      <dgm:prSet presAssocID="{EC23E7B5-87BC-4341-9FFF-0603D1D9291C}" presName="parTx" presStyleLbl="revTx" presStyleIdx="1" presStyleCnt="4">
        <dgm:presLayoutVars>
          <dgm:chMax val="0"/>
          <dgm:chPref val="0"/>
        </dgm:presLayoutVars>
      </dgm:prSet>
      <dgm:spPr/>
    </dgm:pt>
    <dgm:pt modelId="{AD574D7E-2F0D-4DC7-8493-A99F46128B81}" type="pres">
      <dgm:prSet presAssocID="{68EBBA50-8239-4C35-89F0-1283FFCB7B4A}" presName="sibTrans" presStyleCnt="0"/>
      <dgm:spPr/>
    </dgm:pt>
    <dgm:pt modelId="{4B4EF007-78DC-4D9E-A7D4-6784453DD089}" type="pres">
      <dgm:prSet presAssocID="{BC05CF8A-250D-4111-8DB6-49CCF523CB2C}" presName="compNode" presStyleCnt="0"/>
      <dgm:spPr/>
    </dgm:pt>
    <dgm:pt modelId="{084AEF2D-49F7-4386-A656-D2156A4A4073}" type="pres">
      <dgm:prSet presAssocID="{BC05CF8A-250D-4111-8DB6-49CCF523CB2C}" presName="bgRect" presStyleLbl="bgShp" presStyleIdx="2" presStyleCnt="4"/>
      <dgm:spPr/>
    </dgm:pt>
    <dgm:pt modelId="{8B6073D7-B413-45D3-9008-F68CCFF277B5}" type="pres">
      <dgm:prSet presAssocID="{BC05CF8A-250D-4111-8DB6-49CCF523CB2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aper"/>
        </a:ext>
      </dgm:extLst>
    </dgm:pt>
    <dgm:pt modelId="{8B4CE381-B34C-4AE9-AE7B-76C6F9C0F3A9}" type="pres">
      <dgm:prSet presAssocID="{BC05CF8A-250D-4111-8DB6-49CCF523CB2C}" presName="spaceRect" presStyleCnt="0"/>
      <dgm:spPr/>
    </dgm:pt>
    <dgm:pt modelId="{EB32682D-620E-4671-B32F-8590421E1B7B}" type="pres">
      <dgm:prSet presAssocID="{BC05CF8A-250D-4111-8DB6-49CCF523CB2C}" presName="parTx" presStyleLbl="revTx" presStyleIdx="2" presStyleCnt="4">
        <dgm:presLayoutVars>
          <dgm:chMax val="0"/>
          <dgm:chPref val="0"/>
        </dgm:presLayoutVars>
      </dgm:prSet>
      <dgm:spPr/>
    </dgm:pt>
    <dgm:pt modelId="{B45A933E-B5A1-4B31-B5DD-01CE76EA7ED2}" type="pres">
      <dgm:prSet presAssocID="{B41CAC68-DA34-4999-8110-58FEEEEB3706}" presName="sibTrans" presStyleCnt="0"/>
      <dgm:spPr/>
    </dgm:pt>
    <dgm:pt modelId="{154A8DF2-7029-4A70-B9D8-7B0A8E578786}" type="pres">
      <dgm:prSet presAssocID="{9C81BFAB-1C2F-4EE0-8418-780D96C7D549}" presName="compNode" presStyleCnt="0"/>
      <dgm:spPr/>
    </dgm:pt>
    <dgm:pt modelId="{BF996323-A6CA-4E4D-8AB8-C8B82BAAA8C4}" type="pres">
      <dgm:prSet presAssocID="{9C81BFAB-1C2F-4EE0-8418-780D96C7D549}" presName="bgRect" presStyleLbl="bgShp" presStyleIdx="3" presStyleCnt="4"/>
      <dgm:spPr/>
    </dgm:pt>
    <dgm:pt modelId="{FAEAFD9E-2333-4DE9-9A01-89FA38093518}" type="pres">
      <dgm:prSet presAssocID="{9C81BFAB-1C2F-4EE0-8418-780D96C7D549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64D2D01B-05E6-4740-AAEB-B286FFB5BA8F}" type="pres">
      <dgm:prSet presAssocID="{9C81BFAB-1C2F-4EE0-8418-780D96C7D549}" presName="spaceRect" presStyleCnt="0"/>
      <dgm:spPr/>
    </dgm:pt>
    <dgm:pt modelId="{58FE1AAD-9BE4-4E91-B9AB-FF868AB4A854}" type="pres">
      <dgm:prSet presAssocID="{9C81BFAB-1C2F-4EE0-8418-780D96C7D549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02AC4C15-0165-4BD4-82F8-0BFC36F77818}" srcId="{F8713F0A-7475-443F-AE75-97C69337F6C5}" destId="{9C81BFAB-1C2F-4EE0-8418-780D96C7D549}" srcOrd="3" destOrd="0" parTransId="{049B3307-D6A7-4060-853E-AF33F1715AB4}" sibTransId="{7D8BF9EB-6F85-403A-B019-1ED7CD4070DB}"/>
    <dgm:cxn modelId="{9888825F-B660-4D57-9ECC-5B77AE0C7CF7}" type="presOf" srcId="{BC05CF8A-250D-4111-8DB6-49CCF523CB2C}" destId="{EB32682D-620E-4671-B32F-8590421E1B7B}" srcOrd="0" destOrd="0" presId="urn:microsoft.com/office/officeart/2018/2/layout/IconVerticalSolidList"/>
    <dgm:cxn modelId="{F8F60194-2094-4DC2-A188-441D4B575B36}" type="presOf" srcId="{7C232B31-00E9-4956-BE91-126EAC66271F}" destId="{E8AA2A30-C89B-4689-A7BF-6F9F0948D60D}" srcOrd="0" destOrd="0" presId="urn:microsoft.com/office/officeart/2018/2/layout/IconVerticalSolidList"/>
    <dgm:cxn modelId="{0FE9419D-2972-49C3-B58A-F03F76D6BF36}" srcId="{F8713F0A-7475-443F-AE75-97C69337F6C5}" destId="{BC05CF8A-250D-4111-8DB6-49CCF523CB2C}" srcOrd="2" destOrd="0" parTransId="{ADD9F7BC-B15F-4BAE-9B15-65460BAB55E4}" sibTransId="{B41CAC68-DA34-4999-8110-58FEEEEB3706}"/>
    <dgm:cxn modelId="{623818B7-DFC5-4624-B8F6-E38D7F79E001}" type="presOf" srcId="{9C81BFAB-1C2F-4EE0-8418-780D96C7D549}" destId="{58FE1AAD-9BE4-4E91-B9AB-FF868AB4A854}" srcOrd="0" destOrd="0" presId="urn:microsoft.com/office/officeart/2018/2/layout/IconVerticalSolidList"/>
    <dgm:cxn modelId="{EFC6D0BC-F217-4488-AC3C-DD084721751F}" srcId="{F8713F0A-7475-443F-AE75-97C69337F6C5}" destId="{EC23E7B5-87BC-4341-9FFF-0603D1D9291C}" srcOrd="1" destOrd="0" parTransId="{E21889F4-4A40-467B-B5F0-81AF679FC55D}" sibTransId="{68EBBA50-8239-4C35-89F0-1283FFCB7B4A}"/>
    <dgm:cxn modelId="{0A3AB2C6-1A5E-4BD1-BED4-E02872D56842}" type="presOf" srcId="{EC23E7B5-87BC-4341-9FFF-0603D1D9291C}" destId="{A47A7BDD-4928-4CE4-8719-FC4BE4017E5D}" srcOrd="0" destOrd="0" presId="urn:microsoft.com/office/officeart/2018/2/layout/IconVerticalSolidList"/>
    <dgm:cxn modelId="{2625ADD7-C379-477E-86A9-165F9B268A37}" srcId="{F8713F0A-7475-443F-AE75-97C69337F6C5}" destId="{7C232B31-00E9-4956-BE91-126EAC66271F}" srcOrd="0" destOrd="0" parTransId="{8F2C23C4-6D1E-4F86-9E98-10894C55C444}" sibTransId="{600CBF11-4182-4A7E-880B-399BD6F8476F}"/>
    <dgm:cxn modelId="{284F93F7-A454-441A-9205-731DF136725A}" type="presOf" srcId="{F8713F0A-7475-443F-AE75-97C69337F6C5}" destId="{7C65D83C-59AC-49C6-83C9-162C73F4D189}" srcOrd="0" destOrd="0" presId="urn:microsoft.com/office/officeart/2018/2/layout/IconVerticalSolidList"/>
    <dgm:cxn modelId="{B7F399AC-E43A-4CFA-AF73-761E75D8B224}" type="presParOf" srcId="{7C65D83C-59AC-49C6-83C9-162C73F4D189}" destId="{4988B42E-4409-4C9E-BACA-E4475CC03188}" srcOrd="0" destOrd="0" presId="urn:microsoft.com/office/officeart/2018/2/layout/IconVerticalSolidList"/>
    <dgm:cxn modelId="{56F22584-E176-47D3-AF93-4112F2507B62}" type="presParOf" srcId="{4988B42E-4409-4C9E-BACA-E4475CC03188}" destId="{05EB4F4C-FB4A-4899-87A8-A9BBF7B0B78F}" srcOrd="0" destOrd="0" presId="urn:microsoft.com/office/officeart/2018/2/layout/IconVerticalSolidList"/>
    <dgm:cxn modelId="{BDB54008-5ACA-413D-B1DA-72B6FDC29514}" type="presParOf" srcId="{4988B42E-4409-4C9E-BACA-E4475CC03188}" destId="{5D546337-F72D-4C6D-8B88-385F2A847FED}" srcOrd="1" destOrd="0" presId="urn:microsoft.com/office/officeart/2018/2/layout/IconVerticalSolidList"/>
    <dgm:cxn modelId="{5972FEC1-8A0E-4261-A6E1-E032836E0D3E}" type="presParOf" srcId="{4988B42E-4409-4C9E-BACA-E4475CC03188}" destId="{8823DEC9-A599-4679-9CE9-E63AABA3B9DA}" srcOrd="2" destOrd="0" presId="urn:microsoft.com/office/officeart/2018/2/layout/IconVerticalSolidList"/>
    <dgm:cxn modelId="{A75CB90F-D365-48A7-9D83-F0B57A9EC436}" type="presParOf" srcId="{4988B42E-4409-4C9E-BACA-E4475CC03188}" destId="{E8AA2A30-C89B-4689-A7BF-6F9F0948D60D}" srcOrd="3" destOrd="0" presId="urn:microsoft.com/office/officeart/2018/2/layout/IconVerticalSolidList"/>
    <dgm:cxn modelId="{74CECDC2-CA3E-4E3A-98E2-BA99DEB3EE1D}" type="presParOf" srcId="{7C65D83C-59AC-49C6-83C9-162C73F4D189}" destId="{481F304F-EFE0-4A5A-9B65-25E2705EACC0}" srcOrd="1" destOrd="0" presId="urn:microsoft.com/office/officeart/2018/2/layout/IconVerticalSolidList"/>
    <dgm:cxn modelId="{785DD529-9081-491F-8A26-483AB25442A9}" type="presParOf" srcId="{7C65D83C-59AC-49C6-83C9-162C73F4D189}" destId="{2D6350FB-7F03-4847-8B7F-FCD222C3872D}" srcOrd="2" destOrd="0" presId="urn:microsoft.com/office/officeart/2018/2/layout/IconVerticalSolidList"/>
    <dgm:cxn modelId="{5B58F38E-69B3-414B-A5D6-0F7F02FAA520}" type="presParOf" srcId="{2D6350FB-7F03-4847-8B7F-FCD222C3872D}" destId="{8BE76162-25F1-4411-81C1-C20F1976574E}" srcOrd="0" destOrd="0" presId="urn:microsoft.com/office/officeart/2018/2/layout/IconVerticalSolidList"/>
    <dgm:cxn modelId="{838E901A-C649-4435-B4D0-3C61CC882293}" type="presParOf" srcId="{2D6350FB-7F03-4847-8B7F-FCD222C3872D}" destId="{4F78BB1F-E7E5-4BBF-AABA-C5BC1E522D31}" srcOrd="1" destOrd="0" presId="urn:microsoft.com/office/officeart/2018/2/layout/IconVerticalSolidList"/>
    <dgm:cxn modelId="{E9C7D238-27BE-4B2E-9A49-A009FB405BDB}" type="presParOf" srcId="{2D6350FB-7F03-4847-8B7F-FCD222C3872D}" destId="{315F97C1-A6BF-4520-968E-7896E5D4C596}" srcOrd="2" destOrd="0" presId="urn:microsoft.com/office/officeart/2018/2/layout/IconVerticalSolidList"/>
    <dgm:cxn modelId="{6E230893-2E11-4D2F-83B7-D15681FF1E10}" type="presParOf" srcId="{2D6350FB-7F03-4847-8B7F-FCD222C3872D}" destId="{A47A7BDD-4928-4CE4-8719-FC4BE4017E5D}" srcOrd="3" destOrd="0" presId="urn:microsoft.com/office/officeart/2018/2/layout/IconVerticalSolidList"/>
    <dgm:cxn modelId="{5CC780FF-50F6-49A5-A6A4-7B1FC804B36C}" type="presParOf" srcId="{7C65D83C-59AC-49C6-83C9-162C73F4D189}" destId="{AD574D7E-2F0D-4DC7-8493-A99F46128B81}" srcOrd="3" destOrd="0" presId="urn:microsoft.com/office/officeart/2018/2/layout/IconVerticalSolidList"/>
    <dgm:cxn modelId="{DE4469E8-6A25-4032-B3D9-A32964FB6D2E}" type="presParOf" srcId="{7C65D83C-59AC-49C6-83C9-162C73F4D189}" destId="{4B4EF007-78DC-4D9E-A7D4-6784453DD089}" srcOrd="4" destOrd="0" presId="urn:microsoft.com/office/officeart/2018/2/layout/IconVerticalSolidList"/>
    <dgm:cxn modelId="{0FBD9E1C-C363-4EB2-A400-8883C00F3A19}" type="presParOf" srcId="{4B4EF007-78DC-4D9E-A7D4-6784453DD089}" destId="{084AEF2D-49F7-4386-A656-D2156A4A4073}" srcOrd="0" destOrd="0" presId="urn:microsoft.com/office/officeart/2018/2/layout/IconVerticalSolidList"/>
    <dgm:cxn modelId="{DF559C9C-E613-40C5-8D45-56027A21BC4F}" type="presParOf" srcId="{4B4EF007-78DC-4D9E-A7D4-6784453DD089}" destId="{8B6073D7-B413-45D3-9008-F68CCFF277B5}" srcOrd="1" destOrd="0" presId="urn:microsoft.com/office/officeart/2018/2/layout/IconVerticalSolidList"/>
    <dgm:cxn modelId="{48CCC683-354C-42A1-B2F5-055DBB9842C8}" type="presParOf" srcId="{4B4EF007-78DC-4D9E-A7D4-6784453DD089}" destId="{8B4CE381-B34C-4AE9-AE7B-76C6F9C0F3A9}" srcOrd="2" destOrd="0" presId="urn:microsoft.com/office/officeart/2018/2/layout/IconVerticalSolidList"/>
    <dgm:cxn modelId="{8B82790F-59E1-4F34-8752-196CE37470A6}" type="presParOf" srcId="{4B4EF007-78DC-4D9E-A7D4-6784453DD089}" destId="{EB32682D-620E-4671-B32F-8590421E1B7B}" srcOrd="3" destOrd="0" presId="urn:microsoft.com/office/officeart/2018/2/layout/IconVerticalSolidList"/>
    <dgm:cxn modelId="{52703D2E-C713-4CC1-831B-9EEBCF6A8B78}" type="presParOf" srcId="{7C65D83C-59AC-49C6-83C9-162C73F4D189}" destId="{B45A933E-B5A1-4B31-B5DD-01CE76EA7ED2}" srcOrd="5" destOrd="0" presId="urn:microsoft.com/office/officeart/2018/2/layout/IconVerticalSolidList"/>
    <dgm:cxn modelId="{5CE554B3-14BC-4230-8071-BC921B4333A6}" type="presParOf" srcId="{7C65D83C-59AC-49C6-83C9-162C73F4D189}" destId="{154A8DF2-7029-4A70-B9D8-7B0A8E578786}" srcOrd="6" destOrd="0" presId="urn:microsoft.com/office/officeart/2018/2/layout/IconVerticalSolidList"/>
    <dgm:cxn modelId="{8A3F116B-2035-4CED-82DE-BD4DBB964204}" type="presParOf" srcId="{154A8DF2-7029-4A70-B9D8-7B0A8E578786}" destId="{BF996323-A6CA-4E4D-8AB8-C8B82BAAA8C4}" srcOrd="0" destOrd="0" presId="urn:microsoft.com/office/officeart/2018/2/layout/IconVerticalSolidList"/>
    <dgm:cxn modelId="{8789286C-BA69-4C2D-AF3C-CF813002E601}" type="presParOf" srcId="{154A8DF2-7029-4A70-B9D8-7B0A8E578786}" destId="{FAEAFD9E-2333-4DE9-9A01-89FA38093518}" srcOrd="1" destOrd="0" presId="urn:microsoft.com/office/officeart/2018/2/layout/IconVerticalSolidList"/>
    <dgm:cxn modelId="{357418A9-EE6E-468D-9BD6-52B3802420DB}" type="presParOf" srcId="{154A8DF2-7029-4A70-B9D8-7B0A8E578786}" destId="{64D2D01B-05E6-4740-AAEB-B286FFB5BA8F}" srcOrd="2" destOrd="0" presId="urn:microsoft.com/office/officeart/2018/2/layout/IconVerticalSolidList"/>
    <dgm:cxn modelId="{EA60C205-F738-47F0-ACD1-C349833B17B5}" type="presParOf" srcId="{154A8DF2-7029-4A70-B9D8-7B0A8E578786}" destId="{58FE1AAD-9BE4-4E91-B9AB-FF868AB4A85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3D4BBF-F939-4555-810E-30FB0F48B385}">
      <dsp:nvSpPr>
        <dsp:cNvPr id="0" name=""/>
        <dsp:cNvSpPr/>
      </dsp:nvSpPr>
      <dsp:spPr>
        <a:xfrm rot="10800000">
          <a:off x="915669" y="1795"/>
          <a:ext cx="2593238" cy="1049942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2995" tIns="110490" rIns="206248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900" kern="1200" noProof="0"/>
            <a:t>¿Por qué?</a:t>
          </a:r>
        </a:p>
      </dsp:txBody>
      <dsp:txXfrm rot="10800000">
        <a:off x="1178154" y="1795"/>
        <a:ext cx="2330753" cy="1049942"/>
      </dsp:txXfrm>
    </dsp:sp>
    <dsp:sp modelId="{A8748931-5045-4D17-BC4A-3713B00D8B50}">
      <dsp:nvSpPr>
        <dsp:cNvPr id="0" name=""/>
        <dsp:cNvSpPr/>
      </dsp:nvSpPr>
      <dsp:spPr>
        <a:xfrm>
          <a:off x="390698" y="1795"/>
          <a:ext cx="1049942" cy="104994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87E190-D889-4DD7-A1C2-82A3FA73215E}">
      <dsp:nvSpPr>
        <dsp:cNvPr id="0" name=""/>
        <dsp:cNvSpPr/>
      </dsp:nvSpPr>
      <dsp:spPr>
        <a:xfrm rot="10800000">
          <a:off x="915669" y="1365153"/>
          <a:ext cx="2593238" cy="1049942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2995" tIns="110490" rIns="206248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900" kern="1200" noProof="0"/>
            <a:t>¿Cómo?</a:t>
          </a:r>
        </a:p>
      </dsp:txBody>
      <dsp:txXfrm rot="10800000">
        <a:off x="1178154" y="1365153"/>
        <a:ext cx="2330753" cy="1049942"/>
      </dsp:txXfrm>
    </dsp:sp>
    <dsp:sp modelId="{09026911-68E2-40EA-80FE-0B794CA53FBC}">
      <dsp:nvSpPr>
        <dsp:cNvPr id="0" name=""/>
        <dsp:cNvSpPr/>
      </dsp:nvSpPr>
      <dsp:spPr>
        <a:xfrm>
          <a:off x="390698" y="1365153"/>
          <a:ext cx="1049942" cy="104994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68535B-3741-4B1F-A8F7-394CC38B7B7D}">
      <dsp:nvSpPr>
        <dsp:cNvPr id="0" name=""/>
        <dsp:cNvSpPr/>
      </dsp:nvSpPr>
      <dsp:spPr>
        <a:xfrm rot="10800000">
          <a:off x="915669" y="2728511"/>
          <a:ext cx="2593238" cy="1049942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2995" tIns="110490" rIns="206248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900" kern="1200" noProof="0"/>
            <a:t>¿Qué hacer?</a:t>
          </a:r>
        </a:p>
      </dsp:txBody>
      <dsp:txXfrm rot="10800000">
        <a:off x="1178154" y="2728511"/>
        <a:ext cx="2330753" cy="1049942"/>
      </dsp:txXfrm>
    </dsp:sp>
    <dsp:sp modelId="{64FF51E2-F63B-4CE9-B3C0-FE807F777C89}">
      <dsp:nvSpPr>
        <dsp:cNvPr id="0" name=""/>
        <dsp:cNvSpPr/>
      </dsp:nvSpPr>
      <dsp:spPr>
        <a:xfrm>
          <a:off x="390698" y="2728511"/>
          <a:ext cx="1049942" cy="104994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FDD24F-6E43-4354-8D97-66B5C3F27F66}">
      <dsp:nvSpPr>
        <dsp:cNvPr id="0" name=""/>
        <dsp:cNvSpPr/>
      </dsp:nvSpPr>
      <dsp:spPr>
        <a:xfrm>
          <a:off x="0" y="417"/>
          <a:ext cx="5420799" cy="76141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Riesgo calculado sumando los puntajes individuales según 5 categorías</a:t>
          </a:r>
        </a:p>
      </dsp:txBody>
      <dsp:txXfrm>
        <a:off x="37169" y="37586"/>
        <a:ext cx="5346461" cy="687076"/>
      </dsp:txXfrm>
    </dsp:sp>
    <dsp:sp modelId="{65D237EF-C325-4F8B-BE4B-5647AC4E0E55}">
      <dsp:nvSpPr>
        <dsp:cNvPr id="0" name=""/>
        <dsp:cNvSpPr/>
      </dsp:nvSpPr>
      <dsp:spPr>
        <a:xfrm>
          <a:off x="0" y="775613"/>
          <a:ext cx="5420799" cy="76141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Datos recolectados rutinariamente y disponibles a nivel municipal</a:t>
          </a:r>
        </a:p>
      </dsp:txBody>
      <dsp:txXfrm>
        <a:off x="37169" y="812782"/>
        <a:ext cx="5346461" cy="687076"/>
      </dsp:txXfrm>
    </dsp:sp>
    <dsp:sp modelId="{28BB13EF-6115-4830-9D7A-69F288A124DE}">
      <dsp:nvSpPr>
        <dsp:cNvPr id="0" name=""/>
        <dsp:cNvSpPr/>
      </dsp:nvSpPr>
      <dsp:spPr>
        <a:xfrm>
          <a:off x="0" y="1550808"/>
          <a:ext cx="5420799" cy="76141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Cada municipio es categorizado en bajo, mediano, alto y muy alto riesgo</a:t>
          </a:r>
        </a:p>
      </dsp:txBody>
      <dsp:txXfrm>
        <a:off x="37169" y="1587977"/>
        <a:ext cx="5346461" cy="687076"/>
      </dsp:txXfrm>
    </dsp:sp>
    <dsp:sp modelId="{D81A3ADD-7628-4EEC-9FA5-BE55AC616E7B}">
      <dsp:nvSpPr>
        <dsp:cNvPr id="0" name=""/>
        <dsp:cNvSpPr/>
      </dsp:nvSpPr>
      <dsp:spPr>
        <a:xfrm>
          <a:off x="0" y="2326003"/>
          <a:ext cx="5420799" cy="76141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La herramienta genera un reporte automatizado con tablas y mapas</a:t>
          </a:r>
        </a:p>
      </dsp:txBody>
      <dsp:txXfrm>
        <a:off x="37169" y="2363172"/>
        <a:ext cx="5346461" cy="687076"/>
      </dsp:txXfrm>
    </dsp:sp>
    <dsp:sp modelId="{FF789AF4-58B9-467C-8159-46D41EFD0463}">
      <dsp:nvSpPr>
        <dsp:cNvPr id="0" name=""/>
        <dsp:cNvSpPr/>
      </dsp:nvSpPr>
      <dsp:spPr>
        <a:xfrm>
          <a:off x="0" y="3101199"/>
          <a:ext cx="5420799" cy="76141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 dirty="0"/>
            <a:t>Versión brotes y no brotes</a:t>
          </a:r>
        </a:p>
      </dsp:txBody>
      <dsp:txXfrm>
        <a:off x="37169" y="3138368"/>
        <a:ext cx="5346461" cy="6870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0F9D75-3881-4BFA-A84F-0530943DE65B}">
      <dsp:nvSpPr>
        <dsp:cNvPr id="0" name=""/>
        <dsp:cNvSpPr/>
      </dsp:nvSpPr>
      <dsp:spPr>
        <a:xfrm>
          <a:off x="0" y="5533"/>
          <a:ext cx="5157787" cy="8739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2200" kern="1200"/>
            <a:t>+ 4 Idiomas*</a:t>
          </a:r>
          <a:endParaRPr lang="en-US" sz="2200" kern="1200"/>
        </a:p>
      </dsp:txBody>
      <dsp:txXfrm>
        <a:off x="42663" y="48196"/>
        <a:ext cx="5072461" cy="788627"/>
      </dsp:txXfrm>
    </dsp:sp>
    <dsp:sp modelId="{3C57187B-1F75-4975-B533-8F54434F1913}">
      <dsp:nvSpPr>
        <dsp:cNvPr id="0" name=""/>
        <dsp:cNvSpPr/>
      </dsp:nvSpPr>
      <dsp:spPr>
        <a:xfrm>
          <a:off x="0" y="942846"/>
          <a:ext cx="5157787" cy="8739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2200" kern="1200"/>
            <a:t>+ Posibilidad de uso de geocódigos, nombres o nombres alternativos</a:t>
          </a:r>
          <a:endParaRPr lang="en-US" sz="2200" kern="1200"/>
        </a:p>
      </dsp:txBody>
      <dsp:txXfrm>
        <a:off x="42663" y="985509"/>
        <a:ext cx="5072461" cy="788627"/>
      </dsp:txXfrm>
    </dsp:sp>
    <dsp:sp modelId="{A352E5E2-B32F-4933-A71C-58C3BC4DF54A}">
      <dsp:nvSpPr>
        <dsp:cNvPr id="0" name=""/>
        <dsp:cNvSpPr/>
      </dsp:nvSpPr>
      <dsp:spPr>
        <a:xfrm>
          <a:off x="0" y="1880159"/>
          <a:ext cx="5157787" cy="8739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2200" kern="1200"/>
            <a:t>+ Informe estático</a:t>
          </a:r>
          <a:endParaRPr lang="en-US" sz="2200" kern="1200"/>
        </a:p>
      </dsp:txBody>
      <dsp:txXfrm>
        <a:off x="42663" y="1922822"/>
        <a:ext cx="5072461" cy="788627"/>
      </dsp:txXfrm>
    </dsp:sp>
    <dsp:sp modelId="{F64CA851-2B0B-415B-8567-BE8D31E0EA2A}">
      <dsp:nvSpPr>
        <dsp:cNvPr id="0" name=""/>
        <dsp:cNvSpPr/>
      </dsp:nvSpPr>
      <dsp:spPr>
        <a:xfrm>
          <a:off x="0" y="2817473"/>
          <a:ext cx="5157787" cy="8739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2200" kern="1200"/>
            <a:t>+ Facilidad de acceso a Excel</a:t>
          </a:r>
          <a:endParaRPr lang="en-US" sz="2200" kern="1200"/>
        </a:p>
      </dsp:txBody>
      <dsp:txXfrm>
        <a:off x="42663" y="2860136"/>
        <a:ext cx="5072461" cy="788627"/>
      </dsp:txXfrm>
    </dsp:sp>
    <dsp:sp modelId="{E03A61BE-1995-48BB-A67F-5E8D146A24BC}">
      <dsp:nvSpPr>
        <dsp:cNvPr id="0" name=""/>
        <dsp:cNvSpPr/>
      </dsp:nvSpPr>
      <dsp:spPr>
        <a:xfrm>
          <a:off x="0" y="3691426"/>
          <a:ext cx="5157787" cy="888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760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_tradnl" sz="1700" kern="1200"/>
            <a:t>Disponible solo para Windows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_tradnl" sz="1700" kern="1200"/>
            <a:t>Carga de datos manual a herramienta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_tradnl" sz="1700" kern="1200"/>
            <a:t>Velocidad sujeta a </a:t>
          </a:r>
          <a:r>
            <a:rPr lang="es-ES_tradnl" sz="1700" i="1" kern="1200"/>
            <a:t>shapefiles</a:t>
          </a:r>
          <a:r>
            <a:rPr lang="es-ES_tradnl" sz="1700" kern="1200"/>
            <a:t> en Excel</a:t>
          </a:r>
          <a:endParaRPr lang="en-US" sz="1700" kern="1200"/>
        </a:p>
      </dsp:txBody>
      <dsp:txXfrm>
        <a:off x="0" y="3691426"/>
        <a:ext cx="5157787" cy="88803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F1A1A7-8225-4154-91DB-E4283A1D0357}">
      <dsp:nvSpPr>
        <dsp:cNvPr id="0" name=""/>
        <dsp:cNvSpPr/>
      </dsp:nvSpPr>
      <dsp:spPr>
        <a:xfrm>
          <a:off x="0" y="49459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Interactiva, rápida y con escalabilidad</a:t>
          </a:r>
          <a:endParaRPr lang="en-US" sz="1700" kern="1200"/>
        </a:p>
      </dsp:txBody>
      <dsp:txXfrm>
        <a:off x="19904" y="69363"/>
        <a:ext cx="5638978" cy="367937"/>
      </dsp:txXfrm>
    </dsp:sp>
    <dsp:sp modelId="{27ED9086-81DE-4778-8F9D-A10557411A12}">
      <dsp:nvSpPr>
        <dsp:cNvPr id="0" name=""/>
        <dsp:cNvSpPr/>
      </dsp:nvSpPr>
      <dsp:spPr>
        <a:xfrm>
          <a:off x="0" y="506164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1753"/>
                <a:satOff val="-569"/>
                <a:lumOff val="2417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31753"/>
                <a:satOff val="-569"/>
                <a:lumOff val="2417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31753"/>
                <a:satOff val="-569"/>
                <a:lumOff val="2417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Resultados online</a:t>
          </a:r>
          <a:endParaRPr lang="en-US" sz="1700" kern="1200"/>
        </a:p>
      </dsp:txBody>
      <dsp:txXfrm>
        <a:off x="19904" y="526068"/>
        <a:ext cx="5638978" cy="367937"/>
      </dsp:txXfrm>
    </dsp:sp>
    <dsp:sp modelId="{43CE0F2F-041A-485C-9AF7-F6AA73F06AF3}">
      <dsp:nvSpPr>
        <dsp:cNvPr id="0" name=""/>
        <dsp:cNvSpPr/>
      </dsp:nvSpPr>
      <dsp:spPr>
        <a:xfrm>
          <a:off x="0" y="962869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63506"/>
                <a:satOff val="-1137"/>
                <a:lumOff val="4834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63506"/>
                <a:satOff val="-1137"/>
                <a:lumOff val="4834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63506"/>
                <a:satOff val="-1137"/>
                <a:lumOff val="4834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Revisión de calidad del rato</a:t>
          </a:r>
          <a:endParaRPr lang="en-US" sz="1700" kern="1200"/>
        </a:p>
      </dsp:txBody>
      <dsp:txXfrm>
        <a:off x="19904" y="982773"/>
        <a:ext cx="5638978" cy="367937"/>
      </dsp:txXfrm>
    </dsp:sp>
    <dsp:sp modelId="{DB67BF98-114D-4F8A-AB9A-EC5A7572B18C}">
      <dsp:nvSpPr>
        <dsp:cNvPr id="0" name=""/>
        <dsp:cNvSpPr/>
      </dsp:nvSpPr>
      <dsp:spPr>
        <a:xfrm>
          <a:off x="0" y="1419574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95259"/>
                <a:satOff val="-1706"/>
                <a:lumOff val="725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95259"/>
                <a:satOff val="-1706"/>
                <a:lumOff val="725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95259"/>
                <a:satOff val="-1706"/>
                <a:lumOff val="725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Informe estático e interactivo offline</a:t>
          </a:r>
          <a:endParaRPr lang="en-US" sz="1700" kern="1200"/>
        </a:p>
      </dsp:txBody>
      <dsp:txXfrm>
        <a:off x="19904" y="1439478"/>
        <a:ext cx="5638978" cy="367937"/>
      </dsp:txXfrm>
    </dsp:sp>
    <dsp:sp modelId="{1CEAC3DD-A742-4243-9588-FB4811CF30BC}">
      <dsp:nvSpPr>
        <dsp:cNvPr id="0" name=""/>
        <dsp:cNvSpPr/>
      </dsp:nvSpPr>
      <dsp:spPr>
        <a:xfrm>
          <a:off x="0" y="1876279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27012"/>
                <a:satOff val="-2275"/>
                <a:lumOff val="9667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127012"/>
                <a:satOff val="-2275"/>
                <a:lumOff val="9667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127012"/>
                <a:satOff val="-2275"/>
                <a:lumOff val="9667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Windows, MacOS, Linux</a:t>
          </a:r>
          <a:endParaRPr lang="en-US" sz="1700" kern="1200"/>
        </a:p>
      </dsp:txBody>
      <dsp:txXfrm>
        <a:off x="19904" y="1896183"/>
        <a:ext cx="5638978" cy="367937"/>
      </dsp:txXfrm>
    </dsp:sp>
    <dsp:sp modelId="{88542592-7CF5-482F-A227-FCDD53FD7590}">
      <dsp:nvSpPr>
        <dsp:cNvPr id="0" name=""/>
        <dsp:cNvSpPr/>
      </dsp:nvSpPr>
      <dsp:spPr>
        <a:xfrm>
          <a:off x="0" y="2332984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58765"/>
                <a:satOff val="-2844"/>
                <a:lumOff val="12084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158765"/>
                <a:satOff val="-2844"/>
                <a:lumOff val="12084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158765"/>
                <a:satOff val="-2844"/>
                <a:lumOff val="12084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Manejo de filtro por nivel subnacional</a:t>
          </a:r>
          <a:endParaRPr lang="en-US" sz="1700" kern="1200"/>
        </a:p>
      </dsp:txBody>
      <dsp:txXfrm>
        <a:off x="19904" y="2352888"/>
        <a:ext cx="5638978" cy="367937"/>
      </dsp:txXfrm>
    </dsp:sp>
    <dsp:sp modelId="{D313A462-5727-494C-AC63-DB079474B5C6}">
      <dsp:nvSpPr>
        <dsp:cNvPr id="0" name=""/>
        <dsp:cNvSpPr/>
      </dsp:nvSpPr>
      <dsp:spPr>
        <a:xfrm>
          <a:off x="0" y="2789689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90518"/>
                <a:satOff val="-3412"/>
                <a:lumOff val="1450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190518"/>
                <a:satOff val="-3412"/>
                <a:lumOff val="1450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190518"/>
                <a:satOff val="-3412"/>
                <a:lumOff val="1450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Visualización de nivel y componentes de puntos de riesgo</a:t>
          </a:r>
          <a:endParaRPr lang="en-US" sz="1700" kern="1200"/>
        </a:p>
      </dsp:txBody>
      <dsp:txXfrm>
        <a:off x="19904" y="2809593"/>
        <a:ext cx="5638978" cy="367937"/>
      </dsp:txXfrm>
    </dsp:sp>
    <dsp:sp modelId="{503426BF-88FF-4244-B941-F245A14496CC}">
      <dsp:nvSpPr>
        <dsp:cNvPr id="0" name=""/>
        <dsp:cNvSpPr/>
      </dsp:nvSpPr>
      <dsp:spPr>
        <a:xfrm>
          <a:off x="0" y="3246394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22271"/>
                <a:satOff val="-3981"/>
                <a:lumOff val="1691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222271"/>
                <a:satOff val="-3981"/>
                <a:lumOff val="1691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222271"/>
                <a:satOff val="-3981"/>
                <a:lumOff val="1691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Descarga de mapas como imagen</a:t>
          </a:r>
          <a:endParaRPr lang="en-US" sz="1700" kern="1200"/>
        </a:p>
      </dsp:txBody>
      <dsp:txXfrm>
        <a:off x="19904" y="3266298"/>
        <a:ext cx="5638978" cy="367937"/>
      </dsp:txXfrm>
    </dsp:sp>
    <dsp:sp modelId="{9F1E1117-3890-4498-884C-3D7C142CEC4D}">
      <dsp:nvSpPr>
        <dsp:cNvPr id="0" name=""/>
        <dsp:cNvSpPr/>
      </dsp:nvSpPr>
      <dsp:spPr>
        <a:xfrm>
          <a:off x="0" y="3703099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54024"/>
                <a:satOff val="-4550"/>
                <a:lumOff val="1933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254024"/>
                <a:satOff val="-4550"/>
                <a:lumOff val="1933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254024"/>
                <a:satOff val="-4550"/>
                <a:lumOff val="1933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Facilita datos para pre-llenado de plantilla de país</a:t>
          </a:r>
          <a:endParaRPr lang="en-US" sz="1700" kern="1200"/>
        </a:p>
      </dsp:txBody>
      <dsp:txXfrm>
        <a:off x="19904" y="3723003"/>
        <a:ext cx="5638978" cy="367937"/>
      </dsp:txXfrm>
    </dsp:sp>
    <dsp:sp modelId="{D35D465D-24E3-4892-A819-9A537DA5695E}">
      <dsp:nvSpPr>
        <dsp:cNvPr id="0" name=""/>
        <dsp:cNvSpPr/>
      </dsp:nvSpPr>
      <dsp:spPr>
        <a:xfrm>
          <a:off x="0" y="4159804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85777"/>
                <a:satOff val="-5119"/>
                <a:lumOff val="2175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285777"/>
                <a:satOff val="-5119"/>
                <a:lumOff val="2175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285777"/>
                <a:satOff val="-5119"/>
                <a:lumOff val="2175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Capacidad de trabajo con alta cantidad de municipios</a:t>
          </a:r>
          <a:endParaRPr lang="en-US" sz="1700" kern="1200"/>
        </a:p>
      </dsp:txBody>
      <dsp:txXfrm>
        <a:off x="19904" y="4179708"/>
        <a:ext cx="5638978" cy="367937"/>
      </dsp:txXfrm>
    </dsp:sp>
    <dsp:sp modelId="{FDC1ACB3-699F-824C-A2A4-4E3BD8449AAA}">
      <dsp:nvSpPr>
        <dsp:cNvPr id="0" name=""/>
        <dsp:cNvSpPr/>
      </dsp:nvSpPr>
      <dsp:spPr>
        <a:xfrm>
          <a:off x="0" y="4616509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17530"/>
                <a:satOff val="-5687"/>
                <a:lumOff val="2416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317530"/>
                <a:satOff val="-5687"/>
                <a:lumOff val="2416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317530"/>
                <a:satOff val="-5687"/>
                <a:lumOff val="2416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+ 4 </a:t>
          </a:r>
          <a:r>
            <a:rPr lang="en-US" sz="1700" kern="1200" err="1"/>
            <a:t>idiomas</a:t>
          </a:r>
          <a:endParaRPr lang="en-US" sz="1700" kern="1200"/>
        </a:p>
      </dsp:txBody>
      <dsp:txXfrm>
        <a:off x="19904" y="4636413"/>
        <a:ext cx="5638978" cy="367937"/>
      </dsp:txXfrm>
    </dsp:sp>
    <dsp:sp modelId="{E1783CF1-6CA9-4D14-802C-F9EE6FA3A8CC}">
      <dsp:nvSpPr>
        <dsp:cNvPr id="0" name=""/>
        <dsp:cNvSpPr/>
      </dsp:nvSpPr>
      <dsp:spPr>
        <a:xfrm>
          <a:off x="0" y="5073214"/>
          <a:ext cx="5678786" cy="40774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49283"/>
                <a:satOff val="-6256"/>
                <a:lumOff val="2658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349283"/>
                <a:satOff val="-6256"/>
                <a:lumOff val="2658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349283"/>
                <a:satOff val="-6256"/>
                <a:lumOff val="2658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700" kern="1200"/>
            <a:t>+ Código abierto</a:t>
          </a:r>
          <a:endParaRPr lang="en-US" sz="1700" kern="1200"/>
        </a:p>
      </dsp:txBody>
      <dsp:txXfrm>
        <a:off x="19904" y="5093118"/>
        <a:ext cx="5638978" cy="367937"/>
      </dsp:txXfrm>
    </dsp:sp>
    <dsp:sp modelId="{4F329CA3-D568-4E4D-A359-5B02D9046586}">
      <dsp:nvSpPr>
        <dsp:cNvPr id="0" name=""/>
        <dsp:cNvSpPr/>
      </dsp:nvSpPr>
      <dsp:spPr>
        <a:xfrm>
          <a:off x="0" y="5480959"/>
          <a:ext cx="5678786" cy="448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30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_tradnl" sz="1300" kern="1200"/>
            <a:t>Nivel técnico avanzado</a:t>
          </a:r>
          <a:endParaRPr lang="en-US" sz="1300" kern="1200"/>
        </a:p>
      </dsp:txBody>
      <dsp:txXfrm>
        <a:off x="0" y="5480959"/>
        <a:ext cx="5678786" cy="44867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F59463-9300-49DF-AA31-4C3FD811B6F0}">
      <dsp:nvSpPr>
        <dsp:cNvPr id="0" name=""/>
        <dsp:cNvSpPr/>
      </dsp:nvSpPr>
      <dsp:spPr>
        <a:xfrm>
          <a:off x="0" y="1622"/>
          <a:ext cx="6358431" cy="82207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01D0CE-56AA-4933-859F-3A1F4AB421A6}">
      <dsp:nvSpPr>
        <dsp:cNvPr id="0" name=""/>
        <dsp:cNvSpPr/>
      </dsp:nvSpPr>
      <dsp:spPr>
        <a:xfrm>
          <a:off x="248678" y="186589"/>
          <a:ext cx="452143" cy="4521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8F766B-DED2-4C2A-B694-CCA38FC2EE35}">
      <dsp:nvSpPr>
        <dsp:cNvPr id="0" name=""/>
        <dsp:cNvSpPr/>
      </dsp:nvSpPr>
      <dsp:spPr>
        <a:xfrm>
          <a:off x="949501" y="1622"/>
          <a:ext cx="5408929" cy="82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03" tIns="87003" rIns="87003" bIns="8700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Recomendado por la Comisión Regional para ser implementado cada 1-2 años</a:t>
          </a:r>
        </a:p>
      </dsp:txBody>
      <dsp:txXfrm>
        <a:off x="949501" y="1622"/>
        <a:ext cx="5408929" cy="822078"/>
      </dsp:txXfrm>
    </dsp:sp>
    <dsp:sp modelId="{3008025E-0041-4D17-8D49-0B705DE7DAA7}">
      <dsp:nvSpPr>
        <dsp:cNvPr id="0" name=""/>
        <dsp:cNvSpPr/>
      </dsp:nvSpPr>
      <dsp:spPr>
        <a:xfrm>
          <a:off x="0" y="1029220"/>
          <a:ext cx="6358431" cy="82207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296265-EF9A-40BC-AE45-34DA055B5D35}">
      <dsp:nvSpPr>
        <dsp:cNvPr id="0" name=""/>
        <dsp:cNvSpPr/>
      </dsp:nvSpPr>
      <dsp:spPr>
        <a:xfrm>
          <a:off x="248678" y="1214188"/>
          <a:ext cx="452143" cy="45214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C1CEF0-5F9B-45AE-ADBC-4F210DB4D94D}">
      <dsp:nvSpPr>
        <dsp:cNvPr id="0" name=""/>
        <dsp:cNvSpPr/>
      </dsp:nvSpPr>
      <dsp:spPr>
        <a:xfrm>
          <a:off x="949501" y="1029220"/>
          <a:ext cx="5408929" cy="82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03" tIns="87003" rIns="87003" bIns="8700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Propicia el uso de los datos por los gerentes de programas para guiar toma de decisiones</a:t>
          </a:r>
        </a:p>
      </dsp:txBody>
      <dsp:txXfrm>
        <a:off x="949501" y="1029220"/>
        <a:ext cx="5408929" cy="822078"/>
      </dsp:txXfrm>
    </dsp:sp>
    <dsp:sp modelId="{31F4CACB-F282-4932-9FEF-1BCBD8BDA1A5}">
      <dsp:nvSpPr>
        <dsp:cNvPr id="0" name=""/>
        <dsp:cNvSpPr/>
      </dsp:nvSpPr>
      <dsp:spPr>
        <a:xfrm>
          <a:off x="0" y="2056819"/>
          <a:ext cx="6358431" cy="82207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B90C8E-3B06-4E6A-8E41-AF35225C1EF6}">
      <dsp:nvSpPr>
        <dsp:cNvPr id="0" name=""/>
        <dsp:cNvSpPr/>
      </dsp:nvSpPr>
      <dsp:spPr>
        <a:xfrm>
          <a:off x="248678" y="2241787"/>
          <a:ext cx="452143" cy="45214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5C5C35-8CC4-49D9-A2A9-582CC49E285F}">
      <dsp:nvSpPr>
        <dsp:cNvPr id="0" name=""/>
        <dsp:cNvSpPr/>
      </dsp:nvSpPr>
      <dsp:spPr>
        <a:xfrm>
          <a:off x="949501" y="2056819"/>
          <a:ext cx="5408929" cy="82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03" tIns="87003" rIns="87003" bIns="8700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Planificación y priorización de actividades programáticas para el cierre de brechas</a:t>
          </a:r>
        </a:p>
      </dsp:txBody>
      <dsp:txXfrm>
        <a:off x="949501" y="2056819"/>
        <a:ext cx="5408929" cy="822078"/>
      </dsp:txXfrm>
    </dsp:sp>
    <dsp:sp modelId="{D375BA47-E815-475A-8BBF-F0E1EEA250F1}">
      <dsp:nvSpPr>
        <dsp:cNvPr id="0" name=""/>
        <dsp:cNvSpPr/>
      </dsp:nvSpPr>
      <dsp:spPr>
        <a:xfrm>
          <a:off x="0" y="3084418"/>
          <a:ext cx="6358431" cy="822078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66FE07-713D-473D-A2A6-394884DB3A20}">
      <dsp:nvSpPr>
        <dsp:cNvPr id="0" name=""/>
        <dsp:cNvSpPr/>
      </dsp:nvSpPr>
      <dsp:spPr>
        <a:xfrm>
          <a:off x="248678" y="3269385"/>
          <a:ext cx="452143" cy="45214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4C51B5-3A28-4468-8E0E-57EDF70F8E67}">
      <dsp:nvSpPr>
        <dsp:cNvPr id="0" name=""/>
        <dsp:cNvSpPr/>
      </dsp:nvSpPr>
      <dsp:spPr>
        <a:xfrm>
          <a:off x="949501" y="3084418"/>
          <a:ext cx="2861293" cy="82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03" tIns="87003" rIns="87003" bIns="8700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noProof="0"/>
            <a:t>Potenciales usos específicos</a:t>
          </a:r>
        </a:p>
      </dsp:txBody>
      <dsp:txXfrm>
        <a:off x="949501" y="3084418"/>
        <a:ext cx="2861293" cy="822078"/>
      </dsp:txXfrm>
    </dsp:sp>
    <dsp:sp modelId="{7DDA76F9-D966-4C9C-B6F7-1A07CCC1C2E9}">
      <dsp:nvSpPr>
        <dsp:cNvPr id="0" name=""/>
        <dsp:cNvSpPr/>
      </dsp:nvSpPr>
      <dsp:spPr>
        <a:xfrm>
          <a:off x="3810795" y="3084418"/>
          <a:ext cx="2547635" cy="822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03" tIns="87003" rIns="87003" bIns="87003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100" b="1" kern="1200" noProof="0"/>
            <a:t>Rendición de cuentas</a:t>
          </a:r>
          <a:endParaRPr lang="es-419" sz="1100" kern="1200" noProof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100" b="1" kern="1200" noProof="0"/>
            <a:t>Evaluaciones internacionales del PNI</a:t>
          </a:r>
          <a:endParaRPr lang="es-419" sz="1100" kern="1200" noProof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100" b="1" kern="1200" noProof="0"/>
            <a:t>Abogacía y movilización de recursos</a:t>
          </a:r>
          <a:endParaRPr lang="es-419" sz="1100" kern="1200" noProof="0"/>
        </a:p>
      </dsp:txBody>
      <dsp:txXfrm>
        <a:off x="3810795" y="3084418"/>
        <a:ext cx="2547635" cy="82207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33408E-6E43-43E0-8683-44E2A2A2EB25}">
      <dsp:nvSpPr>
        <dsp:cNvPr id="0" name=""/>
        <dsp:cNvSpPr/>
      </dsp:nvSpPr>
      <dsp:spPr>
        <a:xfrm rot="16200000">
          <a:off x="-1259637" y="2363915"/>
          <a:ext cx="3502762" cy="740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653493" bIns="0" numCol="1" spcCol="1270" anchor="t" anchorCtr="0">
          <a:noAutofit/>
        </a:bodyPr>
        <a:lstStyle/>
        <a:p>
          <a:pPr marL="0" lvl="0" indent="0" algn="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5300" b="1" kern="1200" noProof="0"/>
            <a:t>TIPS</a:t>
          </a:r>
        </a:p>
      </dsp:txBody>
      <dsp:txXfrm>
        <a:off x="-1259637" y="2363915"/>
        <a:ext cx="3502762" cy="740968"/>
      </dsp:txXfrm>
    </dsp:sp>
    <dsp:sp modelId="{12366938-68D0-4EC7-AEA3-253D4693F39A}">
      <dsp:nvSpPr>
        <dsp:cNvPr id="0" name=""/>
        <dsp:cNvSpPr/>
      </dsp:nvSpPr>
      <dsp:spPr>
        <a:xfrm>
          <a:off x="862228" y="983018"/>
          <a:ext cx="5573099" cy="35027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696" tIns="653493" rIns="234696" bIns="234696" numCol="1" spcCol="1270" anchor="t" anchorCtr="0">
          <a:noAutofit/>
        </a:bodyPr>
        <a:lstStyle/>
        <a:p>
          <a:pPr marL="228600" lvl="1" indent="-228600" algn="l" defTabSz="11557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419" sz="2600" kern="1200" noProof="0"/>
            <a:t>El formato de las variables numéricas debe ser </a:t>
          </a:r>
          <a:r>
            <a:rPr lang="es-419" sz="2600" b="1" kern="1200" noProof="0">
              <a:solidFill>
                <a:schemeClr val="accent4"/>
              </a:solidFill>
            </a:rPr>
            <a:t>“Número”</a:t>
          </a:r>
        </a:p>
        <a:p>
          <a:pPr marL="228600" lvl="1" indent="-228600" algn="l" defTabSz="11557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419" sz="2600" kern="1200" noProof="0"/>
            <a:t>El formato de las variables fechas debe ser </a:t>
          </a:r>
          <a:r>
            <a:rPr lang="es-419" sz="2600" b="1" kern="1200" noProof="0">
              <a:solidFill>
                <a:schemeClr val="accent4"/>
              </a:solidFill>
            </a:rPr>
            <a:t>“Fecha”: DD/MM/AAAA</a:t>
          </a:r>
        </a:p>
        <a:p>
          <a:pPr marL="228600" lvl="1" indent="-228600" algn="l" defTabSz="11557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419" sz="2600" kern="1200" noProof="0"/>
            <a:t>Para el resto de las variables, se sugiere usar </a:t>
          </a:r>
          <a:r>
            <a:rPr lang="es-419" sz="2600" b="1" kern="1200" noProof="0">
              <a:solidFill>
                <a:schemeClr val="accent4"/>
              </a:solidFill>
            </a:rPr>
            <a:t>“General” </a:t>
          </a:r>
        </a:p>
      </dsp:txBody>
      <dsp:txXfrm>
        <a:off x="862228" y="983018"/>
        <a:ext cx="5573099" cy="3502762"/>
      </dsp:txXfrm>
    </dsp:sp>
    <dsp:sp modelId="{27D9A40B-603B-45BA-91BC-D7D69E987A3C}">
      <dsp:nvSpPr>
        <dsp:cNvPr id="0" name=""/>
        <dsp:cNvSpPr/>
      </dsp:nvSpPr>
      <dsp:spPr>
        <a:xfrm>
          <a:off x="92406" y="4939"/>
          <a:ext cx="1481937" cy="148193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EB4F4C-FB4A-4899-87A8-A9BBF7B0B78F}">
      <dsp:nvSpPr>
        <dsp:cNvPr id="0" name=""/>
        <dsp:cNvSpPr/>
      </dsp:nvSpPr>
      <dsp:spPr>
        <a:xfrm>
          <a:off x="0" y="1801"/>
          <a:ext cx="8831826" cy="91297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546337-F72D-4C6D-8B88-385F2A847FED}">
      <dsp:nvSpPr>
        <dsp:cNvPr id="0" name=""/>
        <dsp:cNvSpPr/>
      </dsp:nvSpPr>
      <dsp:spPr>
        <a:xfrm>
          <a:off x="276176" y="207221"/>
          <a:ext cx="502138" cy="50213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AA2A30-C89B-4689-A7BF-6F9F0948D60D}">
      <dsp:nvSpPr>
        <dsp:cNvPr id="0" name=""/>
        <dsp:cNvSpPr/>
      </dsp:nvSpPr>
      <dsp:spPr>
        <a:xfrm>
          <a:off x="1054490" y="1801"/>
          <a:ext cx="7777335" cy="912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624" tIns="96624" rIns="96624" bIns="96624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200" kern="1200"/>
            <a:t>Bandera de país</a:t>
          </a:r>
          <a:endParaRPr lang="en-US" sz="2200" kern="1200"/>
        </a:p>
      </dsp:txBody>
      <dsp:txXfrm>
        <a:off x="1054490" y="1801"/>
        <a:ext cx="7777335" cy="912979"/>
      </dsp:txXfrm>
    </dsp:sp>
    <dsp:sp modelId="{8BE76162-25F1-4411-81C1-C20F1976574E}">
      <dsp:nvSpPr>
        <dsp:cNvPr id="0" name=""/>
        <dsp:cNvSpPr/>
      </dsp:nvSpPr>
      <dsp:spPr>
        <a:xfrm>
          <a:off x="0" y="1143025"/>
          <a:ext cx="8831826" cy="91297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78BB1F-E7E5-4BBF-AABA-C5BC1E522D31}">
      <dsp:nvSpPr>
        <dsp:cNvPr id="0" name=""/>
        <dsp:cNvSpPr/>
      </dsp:nvSpPr>
      <dsp:spPr>
        <a:xfrm>
          <a:off x="276176" y="1348445"/>
          <a:ext cx="502138" cy="50213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7A7BDD-4928-4CE4-8719-FC4BE4017E5D}">
      <dsp:nvSpPr>
        <dsp:cNvPr id="0" name=""/>
        <dsp:cNvSpPr/>
      </dsp:nvSpPr>
      <dsp:spPr>
        <a:xfrm>
          <a:off x="1054490" y="1143025"/>
          <a:ext cx="7777335" cy="912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624" tIns="96624" rIns="96624" bIns="96624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200" kern="1200"/>
            <a:t>Evaluación de riesgo</a:t>
          </a:r>
          <a:endParaRPr lang="en-US" sz="2200" kern="1200"/>
        </a:p>
      </dsp:txBody>
      <dsp:txXfrm>
        <a:off x="1054490" y="1143025"/>
        <a:ext cx="7777335" cy="912979"/>
      </dsp:txXfrm>
    </dsp:sp>
    <dsp:sp modelId="{084AEF2D-49F7-4386-A656-D2156A4A4073}">
      <dsp:nvSpPr>
        <dsp:cNvPr id="0" name=""/>
        <dsp:cNvSpPr/>
      </dsp:nvSpPr>
      <dsp:spPr>
        <a:xfrm>
          <a:off x="0" y="2284249"/>
          <a:ext cx="8831826" cy="91297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6073D7-B413-45D3-9008-F68CCFF277B5}">
      <dsp:nvSpPr>
        <dsp:cNvPr id="0" name=""/>
        <dsp:cNvSpPr/>
      </dsp:nvSpPr>
      <dsp:spPr>
        <a:xfrm>
          <a:off x="276176" y="2489669"/>
          <a:ext cx="502138" cy="50213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32682D-620E-4671-B32F-8590421E1B7B}">
      <dsp:nvSpPr>
        <dsp:cNvPr id="0" name=""/>
        <dsp:cNvSpPr/>
      </dsp:nvSpPr>
      <dsp:spPr>
        <a:xfrm>
          <a:off x="1054490" y="2284249"/>
          <a:ext cx="7777335" cy="912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624" tIns="96624" rIns="96624" bIns="96624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200" kern="1200"/>
            <a:t>Informe</a:t>
          </a:r>
          <a:endParaRPr lang="en-US" sz="2200" kern="1200"/>
        </a:p>
      </dsp:txBody>
      <dsp:txXfrm>
        <a:off x="1054490" y="2284249"/>
        <a:ext cx="7777335" cy="912979"/>
      </dsp:txXfrm>
    </dsp:sp>
    <dsp:sp modelId="{BF996323-A6CA-4E4D-8AB8-C8B82BAAA8C4}">
      <dsp:nvSpPr>
        <dsp:cNvPr id="0" name=""/>
        <dsp:cNvSpPr/>
      </dsp:nvSpPr>
      <dsp:spPr>
        <a:xfrm>
          <a:off x="0" y="3425473"/>
          <a:ext cx="8831826" cy="91297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AFD9E-2333-4DE9-9A01-89FA38093518}">
      <dsp:nvSpPr>
        <dsp:cNvPr id="0" name=""/>
        <dsp:cNvSpPr/>
      </dsp:nvSpPr>
      <dsp:spPr>
        <a:xfrm>
          <a:off x="276176" y="3630893"/>
          <a:ext cx="502138" cy="50213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FE1AAD-9BE4-4E91-B9AB-FF868AB4A854}">
      <dsp:nvSpPr>
        <dsp:cNvPr id="0" name=""/>
        <dsp:cNvSpPr/>
      </dsp:nvSpPr>
      <dsp:spPr>
        <a:xfrm>
          <a:off x="1054490" y="3425473"/>
          <a:ext cx="7777335" cy="912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624" tIns="96624" rIns="96624" bIns="96624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200" kern="1200"/>
            <a:t>Dashboard</a:t>
          </a:r>
          <a:endParaRPr lang="en-US" sz="2200" kern="1200"/>
        </a:p>
      </dsp:txBody>
      <dsp:txXfrm>
        <a:off x="1054490" y="3425473"/>
        <a:ext cx="7777335" cy="912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BDDFF3-94ED-4306-A7BC-0B2546FD0B8E}" type="datetimeFigureOut">
              <a:rPr lang="es-PE" smtClean="0"/>
              <a:t>15/02/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D8B87-A9AD-4E34-ABD1-43A166C620FE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71196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4192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1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274121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1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549910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1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80306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936609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910368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Paises</a:t>
            </a:r>
            <a:r>
              <a:rPr lang="en-US"/>
              <a:t> con </a:t>
            </a:r>
            <a:r>
              <a:rPr lang="en-US" err="1"/>
              <a:t>temor</a:t>
            </a:r>
            <a:r>
              <a:rPr lang="en-US"/>
              <a:t> a </a:t>
            </a:r>
            <a:r>
              <a:rPr lang="en-US" err="1"/>
              <a:t>ha.cking</a:t>
            </a:r>
            <a:r>
              <a:rPr lang="en-US"/>
              <a:t> de </a:t>
            </a:r>
            <a:r>
              <a:rPr lang="en-US" err="1"/>
              <a:t>datos</a:t>
            </a:r>
            <a:r>
              <a:rPr lang="en-US"/>
              <a:t> </a:t>
            </a:r>
            <a:r>
              <a:rPr lang="en-US" err="1"/>
              <a:t>pueden</a:t>
            </a:r>
            <a:r>
              <a:rPr lang="en-US"/>
              <a:t> </a:t>
            </a:r>
            <a:r>
              <a:rPr lang="en-US" err="1"/>
              <a:t>dejarloa</a:t>
            </a:r>
            <a:r>
              <a:rPr lang="en-US"/>
              <a:t> </a:t>
            </a:r>
            <a:r>
              <a:rPr lang="en-US" err="1"/>
              <a:t>nive</a:t>
            </a:r>
            <a:r>
              <a:rPr lang="en-US"/>
              <a:t> l local y </a:t>
            </a:r>
            <a:r>
              <a:rPr lang="en-US" err="1"/>
              <a:t>manejarlo</a:t>
            </a:r>
            <a:r>
              <a:rPr lang="en-US"/>
              <a:t> a </a:t>
            </a:r>
            <a:r>
              <a:rPr lang="en-US" err="1"/>
              <a:t>nivel</a:t>
            </a:r>
            <a:r>
              <a:rPr lang="en-US"/>
              <a:t> de intran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007657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23690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601061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313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9156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/>
              <a:t>Agenda</a:t>
            </a:r>
          </a:p>
          <a:p>
            <a:pPr marL="0" indent="0" algn="l">
              <a:buFont typeface="+mj-lt"/>
              <a:buNone/>
            </a:pPr>
            <a:endParaRPr lang="en-US" sz="1200">
              <a:solidFill>
                <a:srgbClr val="FF0000"/>
              </a:solidFill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Tool overview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Collect and prepare your Data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Configure and setup the tool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Import your data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View risk assessment results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Generate the report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1200">
                <a:solidFill>
                  <a:srgbClr val="FF0000"/>
                </a:solidFill>
              </a:rPr>
              <a:t>Common issues &amp; troubleshooting</a:t>
            </a:r>
            <a:endParaRPr lang="en-US" sz="1200" b="1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/>
            </a:endParaRPr>
          </a:p>
          <a:p>
            <a:pPr marL="457200" indent="-457200" algn="l">
              <a:buFont typeface="+mj-lt"/>
              <a:buAutoNum type="arabicPeriod"/>
            </a:pPr>
            <a:endParaRPr lang="en-US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11C584-E40B-4FF9-954E-E23B43DF53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957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"/>
              <a:t>Paquete de </a:t>
            </a:r>
            <a:r>
              <a:rPr lang="es" i="1" err="1"/>
              <a:t>webshot</a:t>
            </a:r>
            <a:r>
              <a:rPr lang="es" i="1"/>
              <a:t> </a:t>
            </a:r>
            <a:r>
              <a:rPr lang="es"/>
              <a:t>requiere instalar </a:t>
            </a:r>
            <a:r>
              <a:rPr lang="es" i="1" err="1"/>
              <a:t>phantomJS</a:t>
            </a:r>
            <a:r>
              <a:rPr lang="es"/>
              <a:t> (desde un repositorio GitHub, </a:t>
            </a:r>
            <a:r>
              <a:rPr lang="es" i="1" err="1"/>
              <a:t>phantomJS</a:t>
            </a:r>
            <a:r>
              <a:rPr lang="es" i="1"/>
              <a:t> </a:t>
            </a:r>
            <a:r>
              <a:rPr lang="es"/>
              <a:t>permite descarga los mapas del </a:t>
            </a:r>
            <a:r>
              <a:rPr lang="es" err="1"/>
              <a:t>dashboard</a:t>
            </a:r>
            <a:r>
              <a:rPr lang="es"/>
              <a:t> como .PNG).</a:t>
            </a:r>
            <a:endParaRPr lang="en-US"/>
          </a:p>
          <a:p>
            <a:r>
              <a:rPr lang="es"/>
              <a:t>Si está bloqueado hay que pedir autorización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66508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err="1">
                <a:cs typeface="Calibri" panose="020F0502020204030204"/>
              </a:rPr>
              <a:t>Ingresar</a:t>
            </a:r>
            <a:r>
              <a:rPr lang="en-US">
                <a:cs typeface="Calibri" panose="020F0502020204030204"/>
              </a:rPr>
              <a:t> al drive</a:t>
            </a:r>
          </a:p>
          <a:p>
            <a:pPr marL="228600" indent="-228600">
              <a:buAutoNum type="arabicPeriod"/>
            </a:pPr>
            <a:r>
              <a:rPr lang="en-US" err="1">
                <a:cs typeface="Calibri" panose="020F0502020204030204"/>
              </a:rPr>
              <a:t>Descargar</a:t>
            </a:r>
            <a:r>
              <a:rPr lang="en-US">
                <a:cs typeface="Calibri" panose="020F0502020204030204"/>
              </a:rPr>
              <a:t> </a:t>
            </a:r>
            <a:r>
              <a:rPr lang="en-US" err="1">
                <a:cs typeface="Calibri" panose="020F0502020204030204"/>
              </a:rPr>
              <a:t>OMRAT_Ejecutable</a:t>
            </a:r>
            <a:r>
              <a:rPr lang="en-US">
                <a:cs typeface="Calibri" panose="020F0502020204030204"/>
              </a:rPr>
              <a:t>, shapefiles, country_data.xlsx y country_flag.p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2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96547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446031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588377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Abri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onfig.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en</a:t>
            </a:r>
            <a:r>
              <a:rPr lang="en-US">
                <a:ea typeface="Calibri"/>
                <a:cs typeface="Calibri"/>
              </a:rPr>
              <a:t> R Studio y </a:t>
            </a:r>
            <a:r>
              <a:rPr lang="en-US" err="1">
                <a:ea typeface="Calibri"/>
                <a:cs typeface="Calibri"/>
              </a:rPr>
              <a:t>correr</a:t>
            </a:r>
            <a:r>
              <a:rPr lang="en-US">
                <a:ea typeface="Calibri"/>
                <a:cs typeface="Calibri"/>
              </a:rPr>
              <a:t>. </a:t>
            </a:r>
            <a:r>
              <a:rPr lang="en-US" err="1">
                <a:ea typeface="Calibri"/>
                <a:cs typeface="Calibri"/>
              </a:rPr>
              <a:t>Espera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mensaje</a:t>
            </a:r>
            <a:r>
              <a:rPr lang="en-US">
                <a:ea typeface="Calibri"/>
                <a:cs typeface="Calibri"/>
              </a:rPr>
              <a:t> de </a:t>
            </a:r>
            <a:r>
              <a:rPr lang="en-US" err="1">
                <a:ea typeface="Calibri"/>
                <a:cs typeface="Calibri"/>
              </a:rPr>
              <a:t>éxito</a:t>
            </a:r>
            <a:r>
              <a:rPr lang="en-US">
                <a:ea typeface="Calibri"/>
                <a:cs typeface="Calibri"/>
              </a:rPr>
              <a:t>. Este paso solo </a:t>
            </a:r>
            <a:r>
              <a:rPr lang="en-US" err="1">
                <a:ea typeface="Calibri"/>
                <a:cs typeface="Calibri"/>
              </a:rPr>
              <a:t>debe</a:t>
            </a:r>
            <a:r>
              <a:rPr lang="en-US">
                <a:ea typeface="Calibri"/>
                <a:cs typeface="Calibri"/>
              </a:rPr>
              <a:t> ser </a:t>
            </a:r>
            <a:r>
              <a:rPr lang="en-US" err="1">
                <a:ea typeface="Calibri"/>
                <a:cs typeface="Calibri"/>
              </a:rPr>
              <a:t>ejecutado</a:t>
            </a:r>
            <a:r>
              <a:rPr lang="en-US">
                <a:ea typeface="Calibri"/>
                <a:cs typeface="Calibri"/>
              </a:rPr>
              <a:t> 1 </a:t>
            </a:r>
            <a:r>
              <a:rPr lang="en-US" err="1">
                <a:ea typeface="Calibri"/>
                <a:cs typeface="Calibri"/>
              </a:rPr>
              <a:t>vez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po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omputador</a:t>
            </a:r>
            <a:r>
              <a:rPr lang="en-US">
                <a:ea typeface="Calibri"/>
                <a:cs typeface="Calibri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635557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960363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0363246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946066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172302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21018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592456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2878750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El NOMBRE ARCHIVO </a:t>
            </a:r>
            <a:r>
              <a:rPr lang="en-US" err="1">
                <a:ea typeface="Calibri"/>
                <a:cs typeface="Calibri"/>
              </a:rPr>
              <a:t>puede</a:t>
            </a:r>
            <a:r>
              <a:rPr lang="en-US">
                <a:ea typeface="Calibri"/>
                <a:cs typeface="Calibri"/>
              </a:rPr>
              <a:t> ser </a:t>
            </a:r>
            <a:r>
              <a:rPr lang="en-US" err="1">
                <a:ea typeface="Calibri"/>
                <a:cs typeface="Calibri"/>
              </a:rPr>
              <a:t>copiado</a:t>
            </a:r>
            <a:r>
              <a:rPr lang="en-US">
                <a:ea typeface="Calibri"/>
                <a:cs typeface="Calibri"/>
              </a:rPr>
              <a:t> y </a:t>
            </a:r>
            <a:r>
              <a:rPr lang="en-US" err="1">
                <a:ea typeface="Calibri"/>
                <a:cs typeface="Calibri"/>
              </a:rPr>
              <a:t>pegado</a:t>
            </a:r>
            <a:r>
              <a:rPr lang="en-US">
                <a:ea typeface="Calibri"/>
                <a:cs typeface="Calibri"/>
              </a:rPr>
              <a:t> del </a:t>
            </a:r>
            <a:r>
              <a:rPr lang="en-US" err="1">
                <a:ea typeface="Calibri"/>
                <a:cs typeface="Calibri"/>
              </a:rPr>
              <a:t>nombre</a:t>
            </a:r>
            <a:r>
              <a:rPr lang="en-US">
                <a:ea typeface="Calibri"/>
                <a:cs typeface="Calibri"/>
              </a:rPr>
              <a:t> del </a:t>
            </a:r>
            <a:r>
              <a:rPr lang="en-US" err="1">
                <a:ea typeface="Calibri"/>
                <a:cs typeface="Calibri"/>
              </a:rPr>
              <a:t>archivo</a:t>
            </a:r>
            <a:r>
              <a:rPr lang="en-US">
                <a:ea typeface="Calibri"/>
                <a:cs typeface="Calibri"/>
              </a:rPr>
              <a:t> shapefile </a:t>
            </a:r>
            <a:r>
              <a:rPr lang="en-US" err="1">
                <a:ea typeface="Calibri"/>
                <a:cs typeface="Calibri"/>
              </a:rPr>
              <a:t>subido</a:t>
            </a:r>
            <a:r>
              <a:rPr lang="en-US">
                <a:ea typeface="Calibri"/>
                <a:cs typeface="Calibri"/>
              </a:rPr>
              <a:t> (sin </a:t>
            </a:r>
            <a:r>
              <a:rPr lang="en-US" err="1">
                <a:ea typeface="Calibri"/>
                <a:cs typeface="Calibri"/>
              </a:rPr>
              <a:t>extensión</a:t>
            </a:r>
            <a:r>
              <a:rPr lang="en-US">
                <a:ea typeface="Calibri"/>
                <a:cs typeface="Calibri"/>
              </a:rPr>
              <a:t>) o del </a:t>
            </a:r>
            <a:r>
              <a:rPr lang="en-US" err="1">
                <a:ea typeface="Calibri"/>
                <a:cs typeface="Calibri"/>
              </a:rPr>
              <a:t>encabezado</a:t>
            </a:r>
            <a:r>
              <a:rPr lang="en-US">
                <a:ea typeface="Calibri"/>
                <a:cs typeface="Calibri"/>
              </a:rPr>
              <a:t> de mapshaper.org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Muy </a:t>
            </a:r>
            <a:r>
              <a:rPr lang="en-US" err="1">
                <a:ea typeface="Calibri"/>
                <a:cs typeface="Calibri"/>
              </a:rPr>
              <a:t>important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opiar</a:t>
            </a:r>
            <a:r>
              <a:rPr lang="en-US">
                <a:ea typeface="Calibri"/>
                <a:cs typeface="Calibri"/>
              </a:rPr>
              <a:t> las palabras </a:t>
            </a:r>
            <a:r>
              <a:rPr lang="en-US" err="1">
                <a:ea typeface="Calibri"/>
                <a:cs typeface="Calibri"/>
              </a:rPr>
              <a:t>extactas</a:t>
            </a:r>
            <a:r>
              <a:rPr lang="en-US">
                <a:ea typeface="Calibri"/>
                <a:cs typeface="Calibri"/>
              </a:rPr>
              <a:t>, no </a:t>
            </a:r>
            <a:r>
              <a:rPr lang="en-US" err="1">
                <a:ea typeface="Calibri"/>
                <a:cs typeface="Calibri"/>
              </a:rPr>
              <a:t>deja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espacios</a:t>
            </a:r>
            <a:r>
              <a:rPr lang="en-US">
                <a:ea typeface="Calibri"/>
                <a:cs typeface="Calibri"/>
              </a:rPr>
              <a:t> de </a:t>
            </a:r>
            <a:r>
              <a:rPr lang="en-US" err="1">
                <a:ea typeface="Calibri"/>
                <a:cs typeface="Calibri"/>
              </a:rPr>
              <a:t>más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Variable GEOMETRY </a:t>
            </a:r>
            <a:r>
              <a:rPr lang="en-US" err="1">
                <a:ea typeface="Calibri"/>
                <a:cs typeface="Calibri"/>
              </a:rPr>
              <a:t>por</a:t>
            </a:r>
            <a:r>
              <a:rPr lang="en-US">
                <a:ea typeface="Calibri"/>
                <a:cs typeface="Calibri"/>
              </a:rPr>
              <a:t> default es geometry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GUARDAR </a:t>
            </a:r>
            <a:r>
              <a:rPr lang="en-US" err="1">
                <a:ea typeface="Calibri"/>
                <a:cs typeface="Calibri"/>
              </a:rPr>
              <a:t>los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ambios</a:t>
            </a:r>
            <a:r>
              <a:rPr lang="en-US">
                <a:ea typeface="Calibri"/>
                <a:cs typeface="Calibri"/>
              </a:rPr>
              <a:t> al </a:t>
            </a:r>
            <a:r>
              <a:rPr lang="en-US" err="1">
                <a:ea typeface="Calibri"/>
                <a:cs typeface="Calibri"/>
              </a:rPr>
              <a:t>finalizar</a:t>
            </a:r>
            <a:r>
              <a:rPr lang="en-US">
                <a:ea typeface="Calibri"/>
                <a:cs typeface="Calibri"/>
              </a:rPr>
              <a:t> de </a:t>
            </a:r>
            <a:r>
              <a:rPr lang="en-US" err="1">
                <a:ea typeface="Calibri"/>
                <a:cs typeface="Calibri"/>
              </a:rPr>
              <a:t>llena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shapefile_setting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3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4045876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660927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Idicadores</a:t>
            </a:r>
            <a:r>
              <a:rPr lang="en-US">
                <a:ea typeface="Calibri"/>
                <a:cs typeface="Calibri"/>
              </a:rPr>
              <a:t> de </a:t>
            </a:r>
            <a:r>
              <a:rPr lang="en-US" err="1">
                <a:ea typeface="Calibri"/>
                <a:cs typeface="Calibri"/>
              </a:rPr>
              <a:t>logro</a:t>
            </a:r>
            <a:r>
              <a:rPr lang="en-US">
                <a:ea typeface="Calibri"/>
                <a:cs typeface="Calibri"/>
              </a:rPr>
              <a:t>:</a:t>
            </a:r>
          </a:p>
          <a:p>
            <a:pPr marL="228600" indent="-228600">
              <a:buAutoNum type="arabicPeriod"/>
            </a:pPr>
            <a:r>
              <a:rPr lang="en-US" err="1">
                <a:ea typeface="Calibri"/>
                <a:cs typeface="Calibri"/>
              </a:rPr>
              <a:t>Mapa</a:t>
            </a:r>
            <a:r>
              <a:rPr lang="en-US">
                <a:ea typeface="Calibri"/>
                <a:cs typeface="Calibri"/>
              </a:rPr>
              <a:t> visible con </a:t>
            </a:r>
            <a:r>
              <a:rPr lang="en-US" err="1">
                <a:ea typeface="Calibri"/>
                <a:cs typeface="Calibri"/>
              </a:rPr>
              <a:t>el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ontenido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adecuado</a:t>
            </a:r>
            <a:endParaRPr lang="en-US">
              <a:ea typeface="Calibri"/>
              <a:cs typeface="Calibri"/>
            </a:endParaRPr>
          </a:p>
          <a:p>
            <a:pPr marL="228600" indent="-228600">
              <a:buAutoNum type="arabicPeriod"/>
            </a:pPr>
            <a:r>
              <a:rPr lang="en-US">
                <a:ea typeface="Calibri"/>
                <a:cs typeface="Calibri"/>
              </a:rPr>
              <a:t>EXCEL de geocódigos y </a:t>
            </a:r>
            <a:r>
              <a:rPr lang="en-US" err="1">
                <a:ea typeface="Calibri"/>
                <a:cs typeface="Calibri"/>
              </a:rPr>
              <a:t>nombres</a:t>
            </a:r>
            <a:r>
              <a:rPr lang="en-US">
                <a:ea typeface="Calibri"/>
                <a:cs typeface="Calibri"/>
              </a:rPr>
              <a:t> (</a:t>
            </a:r>
            <a:r>
              <a:rPr lang="en-US" err="1">
                <a:ea typeface="Calibri"/>
                <a:cs typeface="Calibri"/>
              </a:rPr>
              <a:t>ayuda</a:t>
            </a:r>
            <a:r>
              <a:rPr lang="en-US">
                <a:ea typeface="Calibri"/>
                <a:cs typeface="Calibri"/>
              </a:rPr>
              <a:t> a </a:t>
            </a:r>
            <a:r>
              <a:rPr lang="en-US" err="1">
                <a:ea typeface="Calibri"/>
                <a:cs typeface="Calibri"/>
              </a:rPr>
              <a:t>llena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ountry_data.xlsx</a:t>
            </a:r>
            <a:r>
              <a:rPr lang="en-US">
                <a:ea typeface="Calibri"/>
                <a:cs typeface="Calibri"/>
              </a:rPr>
              <a:t>)</a:t>
            </a:r>
          </a:p>
          <a:p>
            <a:pPr marL="228600" indent="-228600">
              <a:buAutoNum type="arabicPeriod"/>
            </a:pPr>
            <a:r>
              <a:rPr lang="en-US">
                <a:ea typeface="Calibri"/>
                <a:cs typeface="Calibri"/>
              </a:rPr>
              <a:t>Folder "shapefiles” </a:t>
            </a:r>
            <a:r>
              <a:rPr lang="en-US" err="1">
                <a:ea typeface="Calibri"/>
                <a:cs typeface="Calibri"/>
              </a:rPr>
              <a:t>ya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en</a:t>
            </a:r>
            <a:r>
              <a:rPr lang="en-US">
                <a:ea typeface="Calibri"/>
                <a:cs typeface="Calibri"/>
              </a:rPr>
              <a:t>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9529581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2858497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446408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4989292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0180606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Guarda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el</a:t>
            </a:r>
            <a:r>
              <a:rPr lang="en-US">
                <a:ea typeface="Calibri"/>
                <a:cs typeface="Calibri"/>
              </a:rPr>
              <a:t> excel</a:t>
            </a:r>
          </a:p>
          <a:p>
            <a:r>
              <a:rPr lang="en-US" err="1">
                <a:ea typeface="Calibri"/>
                <a:cs typeface="Calibri"/>
              </a:rPr>
              <a:t>Enviar</a:t>
            </a:r>
            <a:r>
              <a:rPr lang="en-US">
                <a:ea typeface="Calibri"/>
                <a:cs typeface="Calibri"/>
              </a:rPr>
              <a:t> a MOH del </a:t>
            </a:r>
            <a:r>
              <a:rPr lang="en-US" err="1">
                <a:ea typeface="Calibri"/>
                <a:cs typeface="Calibri"/>
              </a:rPr>
              <a:t>país</a:t>
            </a:r>
            <a:r>
              <a:rPr lang="en-US">
                <a:ea typeface="Calibri"/>
                <a:cs typeface="Calibri"/>
              </a:rPr>
              <a:t> para </a:t>
            </a:r>
            <a:r>
              <a:rPr lang="en-US" err="1">
                <a:ea typeface="Calibri"/>
                <a:cs typeface="Calibri"/>
              </a:rPr>
              <a:t>llenado</a:t>
            </a:r>
            <a:r>
              <a:rPr lang="en-US">
                <a:ea typeface="Calibri"/>
                <a:cs typeface="Calibri"/>
              </a:rPr>
              <a:t> de </a:t>
            </a:r>
            <a:r>
              <a:rPr lang="en-US" err="1">
                <a:ea typeface="Calibri"/>
                <a:cs typeface="Calibri"/>
              </a:rPr>
              <a:t>datos</a:t>
            </a:r>
            <a:r>
              <a:rPr lang="en-US">
                <a:ea typeface="Calibri"/>
                <a:cs typeface="Calibri"/>
              </a:rPr>
              <a:t>.</a:t>
            </a:r>
          </a:p>
          <a:p>
            <a:r>
              <a:rPr lang="en-US" err="1">
                <a:ea typeface="Calibri"/>
                <a:cs typeface="Calibri"/>
              </a:rPr>
              <a:t>Página</a:t>
            </a:r>
            <a:r>
              <a:rPr lang="en-US">
                <a:ea typeface="Calibri"/>
                <a:cs typeface="Calibri"/>
              </a:rPr>
              <a:t> 6 Caso a Caso </a:t>
            </a:r>
            <a:r>
              <a:rPr lang="en-US" err="1">
                <a:ea typeface="Calibri"/>
                <a:cs typeface="Calibri"/>
              </a:rPr>
              <a:t>llena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los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geocódigos</a:t>
            </a:r>
            <a:r>
              <a:rPr lang="en-US">
                <a:ea typeface="Calibri"/>
                <a:cs typeface="Calibri"/>
              </a:rPr>
              <a:t> admin2 con </a:t>
            </a:r>
            <a:r>
              <a:rPr lang="en-US" err="1">
                <a:ea typeface="Calibri"/>
                <a:cs typeface="Calibri"/>
              </a:rPr>
              <a:t>información</a:t>
            </a:r>
            <a:r>
              <a:rPr lang="en-US">
                <a:ea typeface="Calibri"/>
                <a:cs typeface="Calibri"/>
              </a:rPr>
              <a:t> de las </a:t>
            </a:r>
            <a:r>
              <a:rPr lang="en-US" err="1">
                <a:ea typeface="Calibri"/>
                <a:cs typeface="Calibri"/>
              </a:rPr>
              <a:t>demás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páginas</a:t>
            </a:r>
            <a:r>
              <a:rPr lang="en-US">
                <a:ea typeface="Calibri"/>
                <a:cs typeface="Calibri"/>
              </a:rPr>
              <a:t>.</a:t>
            </a: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61428839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4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55317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charset="0"/>
                <a:ea typeface="+mn-ea"/>
                <a:cs typeface="+mn-cs"/>
              </a:rPr>
              <a:pPr marL="0" marR="0" lvl="0" indent="0" algn="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75708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8128427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7215645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219319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>
                <a:ea typeface="Calibri"/>
                <a:cs typeface="Calibri"/>
              </a:rPr>
              <a:t>Decir que </a:t>
            </a:r>
            <a:r>
              <a:rPr lang="en-US" err="1">
                <a:ea typeface="Calibri"/>
                <a:cs typeface="Calibri"/>
              </a:rPr>
              <a:t>el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mensaje</a:t>
            </a:r>
            <a:r>
              <a:rPr lang="en-US">
                <a:ea typeface="Calibri"/>
                <a:cs typeface="Calibri"/>
              </a:rPr>
              <a:t> solo </a:t>
            </a:r>
            <a:r>
              <a:rPr lang="en-US" err="1">
                <a:ea typeface="Calibri"/>
                <a:cs typeface="Calibri"/>
              </a:rPr>
              <a:t>afirma</a:t>
            </a:r>
            <a:r>
              <a:rPr lang="en-US">
                <a:ea typeface="Calibri"/>
                <a:cs typeface="Calibri"/>
              </a:rPr>
              <a:t> que </a:t>
            </a:r>
            <a:r>
              <a:rPr lang="en-US" err="1">
                <a:ea typeface="Calibri"/>
                <a:cs typeface="Calibri"/>
              </a:rPr>
              <a:t>el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report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está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listo</a:t>
            </a:r>
            <a:r>
              <a:rPr lang="en-US">
                <a:ea typeface="Calibri"/>
                <a:cs typeface="Calibri"/>
              </a:rPr>
              <a:t>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4807185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0847323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713796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054330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621106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7314682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603509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9044229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9382874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25633978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251590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08423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93473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6075082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6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3372126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2646014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9367747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339003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CD8B87-A9AD-4E34-ABD1-43A166C620FE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572961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652248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2133530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0838080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7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08710113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0882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16964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1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0020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D8B87-A9AD-4E34-ABD1-43A166C620FE}" type="slidenum">
              <a:rPr lang="es-PE" smtClean="0"/>
              <a:t>1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85311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.xml"/><Relationship Id="rId4" Type="http://schemas.openxmlformats.org/officeDocument/2006/relationships/image" Target="../media/image22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Relationship Id="rId4" Type="http://schemas.openxmlformats.org/officeDocument/2006/relationships/image" Target="../media/image22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6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A5BA884-6093-491B-AAC8-4D24FFDD59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3375" y="2485415"/>
            <a:ext cx="9829800" cy="16557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rgbClr val="FF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0580E978-B28C-4C04-B966-CA9C7723D5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3375" y="6356350"/>
            <a:ext cx="259934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Monday, August 13, 2018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EED85C0-A9A3-4F8B-B4F4-C77B0B6B5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9054" y="6356350"/>
            <a:ext cx="3414346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7492FD4-F3FB-49BB-8FF3-1B23214C6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8BB47A-8808-4EE8-B119-28EDB861C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3280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316FE1-5646-4392-9EB7-883C4FB8C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F5BC0AA-CA64-4B6D-B263-7B2C588AF1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68ACF13-B2CF-49A3-8FCB-DDEC0ED96D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4921DEE-3752-439F-ABA4-785838FAE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B0E440C-1531-412A-93BD-8929B4BA8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ADEF2F5-05D1-4E17-8FCF-B50F135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297355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rmAutofit/>
          </a:bodyPr>
          <a:lstStyle>
            <a:lvl1pPr marL="0" indent="0" algn="r">
              <a:buFontTx/>
              <a:buNone/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20388170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68111" y="0"/>
            <a:ext cx="12123889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2996899" y="4484452"/>
            <a:ext cx="6100832" cy="99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1503165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5969" y="4960371"/>
            <a:ext cx="835668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022844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838419" y="1359759"/>
            <a:ext cx="10515163" cy="2937439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419" y="4468876"/>
            <a:ext cx="10515163" cy="1664296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3"/>
            <a:ext cx="1051516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8" name="Rectangle 17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361958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175135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400490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3719373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944728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838419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8"/>
          </p:nvPr>
        </p:nvSpPr>
        <p:spPr>
          <a:xfrm>
            <a:off x="3613063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6294180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9068826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6" name="Rectangle 2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grpSpPr>
        <p:sp>
          <p:nvSpPr>
            <p:cNvPr id="2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44558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225268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5247164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325254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26906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7230645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9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349285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418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auto">
          <a:xfrm>
            <a:off x="6145213" y="1905789"/>
            <a:ext cx="5512412" cy="41410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357745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145213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68551" y="1905788"/>
            <a:ext cx="5576638" cy="4141052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533189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3137048" y="1891040"/>
            <a:ext cx="2350314" cy="4270550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5647434" y="1891040"/>
            <a:ext cx="5706148" cy="4270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580401"/>
            <a:ext cx="10515163" cy="88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0" name="Rectangle 19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2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4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 bwMode="auto">
          <a:xfrm>
            <a:off x="987276" y="1891040"/>
            <a:ext cx="2422559" cy="42705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13047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856027" y="1873405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75646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9AE86D-AF91-4AC9-A70C-808553AE7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7183B85-10AC-4A2E-BC2D-2F583537F4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DC7A58B-B6DE-4C14-885C-039FF5796B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C06612D-B207-42AD-9133-2B26C5D6D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1DD9742-0B6F-4378-91D8-CB939EB48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237778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0071908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220647" y="1655691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057593"/>
      </p:ext>
    </p:extLst>
  </p:cSld>
  <p:clrMapOvr>
    <a:masterClrMapping/>
  </p:clrMapOvr>
  <p:transition spd="slow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7505620"/>
      </p:ext>
    </p:extLst>
  </p:cSld>
  <p:clrMapOvr>
    <a:masterClrMapping/>
  </p:clrMapOvr>
  <p:transition spd="slow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0513331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419" y="2064774"/>
            <a:ext cx="10515163" cy="4068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42860" y="6410896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28000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General Slide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3384B415-4853-A247-A37B-29159E22E2DB}"/>
              </a:ext>
            </a:extLst>
          </p:cNvPr>
          <p:cNvSpPr/>
          <p:nvPr userDrawn="1"/>
        </p:nvSpPr>
        <p:spPr>
          <a:xfrm>
            <a:off x="0" y="6119446"/>
            <a:ext cx="12192000" cy="738554"/>
          </a:xfrm>
          <a:prstGeom prst="rect">
            <a:avLst/>
          </a:prstGeom>
          <a:solidFill>
            <a:srgbClr val="1F6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48C563-FEF0-9F4A-A546-15F2CC57B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1F609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A79F75-17A8-DA49-BFBE-8A231940AA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10515600" cy="41074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8D3A14-4858-FF4E-8DA4-8DC05E123432}"/>
              </a:ext>
            </a:extLst>
          </p:cNvPr>
          <p:cNvGrpSpPr/>
          <p:nvPr userDrawn="1"/>
        </p:nvGrpSpPr>
        <p:grpSpPr>
          <a:xfrm>
            <a:off x="838200" y="6307650"/>
            <a:ext cx="3357949" cy="331271"/>
            <a:chOff x="2933700" y="2011363"/>
            <a:chExt cx="4006850" cy="395287"/>
          </a:xfrm>
          <a:solidFill>
            <a:schemeClr val="bg1"/>
          </a:solidFill>
        </p:grpSpPr>
        <p:sp>
          <p:nvSpPr>
            <p:cNvPr id="9" name="Freeform 1">
              <a:extLst>
                <a:ext uri="{FF2B5EF4-FFF2-40B4-BE49-F238E27FC236}">
                  <a16:creationId xmlns:a16="http://schemas.microsoft.com/office/drawing/2014/main" id="{0B623C8E-A1FE-734D-B97A-116EFDF3F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775" y="2336800"/>
              <a:ext cx="53975" cy="66675"/>
            </a:xfrm>
            <a:custGeom>
              <a:avLst/>
              <a:gdLst>
                <a:gd name="T0" fmla="*/ 98 w 149"/>
                <a:gd name="T1" fmla="*/ 143 h 187"/>
                <a:gd name="T2" fmla="*/ 47 w 149"/>
                <a:gd name="T3" fmla="*/ 143 h 187"/>
                <a:gd name="T4" fmla="*/ 37 w 149"/>
                <a:gd name="T5" fmla="*/ 186 h 187"/>
                <a:gd name="T6" fmla="*/ 0 w 149"/>
                <a:gd name="T7" fmla="*/ 186 h 187"/>
                <a:gd name="T8" fmla="*/ 53 w 149"/>
                <a:gd name="T9" fmla="*/ 0 h 187"/>
                <a:gd name="T10" fmla="*/ 95 w 149"/>
                <a:gd name="T11" fmla="*/ 0 h 187"/>
                <a:gd name="T12" fmla="*/ 148 w 149"/>
                <a:gd name="T13" fmla="*/ 186 h 187"/>
                <a:gd name="T14" fmla="*/ 108 w 149"/>
                <a:gd name="T15" fmla="*/ 186 h 187"/>
                <a:gd name="T16" fmla="*/ 98 w 149"/>
                <a:gd name="T17" fmla="*/ 143 h 187"/>
                <a:gd name="T18" fmla="*/ 74 w 149"/>
                <a:gd name="T19" fmla="*/ 35 h 187"/>
                <a:gd name="T20" fmla="*/ 74 w 149"/>
                <a:gd name="T21" fmla="*/ 35 h 187"/>
                <a:gd name="T22" fmla="*/ 55 w 149"/>
                <a:gd name="T23" fmla="*/ 112 h 187"/>
                <a:gd name="T24" fmla="*/ 93 w 149"/>
                <a:gd name="T25" fmla="*/ 112 h 187"/>
                <a:gd name="T26" fmla="*/ 74 w 149"/>
                <a:gd name="T27" fmla="*/ 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187">
                  <a:moveTo>
                    <a:pt x="98" y="143"/>
                  </a:moveTo>
                  <a:lnTo>
                    <a:pt x="47" y="143"/>
                  </a:lnTo>
                  <a:lnTo>
                    <a:pt x="37" y="186"/>
                  </a:lnTo>
                  <a:lnTo>
                    <a:pt x="0" y="186"/>
                  </a:lnTo>
                  <a:lnTo>
                    <a:pt x="53" y="0"/>
                  </a:lnTo>
                  <a:lnTo>
                    <a:pt x="95" y="0"/>
                  </a:lnTo>
                  <a:lnTo>
                    <a:pt x="148" y="186"/>
                  </a:lnTo>
                  <a:lnTo>
                    <a:pt x="108" y="186"/>
                  </a:lnTo>
                  <a:lnTo>
                    <a:pt x="98" y="143"/>
                  </a:lnTo>
                  <a:close/>
                  <a:moveTo>
                    <a:pt x="74" y="35"/>
                  </a:moveTo>
                  <a:lnTo>
                    <a:pt x="74" y="35"/>
                  </a:lnTo>
                  <a:lnTo>
                    <a:pt x="55" y="112"/>
                  </a:lnTo>
                  <a:lnTo>
                    <a:pt x="93" y="112"/>
                  </a:lnTo>
                  <a:lnTo>
                    <a:pt x="74" y="3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49789206-BC73-414E-947B-DC8544D11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2351088"/>
              <a:ext cx="60325" cy="50800"/>
            </a:xfrm>
            <a:custGeom>
              <a:avLst/>
              <a:gdLst>
                <a:gd name="T0" fmla="*/ 132 w 168"/>
                <a:gd name="T1" fmla="*/ 55 h 141"/>
                <a:gd name="T2" fmla="*/ 119 w 168"/>
                <a:gd name="T3" fmla="*/ 34 h 141"/>
                <a:gd name="T4" fmla="*/ 103 w 168"/>
                <a:gd name="T5" fmla="*/ 53 h 141"/>
                <a:gd name="T6" fmla="*/ 103 w 168"/>
                <a:gd name="T7" fmla="*/ 140 h 141"/>
                <a:gd name="T8" fmla="*/ 66 w 168"/>
                <a:gd name="T9" fmla="*/ 140 h 141"/>
                <a:gd name="T10" fmla="*/ 66 w 168"/>
                <a:gd name="T11" fmla="*/ 55 h 141"/>
                <a:gd name="T12" fmla="*/ 53 w 168"/>
                <a:gd name="T13" fmla="*/ 34 h 141"/>
                <a:gd name="T14" fmla="*/ 37 w 168"/>
                <a:gd name="T15" fmla="*/ 63 h 141"/>
                <a:gd name="T16" fmla="*/ 37 w 168"/>
                <a:gd name="T17" fmla="*/ 140 h 141"/>
                <a:gd name="T18" fmla="*/ 0 w 168"/>
                <a:gd name="T19" fmla="*/ 140 h 141"/>
                <a:gd name="T20" fmla="*/ 0 w 168"/>
                <a:gd name="T21" fmla="*/ 32 h 141"/>
                <a:gd name="T22" fmla="*/ 0 w 168"/>
                <a:gd name="T23" fmla="*/ 2 h 141"/>
                <a:gd name="T24" fmla="*/ 34 w 168"/>
                <a:gd name="T25" fmla="*/ 2 h 141"/>
                <a:gd name="T26" fmla="*/ 34 w 168"/>
                <a:gd name="T27" fmla="*/ 26 h 141"/>
                <a:gd name="T28" fmla="*/ 34 w 168"/>
                <a:gd name="T29" fmla="*/ 26 h 141"/>
                <a:gd name="T30" fmla="*/ 69 w 168"/>
                <a:gd name="T31" fmla="*/ 0 h 141"/>
                <a:gd name="T32" fmla="*/ 100 w 168"/>
                <a:gd name="T33" fmla="*/ 24 h 141"/>
                <a:gd name="T34" fmla="*/ 132 w 168"/>
                <a:gd name="T35" fmla="*/ 0 h 141"/>
                <a:gd name="T36" fmla="*/ 167 w 168"/>
                <a:gd name="T37" fmla="*/ 50 h 141"/>
                <a:gd name="T38" fmla="*/ 167 w 168"/>
                <a:gd name="T39" fmla="*/ 140 h 141"/>
                <a:gd name="T40" fmla="*/ 132 w 168"/>
                <a:gd name="T41" fmla="*/ 140 h 141"/>
                <a:gd name="T42" fmla="*/ 132 w 168"/>
                <a:gd name="T43" fmla="*/ 5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8" h="141">
                  <a:moveTo>
                    <a:pt x="132" y="55"/>
                  </a:moveTo>
                  <a:cubicBezTo>
                    <a:pt x="132" y="40"/>
                    <a:pt x="127" y="34"/>
                    <a:pt x="119" y="34"/>
                  </a:cubicBezTo>
                  <a:cubicBezTo>
                    <a:pt x="108" y="34"/>
                    <a:pt x="103" y="42"/>
                    <a:pt x="103" y="53"/>
                  </a:cubicBezTo>
                  <a:lnTo>
                    <a:pt x="103" y="140"/>
                  </a:lnTo>
                  <a:lnTo>
                    <a:pt x="66" y="140"/>
                  </a:lnTo>
                  <a:lnTo>
                    <a:pt x="66" y="55"/>
                  </a:lnTo>
                  <a:cubicBezTo>
                    <a:pt x="66" y="37"/>
                    <a:pt x="58" y="34"/>
                    <a:pt x="53" y="34"/>
                  </a:cubicBezTo>
                  <a:cubicBezTo>
                    <a:pt x="39" y="34"/>
                    <a:pt x="37" y="47"/>
                    <a:pt x="37" y="63"/>
                  </a:cubicBezTo>
                  <a:lnTo>
                    <a:pt x="37" y="140"/>
                  </a:lnTo>
                  <a:lnTo>
                    <a:pt x="0" y="140"/>
                  </a:lnTo>
                  <a:lnTo>
                    <a:pt x="0" y="32"/>
                  </a:lnTo>
                  <a:cubicBezTo>
                    <a:pt x="0" y="18"/>
                    <a:pt x="0" y="10"/>
                    <a:pt x="0" y="2"/>
                  </a:cubicBezTo>
                  <a:lnTo>
                    <a:pt x="34" y="2"/>
                  </a:lnTo>
                  <a:cubicBezTo>
                    <a:pt x="34" y="8"/>
                    <a:pt x="34" y="16"/>
                    <a:pt x="34" y="26"/>
                  </a:cubicBezTo>
                  <a:lnTo>
                    <a:pt x="34" y="26"/>
                  </a:lnTo>
                  <a:cubicBezTo>
                    <a:pt x="39" y="10"/>
                    <a:pt x="51" y="0"/>
                    <a:pt x="69" y="0"/>
                  </a:cubicBezTo>
                  <a:cubicBezTo>
                    <a:pt x="88" y="0"/>
                    <a:pt x="95" y="10"/>
                    <a:pt x="100" y="24"/>
                  </a:cubicBezTo>
                  <a:cubicBezTo>
                    <a:pt x="106" y="10"/>
                    <a:pt x="114" y="0"/>
                    <a:pt x="132" y="0"/>
                  </a:cubicBezTo>
                  <a:cubicBezTo>
                    <a:pt x="159" y="0"/>
                    <a:pt x="167" y="21"/>
                    <a:pt x="167" y="50"/>
                  </a:cubicBezTo>
                  <a:lnTo>
                    <a:pt x="167" y="140"/>
                  </a:lnTo>
                  <a:lnTo>
                    <a:pt x="132" y="140"/>
                  </a:lnTo>
                  <a:lnTo>
                    <a:pt x="132" y="5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3">
              <a:extLst>
                <a:ext uri="{FF2B5EF4-FFF2-40B4-BE49-F238E27FC236}">
                  <a16:creationId xmlns:a16="http://schemas.microsoft.com/office/drawing/2014/main" id="{90686755-C048-F441-9E16-4FDB98796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4775" y="2351088"/>
              <a:ext cx="38100" cy="52387"/>
            </a:xfrm>
            <a:custGeom>
              <a:avLst/>
              <a:gdLst>
                <a:gd name="T0" fmla="*/ 106 w 107"/>
                <a:gd name="T1" fmla="*/ 82 h 144"/>
                <a:gd name="T2" fmla="*/ 35 w 107"/>
                <a:gd name="T3" fmla="*/ 82 h 144"/>
                <a:gd name="T4" fmla="*/ 64 w 107"/>
                <a:gd name="T5" fmla="*/ 114 h 144"/>
                <a:gd name="T6" fmla="*/ 98 w 107"/>
                <a:gd name="T7" fmla="*/ 103 h 144"/>
                <a:gd name="T8" fmla="*/ 98 w 107"/>
                <a:gd name="T9" fmla="*/ 135 h 144"/>
                <a:gd name="T10" fmla="*/ 61 w 107"/>
                <a:gd name="T11" fmla="*/ 143 h 144"/>
                <a:gd name="T12" fmla="*/ 0 w 107"/>
                <a:gd name="T13" fmla="*/ 71 h 144"/>
                <a:gd name="T14" fmla="*/ 53 w 107"/>
                <a:gd name="T15" fmla="*/ 0 h 144"/>
                <a:gd name="T16" fmla="*/ 106 w 107"/>
                <a:gd name="T17" fmla="*/ 71 h 144"/>
                <a:gd name="T18" fmla="*/ 106 w 107"/>
                <a:gd name="T19" fmla="*/ 82 h 144"/>
                <a:gd name="T20" fmla="*/ 75 w 107"/>
                <a:gd name="T21" fmla="*/ 61 h 144"/>
                <a:gd name="T22" fmla="*/ 56 w 107"/>
                <a:gd name="T23" fmla="*/ 26 h 144"/>
                <a:gd name="T24" fmla="*/ 37 w 107"/>
                <a:gd name="T25" fmla="*/ 61 h 144"/>
                <a:gd name="T26" fmla="*/ 75 w 107"/>
                <a:gd name="T27" fmla="*/ 6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144">
                  <a:moveTo>
                    <a:pt x="106" y="82"/>
                  </a:moveTo>
                  <a:lnTo>
                    <a:pt x="35" y="82"/>
                  </a:lnTo>
                  <a:cubicBezTo>
                    <a:pt x="35" y="98"/>
                    <a:pt x="43" y="114"/>
                    <a:pt x="64" y="114"/>
                  </a:cubicBezTo>
                  <a:cubicBezTo>
                    <a:pt x="77" y="114"/>
                    <a:pt x="88" y="108"/>
                    <a:pt x="98" y="103"/>
                  </a:cubicBezTo>
                  <a:lnTo>
                    <a:pt x="98" y="135"/>
                  </a:lnTo>
                  <a:cubicBezTo>
                    <a:pt x="88" y="140"/>
                    <a:pt x="72" y="143"/>
                    <a:pt x="61" y="143"/>
                  </a:cubicBezTo>
                  <a:cubicBezTo>
                    <a:pt x="19" y="143"/>
                    <a:pt x="0" y="114"/>
                    <a:pt x="0" y="71"/>
                  </a:cubicBezTo>
                  <a:cubicBezTo>
                    <a:pt x="0" y="34"/>
                    <a:pt x="19" y="0"/>
                    <a:pt x="53" y="0"/>
                  </a:cubicBezTo>
                  <a:cubicBezTo>
                    <a:pt x="64" y="0"/>
                    <a:pt x="106" y="0"/>
                    <a:pt x="106" y="71"/>
                  </a:cubicBezTo>
                  <a:lnTo>
                    <a:pt x="106" y="82"/>
                  </a:lnTo>
                  <a:close/>
                  <a:moveTo>
                    <a:pt x="75" y="61"/>
                  </a:moveTo>
                  <a:cubicBezTo>
                    <a:pt x="75" y="42"/>
                    <a:pt x="72" y="26"/>
                    <a:pt x="56" y="26"/>
                  </a:cubicBezTo>
                  <a:cubicBezTo>
                    <a:pt x="37" y="26"/>
                    <a:pt x="37" y="53"/>
                    <a:pt x="37" y="61"/>
                  </a:cubicBezTo>
                  <a:lnTo>
                    <a:pt x="75" y="6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B6086AED-7096-3E44-ADEC-886727318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9225" y="2351088"/>
              <a:ext cx="26988" cy="50800"/>
            </a:xfrm>
            <a:custGeom>
              <a:avLst/>
              <a:gdLst>
                <a:gd name="T0" fmla="*/ 0 w 76"/>
                <a:gd name="T1" fmla="*/ 32 h 141"/>
                <a:gd name="T2" fmla="*/ 0 w 76"/>
                <a:gd name="T3" fmla="*/ 2 h 141"/>
                <a:gd name="T4" fmla="*/ 35 w 76"/>
                <a:gd name="T5" fmla="*/ 2 h 141"/>
                <a:gd name="T6" fmla="*/ 35 w 76"/>
                <a:gd name="T7" fmla="*/ 26 h 141"/>
                <a:gd name="T8" fmla="*/ 35 w 76"/>
                <a:gd name="T9" fmla="*/ 26 h 141"/>
                <a:gd name="T10" fmla="*/ 69 w 76"/>
                <a:gd name="T11" fmla="*/ 0 h 141"/>
                <a:gd name="T12" fmla="*/ 75 w 76"/>
                <a:gd name="T13" fmla="*/ 0 h 141"/>
                <a:gd name="T14" fmla="*/ 75 w 76"/>
                <a:gd name="T15" fmla="*/ 40 h 141"/>
                <a:gd name="T16" fmla="*/ 61 w 76"/>
                <a:gd name="T17" fmla="*/ 37 h 141"/>
                <a:gd name="T18" fmla="*/ 38 w 76"/>
                <a:gd name="T19" fmla="*/ 79 h 141"/>
                <a:gd name="T20" fmla="*/ 38 w 76"/>
                <a:gd name="T21" fmla="*/ 140 h 141"/>
                <a:gd name="T22" fmla="*/ 0 w 76"/>
                <a:gd name="T23" fmla="*/ 140 h 141"/>
                <a:gd name="T24" fmla="*/ 0 w 76"/>
                <a:gd name="T25" fmla="*/ 32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141">
                  <a:moveTo>
                    <a:pt x="0" y="32"/>
                  </a:moveTo>
                  <a:cubicBezTo>
                    <a:pt x="0" y="18"/>
                    <a:pt x="0" y="10"/>
                    <a:pt x="0" y="2"/>
                  </a:cubicBezTo>
                  <a:lnTo>
                    <a:pt x="35" y="2"/>
                  </a:lnTo>
                  <a:cubicBezTo>
                    <a:pt x="35" y="10"/>
                    <a:pt x="35" y="18"/>
                    <a:pt x="35" y="26"/>
                  </a:cubicBezTo>
                  <a:lnTo>
                    <a:pt x="35" y="26"/>
                  </a:lnTo>
                  <a:cubicBezTo>
                    <a:pt x="43" y="10"/>
                    <a:pt x="48" y="0"/>
                    <a:pt x="69" y="0"/>
                  </a:cubicBezTo>
                  <a:lnTo>
                    <a:pt x="75" y="0"/>
                  </a:lnTo>
                  <a:lnTo>
                    <a:pt x="75" y="40"/>
                  </a:lnTo>
                  <a:cubicBezTo>
                    <a:pt x="72" y="40"/>
                    <a:pt x="67" y="37"/>
                    <a:pt x="61" y="37"/>
                  </a:cubicBezTo>
                  <a:cubicBezTo>
                    <a:pt x="40" y="37"/>
                    <a:pt x="38" y="58"/>
                    <a:pt x="38" y="79"/>
                  </a:cubicBezTo>
                  <a:lnTo>
                    <a:pt x="38" y="140"/>
                  </a:lnTo>
                  <a:lnTo>
                    <a:pt x="0" y="140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ACA4DF1-E7F3-8F4D-A4A1-6EDCFF0A69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2563" y="2330450"/>
              <a:ext cx="14287" cy="71438"/>
            </a:xfrm>
            <a:custGeom>
              <a:avLst/>
              <a:gdLst>
                <a:gd name="T0" fmla="*/ 0 w 38"/>
                <a:gd name="T1" fmla="*/ 0 h 199"/>
                <a:gd name="T2" fmla="*/ 37 w 38"/>
                <a:gd name="T3" fmla="*/ 0 h 199"/>
                <a:gd name="T4" fmla="*/ 37 w 38"/>
                <a:gd name="T5" fmla="*/ 37 h 199"/>
                <a:gd name="T6" fmla="*/ 0 w 38"/>
                <a:gd name="T7" fmla="*/ 37 h 199"/>
                <a:gd name="T8" fmla="*/ 0 w 38"/>
                <a:gd name="T9" fmla="*/ 0 h 199"/>
                <a:gd name="T10" fmla="*/ 0 w 38"/>
                <a:gd name="T11" fmla="*/ 60 h 199"/>
                <a:gd name="T12" fmla="*/ 37 w 38"/>
                <a:gd name="T13" fmla="*/ 60 h 199"/>
                <a:gd name="T14" fmla="*/ 37 w 38"/>
                <a:gd name="T15" fmla="*/ 198 h 199"/>
                <a:gd name="T16" fmla="*/ 0 w 38"/>
                <a:gd name="T17" fmla="*/ 198 h 199"/>
                <a:gd name="T18" fmla="*/ 0 w 38"/>
                <a:gd name="T19" fmla="*/ 6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99">
                  <a:moveTo>
                    <a:pt x="0" y="0"/>
                  </a:moveTo>
                  <a:lnTo>
                    <a:pt x="37" y="0"/>
                  </a:lnTo>
                  <a:lnTo>
                    <a:pt x="37" y="37"/>
                  </a:lnTo>
                  <a:lnTo>
                    <a:pt x="0" y="37"/>
                  </a:lnTo>
                  <a:lnTo>
                    <a:pt x="0" y="0"/>
                  </a:lnTo>
                  <a:close/>
                  <a:moveTo>
                    <a:pt x="0" y="60"/>
                  </a:moveTo>
                  <a:lnTo>
                    <a:pt x="37" y="60"/>
                  </a:lnTo>
                  <a:lnTo>
                    <a:pt x="37" y="198"/>
                  </a:lnTo>
                  <a:lnTo>
                    <a:pt x="0" y="198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3393DDF-1DFE-7C44-9014-79C584377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4788" y="2351088"/>
              <a:ext cx="31750" cy="52387"/>
            </a:xfrm>
            <a:custGeom>
              <a:avLst/>
              <a:gdLst>
                <a:gd name="T0" fmla="*/ 88 w 89"/>
                <a:gd name="T1" fmla="*/ 137 h 144"/>
                <a:gd name="T2" fmla="*/ 56 w 89"/>
                <a:gd name="T3" fmla="*/ 143 h 144"/>
                <a:gd name="T4" fmla="*/ 0 w 89"/>
                <a:gd name="T5" fmla="*/ 74 h 144"/>
                <a:gd name="T6" fmla="*/ 59 w 89"/>
                <a:gd name="T7" fmla="*/ 0 h 144"/>
                <a:gd name="T8" fmla="*/ 88 w 89"/>
                <a:gd name="T9" fmla="*/ 8 h 144"/>
                <a:gd name="T10" fmla="*/ 85 w 89"/>
                <a:gd name="T11" fmla="*/ 40 h 144"/>
                <a:gd name="T12" fmla="*/ 64 w 89"/>
                <a:gd name="T13" fmla="*/ 34 h 144"/>
                <a:gd name="T14" fmla="*/ 37 w 89"/>
                <a:gd name="T15" fmla="*/ 74 h 144"/>
                <a:gd name="T16" fmla="*/ 67 w 89"/>
                <a:gd name="T17" fmla="*/ 114 h 144"/>
                <a:gd name="T18" fmla="*/ 88 w 89"/>
                <a:gd name="T19" fmla="*/ 108 h 144"/>
                <a:gd name="T20" fmla="*/ 88 w 89"/>
                <a:gd name="T21" fmla="*/ 1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144">
                  <a:moveTo>
                    <a:pt x="88" y="137"/>
                  </a:moveTo>
                  <a:cubicBezTo>
                    <a:pt x="77" y="140"/>
                    <a:pt x="67" y="143"/>
                    <a:pt x="56" y="143"/>
                  </a:cubicBezTo>
                  <a:cubicBezTo>
                    <a:pt x="8" y="143"/>
                    <a:pt x="0" y="98"/>
                    <a:pt x="0" y="74"/>
                  </a:cubicBezTo>
                  <a:cubicBezTo>
                    <a:pt x="0" y="32"/>
                    <a:pt x="22" y="0"/>
                    <a:pt x="59" y="0"/>
                  </a:cubicBezTo>
                  <a:cubicBezTo>
                    <a:pt x="72" y="0"/>
                    <a:pt x="77" y="2"/>
                    <a:pt x="88" y="8"/>
                  </a:cubicBezTo>
                  <a:lnTo>
                    <a:pt x="85" y="40"/>
                  </a:lnTo>
                  <a:cubicBezTo>
                    <a:pt x="77" y="37"/>
                    <a:pt x="72" y="34"/>
                    <a:pt x="64" y="34"/>
                  </a:cubicBezTo>
                  <a:cubicBezTo>
                    <a:pt x="37" y="34"/>
                    <a:pt x="37" y="69"/>
                    <a:pt x="37" y="74"/>
                  </a:cubicBezTo>
                  <a:cubicBezTo>
                    <a:pt x="37" y="103"/>
                    <a:pt x="53" y="114"/>
                    <a:pt x="67" y="114"/>
                  </a:cubicBezTo>
                  <a:cubicBezTo>
                    <a:pt x="75" y="114"/>
                    <a:pt x="80" y="111"/>
                    <a:pt x="88" y="108"/>
                  </a:cubicBezTo>
                  <a:lnTo>
                    <a:pt x="88" y="1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D0268C9-5DC1-DD46-ADDC-17C77C61E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1300" y="2352675"/>
              <a:ext cx="38100" cy="52388"/>
            </a:xfrm>
            <a:custGeom>
              <a:avLst/>
              <a:gdLst>
                <a:gd name="T0" fmla="*/ 10 w 104"/>
                <a:gd name="T1" fmla="*/ 8 h 144"/>
                <a:gd name="T2" fmla="*/ 50 w 104"/>
                <a:gd name="T3" fmla="*/ 0 h 144"/>
                <a:gd name="T4" fmla="*/ 103 w 104"/>
                <a:gd name="T5" fmla="*/ 51 h 144"/>
                <a:gd name="T6" fmla="*/ 103 w 104"/>
                <a:gd name="T7" fmla="*/ 101 h 144"/>
                <a:gd name="T8" fmla="*/ 103 w 104"/>
                <a:gd name="T9" fmla="*/ 141 h 144"/>
                <a:gd name="T10" fmla="*/ 69 w 104"/>
                <a:gd name="T11" fmla="*/ 141 h 144"/>
                <a:gd name="T12" fmla="*/ 69 w 104"/>
                <a:gd name="T13" fmla="*/ 122 h 144"/>
                <a:gd name="T14" fmla="*/ 37 w 104"/>
                <a:gd name="T15" fmla="*/ 143 h 144"/>
                <a:gd name="T16" fmla="*/ 0 w 104"/>
                <a:gd name="T17" fmla="*/ 101 h 144"/>
                <a:gd name="T18" fmla="*/ 58 w 104"/>
                <a:gd name="T19" fmla="*/ 53 h 144"/>
                <a:gd name="T20" fmla="*/ 69 w 104"/>
                <a:gd name="T21" fmla="*/ 53 h 144"/>
                <a:gd name="T22" fmla="*/ 47 w 104"/>
                <a:gd name="T23" fmla="*/ 27 h 144"/>
                <a:gd name="T24" fmla="*/ 13 w 104"/>
                <a:gd name="T25" fmla="*/ 40 h 144"/>
                <a:gd name="T26" fmla="*/ 10 w 104"/>
                <a:gd name="T27" fmla="*/ 8 h 144"/>
                <a:gd name="T28" fmla="*/ 31 w 104"/>
                <a:gd name="T29" fmla="*/ 96 h 144"/>
                <a:gd name="T30" fmla="*/ 47 w 104"/>
                <a:gd name="T31" fmla="*/ 114 h 144"/>
                <a:gd name="T32" fmla="*/ 69 w 104"/>
                <a:gd name="T33" fmla="*/ 80 h 144"/>
                <a:gd name="T34" fmla="*/ 69 w 104"/>
                <a:gd name="T35" fmla="*/ 72 h 144"/>
                <a:gd name="T36" fmla="*/ 31 w 104"/>
                <a:gd name="T37" fmla="*/ 9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44">
                  <a:moveTo>
                    <a:pt x="10" y="8"/>
                  </a:moveTo>
                  <a:cubicBezTo>
                    <a:pt x="21" y="6"/>
                    <a:pt x="37" y="0"/>
                    <a:pt x="50" y="0"/>
                  </a:cubicBezTo>
                  <a:cubicBezTo>
                    <a:pt x="92" y="0"/>
                    <a:pt x="103" y="22"/>
                    <a:pt x="103" y="51"/>
                  </a:cubicBezTo>
                  <a:lnTo>
                    <a:pt x="103" y="101"/>
                  </a:lnTo>
                  <a:lnTo>
                    <a:pt x="103" y="141"/>
                  </a:lnTo>
                  <a:lnTo>
                    <a:pt x="69" y="141"/>
                  </a:lnTo>
                  <a:lnTo>
                    <a:pt x="69" y="122"/>
                  </a:lnTo>
                  <a:cubicBezTo>
                    <a:pt x="66" y="130"/>
                    <a:pt x="53" y="143"/>
                    <a:pt x="37" y="143"/>
                  </a:cubicBezTo>
                  <a:cubicBezTo>
                    <a:pt x="16" y="143"/>
                    <a:pt x="0" y="128"/>
                    <a:pt x="0" y="101"/>
                  </a:cubicBezTo>
                  <a:cubicBezTo>
                    <a:pt x="0" y="56"/>
                    <a:pt x="47" y="53"/>
                    <a:pt x="58" y="53"/>
                  </a:cubicBezTo>
                  <a:lnTo>
                    <a:pt x="69" y="53"/>
                  </a:lnTo>
                  <a:cubicBezTo>
                    <a:pt x="69" y="27"/>
                    <a:pt x="53" y="27"/>
                    <a:pt x="47" y="27"/>
                  </a:cubicBezTo>
                  <a:cubicBezTo>
                    <a:pt x="39" y="27"/>
                    <a:pt x="29" y="30"/>
                    <a:pt x="13" y="40"/>
                  </a:cubicBezTo>
                  <a:lnTo>
                    <a:pt x="10" y="8"/>
                  </a:lnTo>
                  <a:close/>
                  <a:moveTo>
                    <a:pt x="31" y="96"/>
                  </a:moveTo>
                  <a:cubicBezTo>
                    <a:pt x="31" y="114"/>
                    <a:pt x="45" y="114"/>
                    <a:pt x="47" y="114"/>
                  </a:cubicBezTo>
                  <a:cubicBezTo>
                    <a:pt x="50" y="114"/>
                    <a:pt x="69" y="114"/>
                    <a:pt x="69" y="80"/>
                  </a:cubicBezTo>
                  <a:lnTo>
                    <a:pt x="69" y="72"/>
                  </a:lnTo>
                  <a:cubicBezTo>
                    <a:pt x="55" y="72"/>
                    <a:pt x="31" y="72"/>
                    <a:pt x="31" y="9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FB01407-DB4F-E24C-99DF-897BA7D6C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4163" y="2351088"/>
              <a:ext cx="31750" cy="52387"/>
            </a:xfrm>
            <a:custGeom>
              <a:avLst/>
              <a:gdLst>
                <a:gd name="T0" fmla="*/ 79 w 86"/>
                <a:gd name="T1" fmla="*/ 37 h 144"/>
                <a:gd name="T2" fmla="*/ 50 w 86"/>
                <a:gd name="T3" fmla="*/ 29 h 144"/>
                <a:gd name="T4" fmla="*/ 37 w 86"/>
                <a:gd name="T5" fmla="*/ 40 h 144"/>
                <a:gd name="T6" fmla="*/ 61 w 86"/>
                <a:gd name="T7" fmla="*/ 61 h 144"/>
                <a:gd name="T8" fmla="*/ 85 w 86"/>
                <a:gd name="T9" fmla="*/ 100 h 144"/>
                <a:gd name="T10" fmla="*/ 40 w 86"/>
                <a:gd name="T11" fmla="*/ 143 h 144"/>
                <a:gd name="T12" fmla="*/ 0 w 86"/>
                <a:gd name="T13" fmla="*/ 135 h 144"/>
                <a:gd name="T14" fmla="*/ 0 w 86"/>
                <a:gd name="T15" fmla="*/ 103 h 144"/>
                <a:gd name="T16" fmla="*/ 29 w 86"/>
                <a:gd name="T17" fmla="*/ 114 h 144"/>
                <a:gd name="T18" fmla="*/ 47 w 86"/>
                <a:gd name="T19" fmla="*/ 100 h 144"/>
                <a:gd name="T20" fmla="*/ 24 w 86"/>
                <a:gd name="T21" fmla="*/ 85 h 144"/>
                <a:gd name="T22" fmla="*/ 0 w 86"/>
                <a:gd name="T23" fmla="*/ 42 h 144"/>
                <a:gd name="T24" fmla="*/ 45 w 86"/>
                <a:gd name="T25" fmla="*/ 0 h 144"/>
                <a:gd name="T26" fmla="*/ 79 w 86"/>
                <a:gd name="T27" fmla="*/ 5 h 144"/>
                <a:gd name="T28" fmla="*/ 79 w 86"/>
                <a:gd name="T29" fmla="*/ 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44">
                  <a:moveTo>
                    <a:pt x="79" y="37"/>
                  </a:moveTo>
                  <a:cubicBezTo>
                    <a:pt x="69" y="32"/>
                    <a:pt x="61" y="29"/>
                    <a:pt x="50" y="29"/>
                  </a:cubicBezTo>
                  <a:cubicBezTo>
                    <a:pt x="40" y="29"/>
                    <a:pt x="37" y="34"/>
                    <a:pt x="37" y="40"/>
                  </a:cubicBezTo>
                  <a:cubicBezTo>
                    <a:pt x="37" y="47"/>
                    <a:pt x="42" y="50"/>
                    <a:pt x="61" y="61"/>
                  </a:cubicBezTo>
                  <a:cubicBezTo>
                    <a:pt x="74" y="66"/>
                    <a:pt x="85" y="74"/>
                    <a:pt x="85" y="100"/>
                  </a:cubicBezTo>
                  <a:cubicBezTo>
                    <a:pt x="85" y="132"/>
                    <a:pt x="63" y="143"/>
                    <a:pt x="40" y="143"/>
                  </a:cubicBezTo>
                  <a:cubicBezTo>
                    <a:pt x="29" y="143"/>
                    <a:pt x="13" y="140"/>
                    <a:pt x="0" y="135"/>
                  </a:cubicBezTo>
                  <a:lnTo>
                    <a:pt x="0" y="103"/>
                  </a:lnTo>
                  <a:cubicBezTo>
                    <a:pt x="8" y="108"/>
                    <a:pt x="18" y="114"/>
                    <a:pt x="29" y="114"/>
                  </a:cubicBezTo>
                  <a:cubicBezTo>
                    <a:pt x="45" y="114"/>
                    <a:pt x="47" y="105"/>
                    <a:pt x="47" y="100"/>
                  </a:cubicBezTo>
                  <a:cubicBezTo>
                    <a:pt x="47" y="94"/>
                    <a:pt x="37" y="92"/>
                    <a:pt x="24" y="85"/>
                  </a:cubicBezTo>
                  <a:cubicBezTo>
                    <a:pt x="10" y="79"/>
                    <a:pt x="0" y="66"/>
                    <a:pt x="0" y="42"/>
                  </a:cubicBezTo>
                  <a:cubicBezTo>
                    <a:pt x="0" y="26"/>
                    <a:pt x="8" y="0"/>
                    <a:pt x="45" y="0"/>
                  </a:cubicBezTo>
                  <a:cubicBezTo>
                    <a:pt x="61" y="0"/>
                    <a:pt x="71" y="2"/>
                    <a:pt x="79" y="5"/>
                  </a:cubicBezTo>
                  <a:lnTo>
                    <a:pt x="79" y="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68DB6DA-C7D9-BD48-AE58-08E2D35E5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775" y="2298700"/>
              <a:ext cx="612775" cy="7938"/>
            </a:xfrm>
            <a:custGeom>
              <a:avLst/>
              <a:gdLst>
                <a:gd name="T0" fmla="*/ 851 w 1703"/>
                <a:gd name="T1" fmla="*/ 19 h 20"/>
                <a:gd name="T2" fmla="*/ 0 w 1703"/>
                <a:gd name="T3" fmla="*/ 19 h 20"/>
                <a:gd name="T4" fmla="*/ 0 w 1703"/>
                <a:gd name="T5" fmla="*/ 0 h 20"/>
                <a:gd name="T6" fmla="*/ 1702 w 1703"/>
                <a:gd name="T7" fmla="*/ 0 h 20"/>
                <a:gd name="T8" fmla="*/ 1702 w 1703"/>
                <a:gd name="T9" fmla="*/ 19 h 20"/>
                <a:gd name="T10" fmla="*/ 851 w 1703"/>
                <a:gd name="T1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3" h="20">
                  <a:moveTo>
                    <a:pt x="851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1702" y="0"/>
                  </a:lnTo>
                  <a:lnTo>
                    <a:pt x="1702" y="19"/>
                  </a:lnTo>
                  <a:lnTo>
                    <a:pt x="851" y="1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EA3595E-4AA7-814A-BAF5-653AB38E2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8" y="2371725"/>
              <a:ext cx="17462" cy="31750"/>
            </a:xfrm>
            <a:custGeom>
              <a:avLst/>
              <a:gdLst>
                <a:gd name="T0" fmla="*/ 3 w 49"/>
                <a:gd name="T1" fmla="*/ 0 h 89"/>
                <a:gd name="T2" fmla="*/ 24 w 49"/>
                <a:gd name="T3" fmla="*/ 0 h 89"/>
                <a:gd name="T4" fmla="*/ 45 w 49"/>
                <a:gd name="T5" fmla="*/ 22 h 89"/>
                <a:gd name="T6" fmla="*/ 32 w 49"/>
                <a:gd name="T7" fmla="*/ 43 h 89"/>
                <a:gd name="T8" fmla="*/ 32 w 49"/>
                <a:gd name="T9" fmla="*/ 43 h 89"/>
                <a:gd name="T10" fmla="*/ 40 w 49"/>
                <a:gd name="T11" fmla="*/ 53 h 89"/>
                <a:gd name="T12" fmla="*/ 48 w 49"/>
                <a:gd name="T13" fmla="*/ 85 h 89"/>
                <a:gd name="T14" fmla="*/ 35 w 49"/>
                <a:gd name="T15" fmla="*/ 85 h 89"/>
                <a:gd name="T16" fmla="*/ 27 w 49"/>
                <a:gd name="T17" fmla="*/ 59 h 89"/>
                <a:gd name="T18" fmla="*/ 16 w 49"/>
                <a:gd name="T19" fmla="*/ 51 h 89"/>
                <a:gd name="T20" fmla="*/ 14 w 49"/>
                <a:gd name="T21" fmla="*/ 51 h 89"/>
                <a:gd name="T22" fmla="*/ 14 w 49"/>
                <a:gd name="T23" fmla="*/ 88 h 89"/>
                <a:gd name="T24" fmla="*/ 0 w 49"/>
                <a:gd name="T25" fmla="*/ 88 h 89"/>
                <a:gd name="T26" fmla="*/ 3 w 49"/>
                <a:gd name="T27" fmla="*/ 0 h 89"/>
                <a:gd name="T28" fmla="*/ 22 w 49"/>
                <a:gd name="T29" fmla="*/ 37 h 89"/>
                <a:gd name="T30" fmla="*/ 32 w 49"/>
                <a:gd name="T31" fmla="*/ 24 h 89"/>
                <a:gd name="T32" fmla="*/ 22 w 49"/>
                <a:gd name="T33" fmla="*/ 11 h 89"/>
                <a:gd name="T34" fmla="*/ 16 w 49"/>
                <a:gd name="T35" fmla="*/ 11 h 89"/>
                <a:gd name="T36" fmla="*/ 16 w 49"/>
                <a:gd name="T37" fmla="*/ 35 h 89"/>
                <a:gd name="T38" fmla="*/ 22 w 49"/>
                <a:gd name="T39" fmla="*/ 35 h 89"/>
                <a:gd name="T40" fmla="*/ 22 w 49"/>
                <a:gd name="T41" fmla="*/ 3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89">
                  <a:moveTo>
                    <a:pt x="3" y="0"/>
                  </a:moveTo>
                  <a:lnTo>
                    <a:pt x="24" y="0"/>
                  </a:lnTo>
                  <a:cubicBezTo>
                    <a:pt x="37" y="0"/>
                    <a:pt x="45" y="8"/>
                    <a:pt x="45" y="22"/>
                  </a:cubicBezTo>
                  <a:cubicBezTo>
                    <a:pt x="45" y="32"/>
                    <a:pt x="40" y="40"/>
                    <a:pt x="32" y="43"/>
                  </a:cubicBezTo>
                  <a:lnTo>
                    <a:pt x="32" y="43"/>
                  </a:lnTo>
                  <a:cubicBezTo>
                    <a:pt x="35" y="43"/>
                    <a:pt x="37" y="45"/>
                    <a:pt x="40" y="53"/>
                  </a:cubicBezTo>
                  <a:lnTo>
                    <a:pt x="48" y="85"/>
                  </a:lnTo>
                  <a:lnTo>
                    <a:pt x="35" y="85"/>
                  </a:lnTo>
                  <a:lnTo>
                    <a:pt x="27" y="59"/>
                  </a:lnTo>
                  <a:cubicBezTo>
                    <a:pt x="24" y="51"/>
                    <a:pt x="22" y="51"/>
                    <a:pt x="16" y="51"/>
                  </a:cubicBezTo>
                  <a:lnTo>
                    <a:pt x="14" y="51"/>
                  </a:lnTo>
                  <a:lnTo>
                    <a:pt x="14" y="88"/>
                  </a:lnTo>
                  <a:lnTo>
                    <a:pt x="0" y="88"/>
                  </a:lnTo>
                  <a:lnTo>
                    <a:pt x="3" y="0"/>
                  </a:lnTo>
                  <a:close/>
                  <a:moveTo>
                    <a:pt x="22" y="37"/>
                  </a:moveTo>
                  <a:cubicBezTo>
                    <a:pt x="30" y="37"/>
                    <a:pt x="32" y="32"/>
                    <a:pt x="32" y="24"/>
                  </a:cubicBezTo>
                  <a:cubicBezTo>
                    <a:pt x="32" y="14"/>
                    <a:pt x="27" y="11"/>
                    <a:pt x="22" y="11"/>
                  </a:cubicBezTo>
                  <a:lnTo>
                    <a:pt x="16" y="11"/>
                  </a:lnTo>
                  <a:lnTo>
                    <a:pt x="16" y="35"/>
                  </a:lnTo>
                  <a:lnTo>
                    <a:pt x="22" y="35"/>
                  </a:lnTo>
                  <a:lnTo>
                    <a:pt x="22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8633D0B-256D-4141-804A-11E8FAC3F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6938" y="2371725"/>
              <a:ext cx="14287" cy="31750"/>
            </a:xfrm>
            <a:custGeom>
              <a:avLst/>
              <a:gdLst>
                <a:gd name="T0" fmla="*/ 0 w 38"/>
                <a:gd name="T1" fmla="*/ 0 h 86"/>
                <a:gd name="T2" fmla="*/ 35 w 38"/>
                <a:gd name="T3" fmla="*/ 0 h 86"/>
                <a:gd name="T4" fmla="*/ 35 w 38"/>
                <a:gd name="T5" fmla="*/ 14 h 86"/>
                <a:gd name="T6" fmla="*/ 14 w 38"/>
                <a:gd name="T7" fmla="*/ 14 h 86"/>
                <a:gd name="T8" fmla="*/ 14 w 38"/>
                <a:gd name="T9" fmla="*/ 35 h 86"/>
                <a:gd name="T10" fmla="*/ 35 w 38"/>
                <a:gd name="T11" fmla="*/ 35 h 86"/>
                <a:gd name="T12" fmla="*/ 35 w 38"/>
                <a:gd name="T13" fmla="*/ 48 h 86"/>
                <a:gd name="T14" fmla="*/ 14 w 38"/>
                <a:gd name="T15" fmla="*/ 48 h 86"/>
                <a:gd name="T16" fmla="*/ 14 w 38"/>
                <a:gd name="T17" fmla="*/ 72 h 86"/>
                <a:gd name="T18" fmla="*/ 37 w 38"/>
                <a:gd name="T19" fmla="*/ 72 h 86"/>
                <a:gd name="T20" fmla="*/ 37 w 38"/>
                <a:gd name="T21" fmla="*/ 85 h 86"/>
                <a:gd name="T22" fmla="*/ 0 w 38"/>
                <a:gd name="T23" fmla="*/ 85 h 86"/>
                <a:gd name="T24" fmla="*/ 0 w 3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5" y="0"/>
                  </a:lnTo>
                  <a:lnTo>
                    <a:pt x="35" y="14"/>
                  </a:lnTo>
                  <a:lnTo>
                    <a:pt x="14" y="14"/>
                  </a:lnTo>
                  <a:lnTo>
                    <a:pt x="14" y="35"/>
                  </a:lnTo>
                  <a:lnTo>
                    <a:pt x="35" y="35"/>
                  </a:lnTo>
                  <a:lnTo>
                    <a:pt x="35" y="48"/>
                  </a:lnTo>
                  <a:lnTo>
                    <a:pt x="14" y="48"/>
                  </a:lnTo>
                  <a:lnTo>
                    <a:pt x="14" y="72"/>
                  </a:lnTo>
                  <a:lnTo>
                    <a:pt x="37" y="72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0546542C-4FB3-3349-8B0D-A1275ACBA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1225" y="2373313"/>
              <a:ext cx="19050" cy="31750"/>
            </a:xfrm>
            <a:custGeom>
              <a:avLst/>
              <a:gdLst>
                <a:gd name="T0" fmla="*/ 32 w 54"/>
                <a:gd name="T1" fmla="*/ 34 h 86"/>
                <a:gd name="T2" fmla="*/ 53 w 54"/>
                <a:gd name="T3" fmla="*/ 34 h 86"/>
                <a:gd name="T4" fmla="*/ 53 w 54"/>
                <a:gd name="T5" fmla="*/ 79 h 86"/>
                <a:gd name="T6" fmla="*/ 35 w 54"/>
                <a:gd name="T7" fmla="*/ 85 h 86"/>
                <a:gd name="T8" fmla="*/ 0 w 54"/>
                <a:gd name="T9" fmla="*/ 42 h 86"/>
                <a:gd name="T10" fmla="*/ 35 w 54"/>
                <a:gd name="T11" fmla="*/ 0 h 86"/>
                <a:gd name="T12" fmla="*/ 50 w 54"/>
                <a:gd name="T13" fmla="*/ 3 h 86"/>
                <a:gd name="T14" fmla="*/ 50 w 54"/>
                <a:gd name="T15" fmla="*/ 16 h 86"/>
                <a:gd name="T16" fmla="*/ 35 w 54"/>
                <a:gd name="T17" fmla="*/ 11 h 86"/>
                <a:gd name="T18" fmla="*/ 13 w 54"/>
                <a:gd name="T19" fmla="*/ 42 h 86"/>
                <a:gd name="T20" fmla="*/ 32 w 54"/>
                <a:gd name="T21" fmla="*/ 74 h 86"/>
                <a:gd name="T22" fmla="*/ 40 w 54"/>
                <a:gd name="T23" fmla="*/ 72 h 86"/>
                <a:gd name="T24" fmla="*/ 40 w 54"/>
                <a:gd name="T25" fmla="*/ 48 h 86"/>
                <a:gd name="T26" fmla="*/ 29 w 54"/>
                <a:gd name="T27" fmla="*/ 48 h 86"/>
                <a:gd name="T28" fmla="*/ 32 w 54"/>
                <a:gd name="T29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86">
                  <a:moveTo>
                    <a:pt x="32" y="34"/>
                  </a:moveTo>
                  <a:lnTo>
                    <a:pt x="53" y="34"/>
                  </a:lnTo>
                  <a:lnTo>
                    <a:pt x="53" y="79"/>
                  </a:lnTo>
                  <a:cubicBezTo>
                    <a:pt x="50" y="82"/>
                    <a:pt x="42" y="85"/>
                    <a:pt x="35" y="85"/>
                  </a:cubicBezTo>
                  <a:cubicBezTo>
                    <a:pt x="13" y="85"/>
                    <a:pt x="0" y="66"/>
                    <a:pt x="0" y="42"/>
                  </a:cubicBezTo>
                  <a:cubicBezTo>
                    <a:pt x="0" y="16"/>
                    <a:pt x="11" y="0"/>
                    <a:pt x="35" y="0"/>
                  </a:cubicBezTo>
                  <a:cubicBezTo>
                    <a:pt x="42" y="0"/>
                    <a:pt x="48" y="3"/>
                    <a:pt x="50" y="3"/>
                  </a:cubicBezTo>
                  <a:lnTo>
                    <a:pt x="50" y="16"/>
                  </a:lnTo>
                  <a:cubicBezTo>
                    <a:pt x="45" y="13"/>
                    <a:pt x="40" y="11"/>
                    <a:pt x="35" y="11"/>
                  </a:cubicBezTo>
                  <a:cubicBezTo>
                    <a:pt x="21" y="11"/>
                    <a:pt x="13" y="23"/>
                    <a:pt x="13" y="42"/>
                  </a:cubicBezTo>
                  <a:cubicBezTo>
                    <a:pt x="13" y="60"/>
                    <a:pt x="21" y="74"/>
                    <a:pt x="32" y="74"/>
                  </a:cubicBezTo>
                  <a:cubicBezTo>
                    <a:pt x="35" y="74"/>
                    <a:pt x="37" y="74"/>
                    <a:pt x="40" y="72"/>
                  </a:cubicBezTo>
                  <a:lnTo>
                    <a:pt x="40" y="48"/>
                  </a:lnTo>
                  <a:lnTo>
                    <a:pt x="29" y="48"/>
                  </a:lnTo>
                  <a:lnTo>
                    <a:pt x="32" y="3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3911898D-78F9-5940-A402-7972E83BD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5038" y="2371725"/>
              <a:ext cx="4762" cy="31750"/>
            </a:xfrm>
            <a:custGeom>
              <a:avLst/>
              <a:gdLst>
                <a:gd name="T0" fmla="*/ 6 w 14"/>
                <a:gd name="T1" fmla="*/ 85 h 86"/>
                <a:gd name="T2" fmla="*/ 0 w 14"/>
                <a:gd name="T3" fmla="*/ 85 h 86"/>
                <a:gd name="T4" fmla="*/ 0 w 14"/>
                <a:gd name="T5" fmla="*/ 0 h 86"/>
                <a:gd name="T6" fmla="*/ 13 w 14"/>
                <a:gd name="T7" fmla="*/ 0 h 86"/>
                <a:gd name="T8" fmla="*/ 13 w 14"/>
                <a:gd name="T9" fmla="*/ 85 h 86"/>
                <a:gd name="T10" fmla="*/ 6 w 14"/>
                <a:gd name="T11" fmla="*/ 8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6">
                  <a:moveTo>
                    <a:pt x="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6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4E7C5C36-B5CE-5148-B2D8-59E044FB2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1388" y="2371725"/>
              <a:ext cx="19050" cy="31750"/>
            </a:xfrm>
            <a:custGeom>
              <a:avLst/>
              <a:gdLst>
                <a:gd name="T0" fmla="*/ 53 w 54"/>
                <a:gd name="T1" fmla="*/ 43 h 86"/>
                <a:gd name="T2" fmla="*/ 27 w 54"/>
                <a:gd name="T3" fmla="*/ 85 h 86"/>
                <a:gd name="T4" fmla="*/ 0 w 54"/>
                <a:gd name="T5" fmla="*/ 43 h 86"/>
                <a:gd name="T6" fmla="*/ 27 w 54"/>
                <a:gd name="T7" fmla="*/ 0 h 86"/>
                <a:gd name="T8" fmla="*/ 53 w 54"/>
                <a:gd name="T9" fmla="*/ 43 h 86"/>
                <a:gd name="T10" fmla="*/ 40 w 54"/>
                <a:gd name="T11" fmla="*/ 43 h 86"/>
                <a:gd name="T12" fmla="*/ 27 w 54"/>
                <a:gd name="T13" fmla="*/ 11 h 86"/>
                <a:gd name="T14" fmla="*/ 13 w 54"/>
                <a:gd name="T15" fmla="*/ 43 h 86"/>
                <a:gd name="T16" fmla="*/ 27 w 54"/>
                <a:gd name="T17" fmla="*/ 75 h 86"/>
                <a:gd name="T18" fmla="*/ 40 w 54"/>
                <a:gd name="T19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86">
                  <a:moveTo>
                    <a:pt x="53" y="43"/>
                  </a:moveTo>
                  <a:cubicBezTo>
                    <a:pt x="53" y="75"/>
                    <a:pt x="41" y="85"/>
                    <a:pt x="27" y="85"/>
                  </a:cubicBezTo>
                  <a:cubicBezTo>
                    <a:pt x="14" y="85"/>
                    <a:pt x="0" y="72"/>
                    <a:pt x="0" y="43"/>
                  </a:cubicBezTo>
                  <a:cubicBezTo>
                    <a:pt x="0" y="14"/>
                    <a:pt x="14" y="0"/>
                    <a:pt x="27" y="0"/>
                  </a:cubicBezTo>
                  <a:cubicBezTo>
                    <a:pt x="41" y="0"/>
                    <a:pt x="53" y="14"/>
                    <a:pt x="53" y="43"/>
                  </a:cubicBezTo>
                  <a:close/>
                  <a:moveTo>
                    <a:pt x="40" y="43"/>
                  </a:moveTo>
                  <a:cubicBezTo>
                    <a:pt x="40" y="19"/>
                    <a:pt x="35" y="11"/>
                    <a:pt x="27" y="11"/>
                  </a:cubicBezTo>
                  <a:cubicBezTo>
                    <a:pt x="19" y="11"/>
                    <a:pt x="13" y="19"/>
                    <a:pt x="13" y="43"/>
                  </a:cubicBezTo>
                  <a:cubicBezTo>
                    <a:pt x="13" y="67"/>
                    <a:pt x="19" y="75"/>
                    <a:pt x="27" y="75"/>
                  </a:cubicBezTo>
                  <a:cubicBezTo>
                    <a:pt x="35" y="75"/>
                    <a:pt x="40" y="67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141E08A9-72CC-304E-A7E7-1B6406AED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3613" y="2371725"/>
              <a:ext cx="19050" cy="31750"/>
            </a:xfrm>
            <a:custGeom>
              <a:avLst/>
              <a:gdLst>
                <a:gd name="T0" fmla="*/ 0 w 51"/>
                <a:gd name="T1" fmla="*/ 0 h 86"/>
                <a:gd name="T2" fmla="*/ 16 w 51"/>
                <a:gd name="T3" fmla="*/ 0 h 86"/>
                <a:gd name="T4" fmla="*/ 37 w 51"/>
                <a:gd name="T5" fmla="*/ 67 h 86"/>
                <a:gd name="T6" fmla="*/ 37 w 51"/>
                <a:gd name="T7" fmla="*/ 67 h 86"/>
                <a:gd name="T8" fmla="*/ 37 w 51"/>
                <a:gd name="T9" fmla="*/ 0 h 86"/>
                <a:gd name="T10" fmla="*/ 50 w 51"/>
                <a:gd name="T11" fmla="*/ 0 h 86"/>
                <a:gd name="T12" fmla="*/ 50 w 51"/>
                <a:gd name="T13" fmla="*/ 85 h 86"/>
                <a:gd name="T14" fmla="*/ 35 w 51"/>
                <a:gd name="T15" fmla="*/ 85 h 86"/>
                <a:gd name="T16" fmla="*/ 13 w 51"/>
                <a:gd name="T17" fmla="*/ 19 h 86"/>
                <a:gd name="T18" fmla="*/ 11 w 51"/>
                <a:gd name="T19" fmla="*/ 19 h 86"/>
                <a:gd name="T20" fmla="*/ 11 w 51"/>
                <a:gd name="T21" fmla="*/ 85 h 86"/>
                <a:gd name="T22" fmla="*/ 0 w 51"/>
                <a:gd name="T23" fmla="*/ 85 h 86"/>
                <a:gd name="T24" fmla="*/ 0 w 51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86">
                  <a:moveTo>
                    <a:pt x="0" y="0"/>
                  </a:moveTo>
                  <a:lnTo>
                    <a:pt x="16" y="0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0"/>
                  </a:lnTo>
                  <a:lnTo>
                    <a:pt x="50" y="0"/>
                  </a:lnTo>
                  <a:lnTo>
                    <a:pt x="50" y="85"/>
                  </a:lnTo>
                  <a:lnTo>
                    <a:pt x="35" y="85"/>
                  </a:lnTo>
                  <a:lnTo>
                    <a:pt x="13" y="19"/>
                  </a:lnTo>
                  <a:lnTo>
                    <a:pt x="11" y="19"/>
                  </a:lnTo>
                  <a:lnTo>
                    <a:pt x="11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41A6CCAC-3593-7543-A6FA-4B71EFE28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1075" y="2371725"/>
              <a:ext cx="22225" cy="31750"/>
            </a:xfrm>
            <a:custGeom>
              <a:avLst/>
              <a:gdLst>
                <a:gd name="T0" fmla="*/ 43 w 60"/>
                <a:gd name="T1" fmla="*/ 64 h 86"/>
                <a:gd name="T2" fmla="*/ 19 w 60"/>
                <a:gd name="T3" fmla="*/ 64 h 86"/>
                <a:gd name="T4" fmla="*/ 14 w 60"/>
                <a:gd name="T5" fmla="*/ 85 h 86"/>
                <a:gd name="T6" fmla="*/ 0 w 60"/>
                <a:gd name="T7" fmla="*/ 85 h 86"/>
                <a:gd name="T8" fmla="*/ 24 w 60"/>
                <a:gd name="T9" fmla="*/ 0 h 86"/>
                <a:gd name="T10" fmla="*/ 37 w 60"/>
                <a:gd name="T11" fmla="*/ 0 h 86"/>
                <a:gd name="T12" fmla="*/ 59 w 60"/>
                <a:gd name="T13" fmla="*/ 85 h 86"/>
                <a:gd name="T14" fmla="*/ 45 w 60"/>
                <a:gd name="T15" fmla="*/ 85 h 86"/>
                <a:gd name="T16" fmla="*/ 43 w 60"/>
                <a:gd name="T17" fmla="*/ 64 h 86"/>
                <a:gd name="T18" fmla="*/ 40 w 60"/>
                <a:gd name="T19" fmla="*/ 53 h 86"/>
                <a:gd name="T20" fmla="*/ 32 w 60"/>
                <a:gd name="T21" fmla="*/ 14 h 86"/>
                <a:gd name="T22" fmla="*/ 32 w 60"/>
                <a:gd name="T23" fmla="*/ 14 h 86"/>
                <a:gd name="T24" fmla="*/ 22 w 60"/>
                <a:gd name="T25" fmla="*/ 53 h 86"/>
                <a:gd name="T26" fmla="*/ 40 w 60"/>
                <a:gd name="T27" fmla="*/ 5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6">
                  <a:moveTo>
                    <a:pt x="43" y="64"/>
                  </a:moveTo>
                  <a:lnTo>
                    <a:pt x="19" y="64"/>
                  </a:lnTo>
                  <a:lnTo>
                    <a:pt x="14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9" y="85"/>
                  </a:lnTo>
                  <a:lnTo>
                    <a:pt x="45" y="85"/>
                  </a:lnTo>
                  <a:lnTo>
                    <a:pt x="43" y="64"/>
                  </a:lnTo>
                  <a:close/>
                  <a:moveTo>
                    <a:pt x="40" y="53"/>
                  </a:moveTo>
                  <a:lnTo>
                    <a:pt x="32" y="14"/>
                  </a:lnTo>
                  <a:lnTo>
                    <a:pt x="32" y="14"/>
                  </a:lnTo>
                  <a:lnTo>
                    <a:pt x="22" y="53"/>
                  </a:lnTo>
                  <a:lnTo>
                    <a:pt x="40" y="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F6B8F1BC-427F-7D49-9D31-2B32A6934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888" y="237172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13 w 35"/>
                <a:gd name="T3" fmla="*/ 0 h 86"/>
                <a:gd name="T4" fmla="*/ 13 w 35"/>
                <a:gd name="T5" fmla="*/ 72 h 86"/>
                <a:gd name="T6" fmla="*/ 34 w 35"/>
                <a:gd name="T7" fmla="*/ 72 h 86"/>
                <a:gd name="T8" fmla="*/ 34 w 35"/>
                <a:gd name="T9" fmla="*/ 85 h 86"/>
                <a:gd name="T10" fmla="*/ 0 w 35"/>
                <a:gd name="T11" fmla="*/ 85 h 86"/>
                <a:gd name="T12" fmla="*/ 0 w 35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13" y="0"/>
                  </a:lnTo>
                  <a:lnTo>
                    <a:pt x="13" y="72"/>
                  </a:lnTo>
                  <a:lnTo>
                    <a:pt x="34" y="72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93F7AB70-DFA2-F44B-9F0E-5D2F83977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3938" y="2371725"/>
              <a:ext cx="20637" cy="31750"/>
            </a:xfrm>
            <a:custGeom>
              <a:avLst/>
              <a:gdLst>
                <a:gd name="T0" fmla="*/ 55 w 56"/>
                <a:gd name="T1" fmla="*/ 43 h 86"/>
                <a:gd name="T2" fmla="*/ 29 w 56"/>
                <a:gd name="T3" fmla="*/ 85 h 86"/>
                <a:gd name="T4" fmla="*/ 2 w 56"/>
                <a:gd name="T5" fmla="*/ 43 h 86"/>
                <a:gd name="T6" fmla="*/ 29 w 56"/>
                <a:gd name="T7" fmla="*/ 0 h 86"/>
                <a:gd name="T8" fmla="*/ 55 w 56"/>
                <a:gd name="T9" fmla="*/ 43 h 86"/>
                <a:gd name="T10" fmla="*/ 42 w 56"/>
                <a:gd name="T11" fmla="*/ 43 h 86"/>
                <a:gd name="T12" fmla="*/ 29 w 56"/>
                <a:gd name="T13" fmla="*/ 11 h 86"/>
                <a:gd name="T14" fmla="*/ 15 w 56"/>
                <a:gd name="T15" fmla="*/ 43 h 86"/>
                <a:gd name="T16" fmla="*/ 29 w 56"/>
                <a:gd name="T17" fmla="*/ 75 h 86"/>
                <a:gd name="T18" fmla="*/ 42 w 56"/>
                <a:gd name="T19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86">
                  <a:moveTo>
                    <a:pt x="55" y="43"/>
                  </a:moveTo>
                  <a:cubicBezTo>
                    <a:pt x="55" y="75"/>
                    <a:pt x="43" y="85"/>
                    <a:pt x="29" y="85"/>
                  </a:cubicBezTo>
                  <a:cubicBezTo>
                    <a:pt x="16" y="85"/>
                    <a:pt x="2" y="72"/>
                    <a:pt x="2" y="43"/>
                  </a:cubicBezTo>
                  <a:cubicBezTo>
                    <a:pt x="0" y="14"/>
                    <a:pt x="13" y="0"/>
                    <a:pt x="29" y="0"/>
                  </a:cubicBezTo>
                  <a:cubicBezTo>
                    <a:pt x="42" y="0"/>
                    <a:pt x="55" y="14"/>
                    <a:pt x="55" y="43"/>
                  </a:cubicBezTo>
                  <a:close/>
                  <a:moveTo>
                    <a:pt x="42" y="43"/>
                  </a:moveTo>
                  <a:cubicBezTo>
                    <a:pt x="42" y="19"/>
                    <a:pt x="37" y="11"/>
                    <a:pt x="29" y="11"/>
                  </a:cubicBezTo>
                  <a:cubicBezTo>
                    <a:pt x="21" y="11"/>
                    <a:pt x="15" y="19"/>
                    <a:pt x="15" y="43"/>
                  </a:cubicBezTo>
                  <a:cubicBezTo>
                    <a:pt x="13" y="67"/>
                    <a:pt x="21" y="75"/>
                    <a:pt x="29" y="75"/>
                  </a:cubicBezTo>
                  <a:cubicBezTo>
                    <a:pt x="37" y="75"/>
                    <a:pt x="42" y="67"/>
                    <a:pt x="42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6FF47D33-0D7B-2146-A8BF-7A17E7EEF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163" y="2371725"/>
              <a:ext cx="14287" cy="31750"/>
            </a:xfrm>
            <a:custGeom>
              <a:avLst/>
              <a:gdLst>
                <a:gd name="T0" fmla="*/ 0 w 39"/>
                <a:gd name="T1" fmla="*/ 0 h 86"/>
                <a:gd name="T2" fmla="*/ 38 w 39"/>
                <a:gd name="T3" fmla="*/ 0 h 86"/>
                <a:gd name="T4" fmla="*/ 38 w 39"/>
                <a:gd name="T5" fmla="*/ 14 h 86"/>
                <a:gd name="T6" fmla="*/ 14 w 39"/>
                <a:gd name="T7" fmla="*/ 14 h 86"/>
                <a:gd name="T8" fmla="*/ 14 w 39"/>
                <a:gd name="T9" fmla="*/ 37 h 86"/>
                <a:gd name="T10" fmla="*/ 35 w 39"/>
                <a:gd name="T11" fmla="*/ 37 h 86"/>
                <a:gd name="T12" fmla="*/ 35 w 39"/>
                <a:gd name="T13" fmla="*/ 48 h 86"/>
                <a:gd name="T14" fmla="*/ 14 w 39"/>
                <a:gd name="T15" fmla="*/ 48 h 86"/>
                <a:gd name="T16" fmla="*/ 14 w 39"/>
                <a:gd name="T17" fmla="*/ 85 h 86"/>
                <a:gd name="T18" fmla="*/ 0 w 39"/>
                <a:gd name="T19" fmla="*/ 85 h 86"/>
                <a:gd name="T20" fmla="*/ 0 w 39"/>
                <a:gd name="T2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86">
                  <a:moveTo>
                    <a:pt x="0" y="0"/>
                  </a:moveTo>
                  <a:lnTo>
                    <a:pt x="38" y="0"/>
                  </a:lnTo>
                  <a:lnTo>
                    <a:pt x="38" y="14"/>
                  </a:lnTo>
                  <a:lnTo>
                    <a:pt x="14" y="14"/>
                  </a:lnTo>
                  <a:lnTo>
                    <a:pt x="14" y="37"/>
                  </a:lnTo>
                  <a:lnTo>
                    <a:pt x="35" y="37"/>
                  </a:lnTo>
                  <a:lnTo>
                    <a:pt x="35" y="48"/>
                  </a:lnTo>
                  <a:lnTo>
                    <a:pt x="14" y="48"/>
                  </a:lnTo>
                  <a:lnTo>
                    <a:pt x="1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89CC4B84-079A-CB46-B06B-FD1361DDF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2038" y="237172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34 w 35"/>
                <a:gd name="T3" fmla="*/ 0 h 86"/>
                <a:gd name="T4" fmla="*/ 34 w 35"/>
                <a:gd name="T5" fmla="*/ 14 h 86"/>
                <a:gd name="T6" fmla="*/ 13 w 35"/>
                <a:gd name="T7" fmla="*/ 14 h 86"/>
                <a:gd name="T8" fmla="*/ 13 w 35"/>
                <a:gd name="T9" fmla="*/ 37 h 86"/>
                <a:gd name="T10" fmla="*/ 32 w 35"/>
                <a:gd name="T11" fmla="*/ 37 h 86"/>
                <a:gd name="T12" fmla="*/ 32 w 35"/>
                <a:gd name="T13" fmla="*/ 48 h 86"/>
                <a:gd name="T14" fmla="*/ 13 w 35"/>
                <a:gd name="T15" fmla="*/ 48 h 86"/>
                <a:gd name="T16" fmla="*/ 13 w 35"/>
                <a:gd name="T17" fmla="*/ 85 h 86"/>
                <a:gd name="T18" fmla="*/ 0 w 35"/>
                <a:gd name="T19" fmla="*/ 85 h 86"/>
                <a:gd name="T20" fmla="*/ 0 w 35"/>
                <a:gd name="T2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34" y="0"/>
                  </a:lnTo>
                  <a:lnTo>
                    <a:pt x="34" y="14"/>
                  </a:lnTo>
                  <a:lnTo>
                    <a:pt x="13" y="14"/>
                  </a:lnTo>
                  <a:lnTo>
                    <a:pt x="13" y="37"/>
                  </a:lnTo>
                  <a:lnTo>
                    <a:pt x="32" y="37"/>
                  </a:lnTo>
                  <a:lnTo>
                    <a:pt x="32" y="48"/>
                  </a:lnTo>
                  <a:lnTo>
                    <a:pt x="13" y="48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5D877D2C-A89E-5E4E-9B98-5DD6AE084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6325" y="2371725"/>
              <a:ext cx="4763" cy="31750"/>
            </a:xfrm>
            <a:custGeom>
              <a:avLst/>
              <a:gdLst>
                <a:gd name="T0" fmla="*/ 6 w 14"/>
                <a:gd name="T1" fmla="*/ 85 h 86"/>
                <a:gd name="T2" fmla="*/ 0 w 14"/>
                <a:gd name="T3" fmla="*/ 85 h 86"/>
                <a:gd name="T4" fmla="*/ 0 w 14"/>
                <a:gd name="T5" fmla="*/ 0 h 86"/>
                <a:gd name="T6" fmla="*/ 13 w 14"/>
                <a:gd name="T7" fmla="*/ 0 h 86"/>
                <a:gd name="T8" fmla="*/ 13 w 14"/>
                <a:gd name="T9" fmla="*/ 85 h 86"/>
                <a:gd name="T10" fmla="*/ 6 w 14"/>
                <a:gd name="T11" fmla="*/ 8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6">
                  <a:moveTo>
                    <a:pt x="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6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7EE88D1E-EB5A-814D-BC60-EA57B635B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2675" y="2371725"/>
              <a:ext cx="17463" cy="31750"/>
            </a:xfrm>
            <a:custGeom>
              <a:avLst/>
              <a:gdLst>
                <a:gd name="T0" fmla="*/ 48 w 49"/>
                <a:gd name="T1" fmla="*/ 82 h 86"/>
                <a:gd name="T2" fmla="*/ 32 w 49"/>
                <a:gd name="T3" fmla="*/ 85 h 86"/>
                <a:gd name="T4" fmla="*/ 0 w 49"/>
                <a:gd name="T5" fmla="*/ 43 h 86"/>
                <a:gd name="T6" fmla="*/ 32 w 49"/>
                <a:gd name="T7" fmla="*/ 0 h 86"/>
                <a:gd name="T8" fmla="*/ 48 w 49"/>
                <a:gd name="T9" fmla="*/ 3 h 86"/>
                <a:gd name="T10" fmla="*/ 48 w 49"/>
                <a:gd name="T11" fmla="*/ 16 h 86"/>
                <a:gd name="T12" fmla="*/ 35 w 49"/>
                <a:gd name="T13" fmla="*/ 11 h 86"/>
                <a:gd name="T14" fmla="*/ 16 w 49"/>
                <a:gd name="T15" fmla="*/ 43 h 86"/>
                <a:gd name="T16" fmla="*/ 35 w 49"/>
                <a:gd name="T17" fmla="*/ 75 h 86"/>
                <a:gd name="T18" fmla="*/ 48 w 49"/>
                <a:gd name="T19" fmla="*/ 69 h 86"/>
                <a:gd name="T20" fmla="*/ 48 w 49"/>
                <a:gd name="T21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86">
                  <a:moveTo>
                    <a:pt x="48" y="82"/>
                  </a:moveTo>
                  <a:cubicBezTo>
                    <a:pt x="45" y="85"/>
                    <a:pt x="40" y="85"/>
                    <a:pt x="32" y="85"/>
                  </a:cubicBezTo>
                  <a:cubicBezTo>
                    <a:pt x="11" y="85"/>
                    <a:pt x="0" y="67"/>
                    <a:pt x="0" y="43"/>
                  </a:cubicBezTo>
                  <a:cubicBezTo>
                    <a:pt x="0" y="19"/>
                    <a:pt x="11" y="0"/>
                    <a:pt x="32" y="0"/>
                  </a:cubicBezTo>
                  <a:cubicBezTo>
                    <a:pt x="40" y="0"/>
                    <a:pt x="45" y="3"/>
                    <a:pt x="48" y="3"/>
                  </a:cubicBezTo>
                  <a:lnTo>
                    <a:pt x="48" y="16"/>
                  </a:lnTo>
                  <a:cubicBezTo>
                    <a:pt x="45" y="14"/>
                    <a:pt x="42" y="11"/>
                    <a:pt x="35" y="11"/>
                  </a:cubicBezTo>
                  <a:cubicBezTo>
                    <a:pt x="24" y="11"/>
                    <a:pt x="16" y="19"/>
                    <a:pt x="16" y="43"/>
                  </a:cubicBezTo>
                  <a:cubicBezTo>
                    <a:pt x="16" y="64"/>
                    <a:pt x="24" y="75"/>
                    <a:pt x="35" y="75"/>
                  </a:cubicBezTo>
                  <a:cubicBezTo>
                    <a:pt x="40" y="75"/>
                    <a:pt x="45" y="72"/>
                    <a:pt x="48" y="69"/>
                  </a:cubicBezTo>
                  <a:lnTo>
                    <a:pt x="48" y="8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66C0DA03-5EB6-F84D-9A09-95D255469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1725" y="2371725"/>
              <a:ext cx="14288" cy="31750"/>
            </a:xfrm>
            <a:custGeom>
              <a:avLst/>
              <a:gdLst>
                <a:gd name="T0" fmla="*/ 0 w 38"/>
                <a:gd name="T1" fmla="*/ 0 h 86"/>
                <a:gd name="T2" fmla="*/ 37 w 38"/>
                <a:gd name="T3" fmla="*/ 0 h 86"/>
                <a:gd name="T4" fmla="*/ 37 w 38"/>
                <a:gd name="T5" fmla="*/ 14 h 86"/>
                <a:gd name="T6" fmla="*/ 13 w 38"/>
                <a:gd name="T7" fmla="*/ 14 h 86"/>
                <a:gd name="T8" fmla="*/ 13 w 38"/>
                <a:gd name="T9" fmla="*/ 35 h 86"/>
                <a:gd name="T10" fmla="*/ 34 w 38"/>
                <a:gd name="T11" fmla="*/ 35 h 86"/>
                <a:gd name="T12" fmla="*/ 34 w 38"/>
                <a:gd name="T13" fmla="*/ 48 h 86"/>
                <a:gd name="T14" fmla="*/ 13 w 38"/>
                <a:gd name="T15" fmla="*/ 48 h 86"/>
                <a:gd name="T16" fmla="*/ 13 w 38"/>
                <a:gd name="T17" fmla="*/ 72 h 86"/>
                <a:gd name="T18" fmla="*/ 37 w 38"/>
                <a:gd name="T19" fmla="*/ 72 h 86"/>
                <a:gd name="T20" fmla="*/ 37 w 38"/>
                <a:gd name="T21" fmla="*/ 85 h 86"/>
                <a:gd name="T22" fmla="*/ 0 w 38"/>
                <a:gd name="T23" fmla="*/ 85 h 86"/>
                <a:gd name="T24" fmla="*/ 0 w 3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7" y="0"/>
                  </a:lnTo>
                  <a:lnTo>
                    <a:pt x="37" y="14"/>
                  </a:lnTo>
                  <a:lnTo>
                    <a:pt x="13" y="14"/>
                  </a:lnTo>
                  <a:lnTo>
                    <a:pt x="13" y="35"/>
                  </a:lnTo>
                  <a:lnTo>
                    <a:pt x="34" y="35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72"/>
                  </a:lnTo>
                  <a:lnTo>
                    <a:pt x="37" y="72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7C153ADE-2DB9-1247-9B89-7F1B9577D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5538" y="2371725"/>
              <a:ext cx="12700" cy="31750"/>
            </a:xfrm>
            <a:custGeom>
              <a:avLst/>
              <a:gdLst>
                <a:gd name="T0" fmla="*/ 0 w 36"/>
                <a:gd name="T1" fmla="*/ 0 h 86"/>
                <a:gd name="T2" fmla="*/ 35 w 36"/>
                <a:gd name="T3" fmla="*/ 0 h 86"/>
                <a:gd name="T4" fmla="*/ 35 w 36"/>
                <a:gd name="T5" fmla="*/ 14 h 86"/>
                <a:gd name="T6" fmla="*/ 11 w 36"/>
                <a:gd name="T7" fmla="*/ 14 h 86"/>
                <a:gd name="T8" fmla="*/ 11 w 36"/>
                <a:gd name="T9" fmla="*/ 37 h 86"/>
                <a:gd name="T10" fmla="*/ 32 w 36"/>
                <a:gd name="T11" fmla="*/ 37 h 86"/>
                <a:gd name="T12" fmla="*/ 32 w 36"/>
                <a:gd name="T13" fmla="*/ 48 h 86"/>
                <a:gd name="T14" fmla="*/ 11 w 36"/>
                <a:gd name="T15" fmla="*/ 48 h 86"/>
                <a:gd name="T16" fmla="*/ 11 w 36"/>
                <a:gd name="T17" fmla="*/ 85 h 86"/>
                <a:gd name="T18" fmla="*/ 0 w 36"/>
                <a:gd name="T19" fmla="*/ 85 h 86"/>
                <a:gd name="T20" fmla="*/ 0 w 36"/>
                <a:gd name="T2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86">
                  <a:moveTo>
                    <a:pt x="0" y="0"/>
                  </a:moveTo>
                  <a:lnTo>
                    <a:pt x="35" y="0"/>
                  </a:lnTo>
                  <a:lnTo>
                    <a:pt x="35" y="14"/>
                  </a:lnTo>
                  <a:lnTo>
                    <a:pt x="11" y="14"/>
                  </a:lnTo>
                  <a:lnTo>
                    <a:pt x="11" y="37"/>
                  </a:lnTo>
                  <a:lnTo>
                    <a:pt x="32" y="37"/>
                  </a:lnTo>
                  <a:lnTo>
                    <a:pt x="32" y="48"/>
                  </a:lnTo>
                  <a:lnTo>
                    <a:pt x="11" y="48"/>
                  </a:lnTo>
                  <a:lnTo>
                    <a:pt x="11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A6012BB1-ABA6-CA43-A384-0F10B422F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8238" y="2371725"/>
              <a:ext cx="19050" cy="31750"/>
            </a:xfrm>
            <a:custGeom>
              <a:avLst/>
              <a:gdLst>
                <a:gd name="T0" fmla="*/ 53 w 54"/>
                <a:gd name="T1" fmla="*/ 43 h 86"/>
                <a:gd name="T2" fmla="*/ 27 w 54"/>
                <a:gd name="T3" fmla="*/ 85 h 86"/>
                <a:gd name="T4" fmla="*/ 0 w 54"/>
                <a:gd name="T5" fmla="*/ 43 h 86"/>
                <a:gd name="T6" fmla="*/ 27 w 54"/>
                <a:gd name="T7" fmla="*/ 0 h 86"/>
                <a:gd name="T8" fmla="*/ 53 w 54"/>
                <a:gd name="T9" fmla="*/ 43 h 86"/>
                <a:gd name="T10" fmla="*/ 40 w 54"/>
                <a:gd name="T11" fmla="*/ 43 h 86"/>
                <a:gd name="T12" fmla="*/ 27 w 54"/>
                <a:gd name="T13" fmla="*/ 11 h 86"/>
                <a:gd name="T14" fmla="*/ 14 w 54"/>
                <a:gd name="T15" fmla="*/ 43 h 86"/>
                <a:gd name="T16" fmla="*/ 27 w 54"/>
                <a:gd name="T17" fmla="*/ 75 h 86"/>
                <a:gd name="T18" fmla="*/ 40 w 54"/>
                <a:gd name="T19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86">
                  <a:moveTo>
                    <a:pt x="53" y="43"/>
                  </a:moveTo>
                  <a:cubicBezTo>
                    <a:pt x="53" y="75"/>
                    <a:pt x="40" y="85"/>
                    <a:pt x="27" y="85"/>
                  </a:cubicBezTo>
                  <a:cubicBezTo>
                    <a:pt x="14" y="85"/>
                    <a:pt x="0" y="72"/>
                    <a:pt x="0" y="43"/>
                  </a:cubicBezTo>
                  <a:cubicBezTo>
                    <a:pt x="0" y="14"/>
                    <a:pt x="14" y="0"/>
                    <a:pt x="27" y="0"/>
                  </a:cubicBezTo>
                  <a:cubicBezTo>
                    <a:pt x="40" y="0"/>
                    <a:pt x="53" y="14"/>
                    <a:pt x="53" y="43"/>
                  </a:cubicBezTo>
                  <a:close/>
                  <a:moveTo>
                    <a:pt x="40" y="43"/>
                  </a:moveTo>
                  <a:cubicBezTo>
                    <a:pt x="40" y="19"/>
                    <a:pt x="35" y="11"/>
                    <a:pt x="27" y="11"/>
                  </a:cubicBezTo>
                  <a:cubicBezTo>
                    <a:pt x="19" y="11"/>
                    <a:pt x="14" y="19"/>
                    <a:pt x="14" y="43"/>
                  </a:cubicBezTo>
                  <a:cubicBezTo>
                    <a:pt x="14" y="67"/>
                    <a:pt x="19" y="75"/>
                    <a:pt x="27" y="75"/>
                  </a:cubicBezTo>
                  <a:cubicBezTo>
                    <a:pt x="35" y="75"/>
                    <a:pt x="40" y="67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AF3BAC1B-755B-0243-8774-F4F4DDE33E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0463" y="2371725"/>
              <a:ext cx="17462" cy="31750"/>
            </a:xfrm>
            <a:custGeom>
              <a:avLst/>
              <a:gdLst>
                <a:gd name="T0" fmla="*/ 2 w 48"/>
                <a:gd name="T1" fmla="*/ 0 h 89"/>
                <a:gd name="T2" fmla="*/ 23 w 48"/>
                <a:gd name="T3" fmla="*/ 0 h 89"/>
                <a:gd name="T4" fmla="*/ 45 w 48"/>
                <a:gd name="T5" fmla="*/ 22 h 89"/>
                <a:gd name="T6" fmla="*/ 31 w 48"/>
                <a:gd name="T7" fmla="*/ 43 h 89"/>
                <a:gd name="T8" fmla="*/ 31 w 48"/>
                <a:gd name="T9" fmla="*/ 43 h 89"/>
                <a:gd name="T10" fmla="*/ 39 w 48"/>
                <a:gd name="T11" fmla="*/ 53 h 89"/>
                <a:gd name="T12" fmla="*/ 47 w 48"/>
                <a:gd name="T13" fmla="*/ 85 h 89"/>
                <a:gd name="T14" fmla="*/ 34 w 48"/>
                <a:gd name="T15" fmla="*/ 85 h 89"/>
                <a:gd name="T16" fmla="*/ 26 w 48"/>
                <a:gd name="T17" fmla="*/ 59 h 89"/>
                <a:gd name="T18" fmla="*/ 15 w 48"/>
                <a:gd name="T19" fmla="*/ 51 h 89"/>
                <a:gd name="T20" fmla="*/ 13 w 48"/>
                <a:gd name="T21" fmla="*/ 51 h 89"/>
                <a:gd name="T22" fmla="*/ 13 w 48"/>
                <a:gd name="T23" fmla="*/ 88 h 89"/>
                <a:gd name="T24" fmla="*/ 0 w 48"/>
                <a:gd name="T25" fmla="*/ 88 h 89"/>
                <a:gd name="T26" fmla="*/ 2 w 48"/>
                <a:gd name="T27" fmla="*/ 0 h 89"/>
                <a:gd name="T28" fmla="*/ 18 w 48"/>
                <a:gd name="T29" fmla="*/ 37 h 89"/>
                <a:gd name="T30" fmla="*/ 29 w 48"/>
                <a:gd name="T31" fmla="*/ 24 h 89"/>
                <a:gd name="T32" fmla="*/ 18 w 48"/>
                <a:gd name="T33" fmla="*/ 11 h 89"/>
                <a:gd name="T34" fmla="*/ 13 w 48"/>
                <a:gd name="T35" fmla="*/ 11 h 89"/>
                <a:gd name="T36" fmla="*/ 13 w 48"/>
                <a:gd name="T37" fmla="*/ 35 h 89"/>
                <a:gd name="T38" fmla="*/ 18 w 48"/>
                <a:gd name="T39" fmla="*/ 35 h 89"/>
                <a:gd name="T40" fmla="*/ 18 w 48"/>
                <a:gd name="T41" fmla="*/ 3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89">
                  <a:moveTo>
                    <a:pt x="2" y="0"/>
                  </a:moveTo>
                  <a:lnTo>
                    <a:pt x="23" y="0"/>
                  </a:lnTo>
                  <a:cubicBezTo>
                    <a:pt x="37" y="0"/>
                    <a:pt x="45" y="8"/>
                    <a:pt x="45" y="22"/>
                  </a:cubicBezTo>
                  <a:cubicBezTo>
                    <a:pt x="45" y="32"/>
                    <a:pt x="39" y="40"/>
                    <a:pt x="31" y="43"/>
                  </a:cubicBezTo>
                  <a:lnTo>
                    <a:pt x="31" y="43"/>
                  </a:lnTo>
                  <a:cubicBezTo>
                    <a:pt x="34" y="43"/>
                    <a:pt x="37" y="45"/>
                    <a:pt x="39" y="53"/>
                  </a:cubicBezTo>
                  <a:lnTo>
                    <a:pt x="47" y="85"/>
                  </a:lnTo>
                  <a:lnTo>
                    <a:pt x="34" y="85"/>
                  </a:lnTo>
                  <a:lnTo>
                    <a:pt x="26" y="59"/>
                  </a:lnTo>
                  <a:cubicBezTo>
                    <a:pt x="23" y="51"/>
                    <a:pt x="21" y="51"/>
                    <a:pt x="15" y="51"/>
                  </a:cubicBezTo>
                  <a:lnTo>
                    <a:pt x="13" y="51"/>
                  </a:lnTo>
                  <a:lnTo>
                    <a:pt x="13" y="88"/>
                  </a:lnTo>
                  <a:lnTo>
                    <a:pt x="0" y="88"/>
                  </a:lnTo>
                  <a:lnTo>
                    <a:pt x="2" y="0"/>
                  </a:lnTo>
                  <a:close/>
                  <a:moveTo>
                    <a:pt x="18" y="37"/>
                  </a:moveTo>
                  <a:cubicBezTo>
                    <a:pt x="26" y="37"/>
                    <a:pt x="29" y="32"/>
                    <a:pt x="29" y="24"/>
                  </a:cubicBezTo>
                  <a:cubicBezTo>
                    <a:pt x="29" y="14"/>
                    <a:pt x="23" y="11"/>
                    <a:pt x="18" y="11"/>
                  </a:cubicBezTo>
                  <a:lnTo>
                    <a:pt x="13" y="11"/>
                  </a:lnTo>
                  <a:lnTo>
                    <a:pt x="13" y="35"/>
                  </a:lnTo>
                  <a:lnTo>
                    <a:pt x="18" y="35"/>
                  </a:lnTo>
                  <a:lnTo>
                    <a:pt x="18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9AD84315-ECD2-134F-A3CD-AE211F94A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100" y="2371725"/>
              <a:ext cx="15875" cy="31750"/>
            </a:xfrm>
            <a:custGeom>
              <a:avLst/>
              <a:gdLst>
                <a:gd name="T0" fmla="*/ 16 w 46"/>
                <a:gd name="T1" fmla="*/ 14 h 86"/>
                <a:gd name="T2" fmla="*/ 0 w 46"/>
                <a:gd name="T3" fmla="*/ 14 h 86"/>
                <a:gd name="T4" fmla="*/ 0 w 46"/>
                <a:gd name="T5" fmla="*/ 0 h 86"/>
                <a:gd name="T6" fmla="*/ 45 w 46"/>
                <a:gd name="T7" fmla="*/ 0 h 86"/>
                <a:gd name="T8" fmla="*/ 45 w 46"/>
                <a:gd name="T9" fmla="*/ 14 h 86"/>
                <a:gd name="T10" fmla="*/ 30 w 46"/>
                <a:gd name="T11" fmla="*/ 14 h 86"/>
                <a:gd name="T12" fmla="*/ 30 w 46"/>
                <a:gd name="T13" fmla="*/ 85 h 86"/>
                <a:gd name="T14" fmla="*/ 16 w 46"/>
                <a:gd name="T15" fmla="*/ 85 h 86"/>
                <a:gd name="T16" fmla="*/ 16 w 46"/>
                <a:gd name="T17" fmla="*/ 1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86">
                  <a:moveTo>
                    <a:pt x="16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14"/>
                  </a:lnTo>
                  <a:lnTo>
                    <a:pt x="30" y="14"/>
                  </a:lnTo>
                  <a:lnTo>
                    <a:pt x="30" y="85"/>
                  </a:lnTo>
                  <a:lnTo>
                    <a:pt x="16" y="85"/>
                  </a:lnTo>
                  <a:lnTo>
                    <a:pt x="16" y="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774143B0-D844-FA4D-9968-3EA5EA2B7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8563" y="2371725"/>
              <a:ext cx="15875" cy="31750"/>
            </a:xfrm>
            <a:custGeom>
              <a:avLst/>
              <a:gdLst>
                <a:gd name="T0" fmla="*/ 0 w 46"/>
                <a:gd name="T1" fmla="*/ 0 h 86"/>
                <a:gd name="T2" fmla="*/ 13 w 46"/>
                <a:gd name="T3" fmla="*/ 0 h 86"/>
                <a:gd name="T4" fmla="*/ 13 w 46"/>
                <a:gd name="T5" fmla="*/ 35 h 86"/>
                <a:gd name="T6" fmla="*/ 35 w 46"/>
                <a:gd name="T7" fmla="*/ 35 h 86"/>
                <a:gd name="T8" fmla="*/ 35 w 46"/>
                <a:gd name="T9" fmla="*/ 0 h 86"/>
                <a:gd name="T10" fmla="*/ 45 w 46"/>
                <a:gd name="T11" fmla="*/ 0 h 86"/>
                <a:gd name="T12" fmla="*/ 45 w 46"/>
                <a:gd name="T13" fmla="*/ 85 h 86"/>
                <a:gd name="T14" fmla="*/ 35 w 46"/>
                <a:gd name="T15" fmla="*/ 85 h 86"/>
                <a:gd name="T16" fmla="*/ 35 w 46"/>
                <a:gd name="T17" fmla="*/ 48 h 86"/>
                <a:gd name="T18" fmla="*/ 13 w 46"/>
                <a:gd name="T19" fmla="*/ 48 h 86"/>
                <a:gd name="T20" fmla="*/ 13 w 46"/>
                <a:gd name="T21" fmla="*/ 85 h 86"/>
                <a:gd name="T22" fmla="*/ 0 w 46"/>
                <a:gd name="T23" fmla="*/ 85 h 86"/>
                <a:gd name="T24" fmla="*/ 0 w 46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86">
                  <a:moveTo>
                    <a:pt x="0" y="0"/>
                  </a:moveTo>
                  <a:lnTo>
                    <a:pt x="13" y="0"/>
                  </a:lnTo>
                  <a:lnTo>
                    <a:pt x="13" y="35"/>
                  </a:lnTo>
                  <a:lnTo>
                    <a:pt x="35" y="35"/>
                  </a:lnTo>
                  <a:lnTo>
                    <a:pt x="35" y="0"/>
                  </a:lnTo>
                  <a:lnTo>
                    <a:pt x="45" y="0"/>
                  </a:lnTo>
                  <a:lnTo>
                    <a:pt x="45" y="85"/>
                  </a:lnTo>
                  <a:lnTo>
                    <a:pt x="35" y="85"/>
                  </a:lnTo>
                  <a:lnTo>
                    <a:pt x="35" y="48"/>
                  </a:lnTo>
                  <a:lnTo>
                    <a:pt x="13" y="48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084866F7-6D07-2441-861D-06BC96EE4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9200" y="2371725"/>
              <a:ext cx="14288" cy="31750"/>
            </a:xfrm>
            <a:custGeom>
              <a:avLst/>
              <a:gdLst>
                <a:gd name="T0" fmla="*/ 0 w 38"/>
                <a:gd name="T1" fmla="*/ 0 h 86"/>
                <a:gd name="T2" fmla="*/ 37 w 38"/>
                <a:gd name="T3" fmla="*/ 0 h 86"/>
                <a:gd name="T4" fmla="*/ 37 w 38"/>
                <a:gd name="T5" fmla="*/ 14 h 86"/>
                <a:gd name="T6" fmla="*/ 13 w 38"/>
                <a:gd name="T7" fmla="*/ 14 h 86"/>
                <a:gd name="T8" fmla="*/ 13 w 38"/>
                <a:gd name="T9" fmla="*/ 35 h 86"/>
                <a:gd name="T10" fmla="*/ 34 w 38"/>
                <a:gd name="T11" fmla="*/ 35 h 86"/>
                <a:gd name="T12" fmla="*/ 34 w 38"/>
                <a:gd name="T13" fmla="*/ 48 h 86"/>
                <a:gd name="T14" fmla="*/ 13 w 38"/>
                <a:gd name="T15" fmla="*/ 48 h 86"/>
                <a:gd name="T16" fmla="*/ 13 w 38"/>
                <a:gd name="T17" fmla="*/ 72 h 86"/>
                <a:gd name="T18" fmla="*/ 37 w 38"/>
                <a:gd name="T19" fmla="*/ 72 h 86"/>
                <a:gd name="T20" fmla="*/ 37 w 38"/>
                <a:gd name="T21" fmla="*/ 85 h 86"/>
                <a:gd name="T22" fmla="*/ 0 w 38"/>
                <a:gd name="T23" fmla="*/ 85 h 86"/>
                <a:gd name="T24" fmla="*/ 0 w 3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7" y="0"/>
                  </a:lnTo>
                  <a:lnTo>
                    <a:pt x="37" y="14"/>
                  </a:lnTo>
                  <a:lnTo>
                    <a:pt x="13" y="14"/>
                  </a:lnTo>
                  <a:lnTo>
                    <a:pt x="13" y="35"/>
                  </a:lnTo>
                  <a:lnTo>
                    <a:pt x="34" y="35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72"/>
                  </a:lnTo>
                  <a:lnTo>
                    <a:pt x="37" y="72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1B2983B4-8F2B-CE43-B6FB-70B1B16BFC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25" y="2038350"/>
              <a:ext cx="355600" cy="273050"/>
            </a:xfrm>
            <a:custGeom>
              <a:avLst/>
              <a:gdLst>
                <a:gd name="T0" fmla="*/ 177 w 986"/>
                <a:gd name="T1" fmla="*/ 582 h 758"/>
                <a:gd name="T2" fmla="*/ 209 w 986"/>
                <a:gd name="T3" fmla="*/ 537 h 758"/>
                <a:gd name="T4" fmla="*/ 820 w 986"/>
                <a:gd name="T5" fmla="*/ 452 h 758"/>
                <a:gd name="T6" fmla="*/ 320 w 986"/>
                <a:gd name="T7" fmla="*/ 725 h 758"/>
                <a:gd name="T8" fmla="*/ 664 w 986"/>
                <a:gd name="T9" fmla="*/ 725 h 758"/>
                <a:gd name="T10" fmla="*/ 79 w 986"/>
                <a:gd name="T11" fmla="*/ 299 h 758"/>
                <a:gd name="T12" fmla="*/ 847 w 986"/>
                <a:gd name="T13" fmla="*/ 206 h 758"/>
                <a:gd name="T14" fmla="*/ 881 w 986"/>
                <a:gd name="T15" fmla="*/ 442 h 758"/>
                <a:gd name="T16" fmla="*/ 519 w 986"/>
                <a:gd name="T17" fmla="*/ 129 h 758"/>
                <a:gd name="T18" fmla="*/ 519 w 986"/>
                <a:gd name="T19" fmla="*/ 37 h 758"/>
                <a:gd name="T20" fmla="*/ 338 w 986"/>
                <a:gd name="T21" fmla="*/ 174 h 758"/>
                <a:gd name="T22" fmla="*/ 669 w 986"/>
                <a:gd name="T23" fmla="*/ 127 h 758"/>
                <a:gd name="T24" fmla="*/ 646 w 986"/>
                <a:gd name="T25" fmla="*/ 156 h 758"/>
                <a:gd name="T26" fmla="*/ 566 w 986"/>
                <a:gd name="T27" fmla="*/ 227 h 758"/>
                <a:gd name="T28" fmla="*/ 537 w 986"/>
                <a:gd name="T29" fmla="*/ 256 h 758"/>
                <a:gd name="T30" fmla="*/ 561 w 986"/>
                <a:gd name="T31" fmla="*/ 545 h 758"/>
                <a:gd name="T32" fmla="*/ 474 w 986"/>
                <a:gd name="T33" fmla="*/ 566 h 758"/>
                <a:gd name="T34" fmla="*/ 365 w 986"/>
                <a:gd name="T35" fmla="*/ 455 h 758"/>
                <a:gd name="T36" fmla="*/ 455 w 986"/>
                <a:gd name="T37" fmla="*/ 352 h 758"/>
                <a:gd name="T38" fmla="*/ 352 w 986"/>
                <a:gd name="T39" fmla="*/ 174 h 758"/>
                <a:gd name="T40" fmla="*/ 360 w 986"/>
                <a:gd name="T41" fmla="*/ 113 h 758"/>
                <a:gd name="T42" fmla="*/ 815 w 986"/>
                <a:gd name="T43" fmla="*/ 323 h 758"/>
                <a:gd name="T44" fmla="*/ 553 w 986"/>
                <a:gd name="T45" fmla="*/ 235 h 758"/>
                <a:gd name="T46" fmla="*/ 542 w 986"/>
                <a:gd name="T47" fmla="*/ 241 h 758"/>
                <a:gd name="T48" fmla="*/ 717 w 986"/>
                <a:gd name="T49" fmla="*/ 190 h 758"/>
                <a:gd name="T50" fmla="*/ 685 w 986"/>
                <a:gd name="T51" fmla="*/ 193 h 758"/>
                <a:gd name="T52" fmla="*/ 680 w 986"/>
                <a:gd name="T53" fmla="*/ 246 h 758"/>
                <a:gd name="T54" fmla="*/ 656 w 986"/>
                <a:gd name="T55" fmla="*/ 209 h 758"/>
                <a:gd name="T56" fmla="*/ 683 w 986"/>
                <a:gd name="T57" fmla="*/ 219 h 758"/>
                <a:gd name="T58" fmla="*/ 690 w 986"/>
                <a:gd name="T59" fmla="*/ 260 h 758"/>
                <a:gd name="T60" fmla="*/ 672 w 986"/>
                <a:gd name="T61" fmla="*/ 294 h 758"/>
                <a:gd name="T62" fmla="*/ 648 w 986"/>
                <a:gd name="T63" fmla="*/ 299 h 758"/>
                <a:gd name="T64" fmla="*/ 582 w 986"/>
                <a:gd name="T65" fmla="*/ 262 h 758"/>
                <a:gd name="T66" fmla="*/ 571 w 986"/>
                <a:gd name="T67" fmla="*/ 429 h 758"/>
                <a:gd name="T68" fmla="*/ 667 w 986"/>
                <a:gd name="T69" fmla="*/ 270 h 758"/>
                <a:gd name="T70" fmla="*/ 654 w 986"/>
                <a:gd name="T71" fmla="*/ 270 h 758"/>
                <a:gd name="T72" fmla="*/ 627 w 986"/>
                <a:gd name="T73" fmla="*/ 259 h 758"/>
                <a:gd name="T74" fmla="*/ 590 w 986"/>
                <a:gd name="T75" fmla="*/ 235 h 758"/>
                <a:gd name="T76" fmla="*/ 603 w 986"/>
                <a:gd name="T77" fmla="*/ 384 h 758"/>
                <a:gd name="T78" fmla="*/ 624 w 986"/>
                <a:gd name="T79" fmla="*/ 362 h 758"/>
                <a:gd name="T80" fmla="*/ 640 w 986"/>
                <a:gd name="T81" fmla="*/ 341 h 758"/>
                <a:gd name="T82" fmla="*/ 627 w 986"/>
                <a:gd name="T83" fmla="*/ 516 h 758"/>
                <a:gd name="T84" fmla="*/ 617 w 986"/>
                <a:gd name="T85" fmla="*/ 537 h 758"/>
                <a:gd name="T86" fmla="*/ 654 w 986"/>
                <a:gd name="T87" fmla="*/ 479 h 758"/>
                <a:gd name="T88" fmla="*/ 680 w 986"/>
                <a:gd name="T89" fmla="*/ 503 h 758"/>
                <a:gd name="T90" fmla="*/ 328 w 986"/>
                <a:gd name="T91" fmla="*/ 346 h 758"/>
                <a:gd name="T92" fmla="*/ 352 w 986"/>
                <a:gd name="T93" fmla="*/ 360 h 758"/>
                <a:gd name="T94" fmla="*/ 354 w 986"/>
                <a:gd name="T95" fmla="*/ 328 h 758"/>
                <a:gd name="T96" fmla="*/ 320 w 986"/>
                <a:gd name="T97" fmla="*/ 349 h 758"/>
                <a:gd name="T98" fmla="*/ 394 w 986"/>
                <a:gd name="T99" fmla="*/ 352 h 758"/>
                <a:gd name="T100" fmla="*/ 423 w 986"/>
                <a:gd name="T101" fmla="*/ 370 h 758"/>
                <a:gd name="T102" fmla="*/ 391 w 986"/>
                <a:gd name="T103" fmla="*/ 233 h 758"/>
                <a:gd name="T104" fmla="*/ 360 w 986"/>
                <a:gd name="T105" fmla="*/ 272 h 758"/>
                <a:gd name="T106" fmla="*/ 304 w 986"/>
                <a:gd name="T107" fmla="*/ 479 h 758"/>
                <a:gd name="T108" fmla="*/ 272 w 986"/>
                <a:gd name="T109" fmla="*/ 394 h 758"/>
                <a:gd name="T110" fmla="*/ 211 w 986"/>
                <a:gd name="T111" fmla="*/ 399 h 758"/>
                <a:gd name="T112" fmla="*/ 209 w 986"/>
                <a:gd name="T113" fmla="*/ 434 h 758"/>
                <a:gd name="T114" fmla="*/ 240 w 986"/>
                <a:gd name="T115" fmla="*/ 439 h 758"/>
                <a:gd name="T116" fmla="*/ 230 w 986"/>
                <a:gd name="T117" fmla="*/ 333 h 758"/>
                <a:gd name="T118" fmla="*/ 640 w 986"/>
                <a:gd name="T119" fmla="*/ 79 h 758"/>
                <a:gd name="T120" fmla="*/ 630 w 986"/>
                <a:gd name="T121" fmla="*/ 222 h 758"/>
                <a:gd name="T122" fmla="*/ 619 w 986"/>
                <a:gd name="T123" fmla="*/ 238 h 758"/>
                <a:gd name="T124" fmla="*/ 466 w 986"/>
                <a:gd name="T125" fmla="*/ 259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86" h="758">
                  <a:moveTo>
                    <a:pt x="855" y="140"/>
                  </a:moveTo>
                  <a:cubicBezTo>
                    <a:pt x="842" y="76"/>
                    <a:pt x="791" y="26"/>
                    <a:pt x="733" y="13"/>
                  </a:cubicBezTo>
                  <a:cubicBezTo>
                    <a:pt x="762" y="34"/>
                    <a:pt x="767" y="62"/>
                    <a:pt x="786" y="84"/>
                  </a:cubicBezTo>
                  <a:cubicBezTo>
                    <a:pt x="805" y="105"/>
                    <a:pt x="836" y="119"/>
                    <a:pt x="855" y="140"/>
                  </a:cubicBezTo>
                  <a:close/>
                  <a:moveTo>
                    <a:pt x="209" y="95"/>
                  </a:moveTo>
                  <a:cubicBezTo>
                    <a:pt x="195" y="121"/>
                    <a:pt x="129" y="132"/>
                    <a:pt x="98" y="196"/>
                  </a:cubicBezTo>
                  <a:cubicBezTo>
                    <a:pt x="113" y="156"/>
                    <a:pt x="105" y="98"/>
                    <a:pt x="132" y="66"/>
                  </a:cubicBezTo>
                  <a:cubicBezTo>
                    <a:pt x="55" y="124"/>
                    <a:pt x="90" y="217"/>
                    <a:pt x="84" y="246"/>
                  </a:cubicBezTo>
                  <a:cubicBezTo>
                    <a:pt x="124" y="158"/>
                    <a:pt x="185" y="177"/>
                    <a:pt x="209" y="95"/>
                  </a:cubicBezTo>
                  <a:close/>
                  <a:moveTo>
                    <a:pt x="177" y="582"/>
                  </a:moveTo>
                  <a:cubicBezTo>
                    <a:pt x="143" y="542"/>
                    <a:pt x="68" y="534"/>
                    <a:pt x="39" y="476"/>
                  </a:cubicBezTo>
                  <a:cubicBezTo>
                    <a:pt x="76" y="619"/>
                    <a:pt x="174" y="590"/>
                    <a:pt x="219" y="622"/>
                  </a:cubicBezTo>
                  <a:cubicBezTo>
                    <a:pt x="182" y="566"/>
                    <a:pt x="211" y="532"/>
                    <a:pt x="158" y="452"/>
                  </a:cubicBezTo>
                  <a:cubicBezTo>
                    <a:pt x="166" y="487"/>
                    <a:pt x="145" y="534"/>
                    <a:pt x="177" y="582"/>
                  </a:cubicBezTo>
                  <a:close/>
                  <a:moveTo>
                    <a:pt x="135" y="357"/>
                  </a:moveTo>
                  <a:cubicBezTo>
                    <a:pt x="132" y="399"/>
                    <a:pt x="103" y="421"/>
                    <a:pt x="121" y="500"/>
                  </a:cubicBezTo>
                  <a:cubicBezTo>
                    <a:pt x="87" y="434"/>
                    <a:pt x="34" y="407"/>
                    <a:pt x="18" y="362"/>
                  </a:cubicBezTo>
                  <a:cubicBezTo>
                    <a:pt x="18" y="489"/>
                    <a:pt x="121" y="508"/>
                    <a:pt x="148" y="542"/>
                  </a:cubicBezTo>
                  <a:cubicBezTo>
                    <a:pt x="127" y="463"/>
                    <a:pt x="164" y="434"/>
                    <a:pt x="135" y="357"/>
                  </a:cubicBezTo>
                  <a:close/>
                  <a:moveTo>
                    <a:pt x="209" y="537"/>
                  </a:moveTo>
                  <a:cubicBezTo>
                    <a:pt x="227" y="564"/>
                    <a:pt x="209" y="598"/>
                    <a:pt x="264" y="651"/>
                  </a:cubicBezTo>
                  <a:cubicBezTo>
                    <a:pt x="209" y="619"/>
                    <a:pt x="132" y="632"/>
                    <a:pt x="95" y="590"/>
                  </a:cubicBezTo>
                  <a:cubicBezTo>
                    <a:pt x="161" y="712"/>
                    <a:pt x="272" y="662"/>
                    <a:pt x="304" y="677"/>
                  </a:cubicBezTo>
                  <a:cubicBezTo>
                    <a:pt x="275" y="635"/>
                    <a:pt x="293" y="614"/>
                    <a:pt x="209" y="537"/>
                  </a:cubicBezTo>
                  <a:close/>
                  <a:moveTo>
                    <a:pt x="770" y="540"/>
                  </a:moveTo>
                  <a:cubicBezTo>
                    <a:pt x="685" y="614"/>
                    <a:pt x="707" y="638"/>
                    <a:pt x="675" y="680"/>
                  </a:cubicBezTo>
                  <a:cubicBezTo>
                    <a:pt x="707" y="664"/>
                    <a:pt x="818" y="715"/>
                    <a:pt x="881" y="593"/>
                  </a:cubicBezTo>
                  <a:cubicBezTo>
                    <a:pt x="847" y="635"/>
                    <a:pt x="770" y="619"/>
                    <a:pt x="714" y="654"/>
                  </a:cubicBezTo>
                  <a:cubicBezTo>
                    <a:pt x="773" y="601"/>
                    <a:pt x="754" y="566"/>
                    <a:pt x="770" y="540"/>
                  </a:cubicBezTo>
                  <a:close/>
                  <a:moveTo>
                    <a:pt x="820" y="452"/>
                  </a:moveTo>
                  <a:cubicBezTo>
                    <a:pt x="767" y="532"/>
                    <a:pt x="797" y="566"/>
                    <a:pt x="759" y="619"/>
                  </a:cubicBezTo>
                  <a:cubicBezTo>
                    <a:pt x="805" y="587"/>
                    <a:pt x="902" y="617"/>
                    <a:pt x="940" y="474"/>
                  </a:cubicBezTo>
                  <a:cubicBezTo>
                    <a:pt x="910" y="532"/>
                    <a:pt x="836" y="542"/>
                    <a:pt x="802" y="582"/>
                  </a:cubicBezTo>
                  <a:cubicBezTo>
                    <a:pt x="836" y="534"/>
                    <a:pt x="815" y="487"/>
                    <a:pt x="820" y="452"/>
                  </a:cubicBezTo>
                  <a:close/>
                  <a:moveTo>
                    <a:pt x="574" y="670"/>
                  </a:moveTo>
                  <a:cubicBezTo>
                    <a:pt x="542" y="670"/>
                    <a:pt x="513" y="675"/>
                    <a:pt x="489" y="683"/>
                  </a:cubicBezTo>
                  <a:cubicBezTo>
                    <a:pt x="466" y="675"/>
                    <a:pt x="436" y="667"/>
                    <a:pt x="405" y="670"/>
                  </a:cubicBezTo>
                  <a:cubicBezTo>
                    <a:pt x="378" y="670"/>
                    <a:pt x="346" y="675"/>
                    <a:pt x="312" y="683"/>
                  </a:cubicBezTo>
                  <a:cubicBezTo>
                    <a:pt x="262" y="696"/>
                    <a:pt x="217" y="707"/>
                    <a:pt x="180" y="688"/>
                  </a:cubicBezTo>
                  <a:cubicBezTo>
                    <a:pt x="217" y="720"/>
                    <a:pt x="259" y="733"/>
                    <a:pt x="320" y="725"/>
                  </a:cubicBezTo>
                  <a:cubicBezTo>
                    <a:pt x="370" y="720"/>
                    <a:pt x="413" y="693"/>
                    <a:pt x="463" y="693"/>
                  </a:cubicBezTo>
                  <a:lnTo>
                    <a:pt x="466" y="693"/>
                  </a:lnTo>
                  <a:cubicBezTo>
                    <a:pt x="415" y="720"/>
                    <a:pt x="386" y="754"/>
                    <a:pt x="386" y="754"/>
                  </a:cubicBezTo>
                  <a:lnTo>
                    <a:pt x="410" y="757"/>
                  </a:lnTo>
                  <a:cubicBezTo>
                    <a:pt x="410" y="757"/>
                    <a:pt x="434" y="707"/>
                    <a:pt x="492" y="696"/>
                  </a:cubicBezTo>
                  <a:cubicBezTo>
                    <a:pt x="548" y="709"/>
                    <a:pt x="574" y="757"/>
                    <a:pt x="574" y="757"/>
                  </a:cubicBezTo>
                  <a:lnTo>
                    <a:pt x="598" y="754"/>
                  </a:lnTo>
                  <a:cubicBezTo>
                    <a:pt x="598" y="754"/>
                    <a:pt x="569" y="717"/>
                    <a:pt x="519" y="693"/>
                  </a:cubicBezTo>
                  <a:lnTo>
                    <a:pt x="521" y="693"/>
                  </a:lnTo>
                  <a:cubicBezTo>
                    <a:pt x="569" y="693"/>
                    <a:pt x="611" y="720"/>
                    <a:pt x="664" y="725"/>
                  </a:cubicBezTo>
                  <a:cubicBezTo>
                    <a:pt x="725" y="730"/>
                    <a:pt x="770" y="720"/>
                    <a:pt x="805" y="688"/>
                  </a:cubicBezTo>
                  <a:cubicBezTo>
                    <a:pt x="762" y="707"/>
                    <a:pt x="717" y="696"/>
                    <a:pt x="667" y="683"/>
                  </a:cubicBezTo>
                  <a:cubicBezTo>
                    <a:pt x="632" y="675"/>
                    <a:pt x="601" y="670"/>
                    <a:pt x="574" y="670"/>
                  </a:cubicBezTo>
                  <a:close/>
                  <a:moveTo>
                    <a:pt x="87" y="402"/>
                  </a:moveTo>
                  <a:cubicBezTo>
                    <a:pt x="68" y="328"/>
                    <a:pt x="26" y="301"/>
                    <a:pt x="29" y="256"/>
                  </a:cubicBezTo>
                  <a:cubicBezTo>
                    <a:pt x="0" y="378"/>
                    <a:pt x="76" y="391"/>
                    <a:pt x="98" y="444"/>
                  </a:cubicBezTo>
                  <a:cubicBezTo>
                    <a:pt x="95" y="370"/>
                    <a:pt x="143" y="354"/>
                    <a:pt x="137" y="270"/>
                  </a:cubicBezTo>
                  <a:cubicBezTo>
                    <a:pt x="116" y="309"/>
                    <a:pt x="84" y="317"/>
                    <a:pt x="87" y="402"/>
                  </a:cubicBezTo>
                  <a:close/>
                  <a:moveTo>
                    <a:pt x="135" y="206"/>
                  </a:moveTo>
                  <a:cubicBezTo>
                    <a:pt x="108" y="227"/>
                    <a:pt x="87" y="256"/>
                    <a:pt x="79" y="299"/>
                  </a:cubicBezTo>
                  <a:cubicBezTo>
                    <a:pt x="82" y="254"/>
                    <a:pt x="52" y="190"/>
                    <a:pt x="71" y="143"/>
                  </a:cubicBezTo>
                  <a:cubicBezTo>
                    <a:pt x="0" y="243"/>
                    <a:pt x="76" y="304"/>
                    <a:pt x="79" y="339"/>
                  </a:cubicBezTo>
                  <a:cubicBezTo>
                    <a:pt x="98" y="270"/>
                    <a:pt x="140" y="270"/>
                    <a:pt x="166" y="177"/>
                  </a:cubicBezTo>
                  <a:cubicBezTo>
                    <a:pt x="158" y="188"/>
                    <a:pt x="153" y="190"/>
                    <a:pt x="135" y="206"/>
                  </a:cubicBezTo>
                  <a:close/>
                  <a:moveTo>
                    <a:pt x="847" y="206"/>
                  </a:moveTo>
                  <a:cubicBezTo>
                    <a:pt x="828" y="190"/>
                    <a:pt x="823" y="185"/>
                    <a:pt x="815" y="177"/>
                  </a:cubicBezTo>
                  <a:cubicBezTo>
                    <a:pt x="844" y="270"/>
                    <a:pt x="887" y="270"/>
                    <a:pt x="905" y="341"/>
                  </a:cubicBezTo>
                  <a:cubicBezTo>
                    <a:pt x="908" y="304"/>
                    <a:pt x="985" y="246"/>
                    <a:pt x="913" y="145"/>
                  </a:cubicBezTo>
                  <a:cubicBezTo>
                    <a:pt x="926" y="190"/>
                    <a:pt x="900" y="254"/>
                    <a:pt x="902" y="299"/>
                  </a:cubicBezTo>
                  <a:cubicBezTo>
                    <a:pt x="895" y="256"/>
                    <a:pt x="873" y="230"/>
                    <a:pt x="847" y="206"/>
                  </a:cubicBezTo>
                  <a:close/>
                  <a:moveTo>
                    <a:pt x="860" y="500"/>
                  </a:moveTo>
                  <a:cubicBezTo>
                    <a:pt x="879" y="421"/>
                    <a:pt x="850" y="399"/>
                    <a:pt x="847" y="357"/>
                  </a:cubicBezTo>
                  <a:cubicBezTo>
                    <a:pt x="818" y="434"/>
                    <a:pt x="855" y="463"/>
                    <a:pt x="834" y="542"/>
                  </a:cubicBezTo>
                  <a:cubicBezTo>
                    <a:pt x="860" y="508"/>
                    <a:pt x="961" y="489"/>
                    <a:pt x="963" y="362"/>
                  </a:cubicBezTo>
                  <a:cubicBezTo>
                    <a:pt x="948" y="407"/>
                    <a:pt x="895" y="434"/>
                    <a:pt x="860" y="500"/>
                  </a:cubicBezTo>
                  <a:close/>
                  <a:moveTo>
                    <a:pt x="881" y="442"/>
                  </a:moveTo>
                  <a:cubicBezTo>
                    <a:pt x="902" y="391"/>
                    <a:pt x="979" y="376"/>
                    <a:pt x="950" y="254"/>
                  </a:cubicBezTo>
                  <a:cubicBezTo>
                    <a:pt x="950" y="301"/>
                    <a:pt x="908" y="328"/>
                    <a:pt x="892" y="399"/>
                  </a:cubicBezTo>
                  <a:cubicBezTo>
                    <a:pt x="895" y="320"/>
                    <a:pt x="863" y="309"/>
                    <a:pt x="842" y="270"/>
                  </a:cubicBezTo>
                  <a:cubicBezTo>
                    <a:pt x="836" y="354"/>
                    <a:pt x="884" y="368"/>
                    <a:pt x="881" y="442"/>
                  </a:cubicBezTo>
                  <a:close/>
                  <a:moveTo>
                    <a:pt x="246" y="13"/>
                  </a:moveTo>
                  <a:cubicBezTo>
                    <a:pt x="188" y="26"/>
                    <a:pt x="137" y="76"/>
                    <a:pt x="124" y="140"/>
                  </a:cubicBezTo>
                  <a:cubicBezTo>
                    <a:pt x="145" y="119"/>
                    <a:pt x="177" y="106"/>
                    <a:pt x="193" y="84"/>
                  </a:cubicBezTo>
                  <a:cubicBezTo>
                    <a:pt x="211" y="63"/>
                    <a:pt x="217" y="34"/>
                    <a:pt x="246" y="13"/>
                  </a:cubicBezTo>
                  <a:close/>
                  <a:moveTo>
                    <a:pt x="895" y="246"/>
                  </a:moveTo>
                  <a:cubicBezTo>
                    <a:pt x="889" y="217"/>
                    <a:pt x="924" y="124"/>
                    <a:pt x="844" y="66"/>
                  </a:cubicBezTo>
                  <a:cubicBezTo>
                    <a:pt x="871" y="98"/>
                    <a:pt x="863" y="156"/>
                    <a:pt x="879" y="196"/>
                  </a:cubicBezTo>
                  <a:cubicBezTo>
                    <a:pt x="850" y="132"/>
                    <a:pt x="783" y="121"/>
                    <a:pt x="770" y="95"/>
                  </a:cubicBezTo>
                  <a:cubicBezTo>
                    <a:pt x="797" y="177"/>
                    <a:pt x="855" y="158"/>
                    <a:pt x="895" y="246"/>
                  </a:cubicBezTo>
                  <a:close/>
                  <a:moveTo>
                    <a:pt x="519" y="129"/>
                  </a:moveTo>
                  <a:lnTo>
                    <a:pt x="519" y="140"/>
                  </a:lnTo>
                  <a:cubicBezTo>
                    <a:pt x="534" y="143"/>
                    <a:pt x="548" y="145"/>
                    <a:pt x="564" y="153"/>
                  </a:cubicBezTo>
                  <a:cubicBezTo>
                    <a:pt x="564" y="148"/>
                    <a:pt x="566" y="145"/>
                    <a:pt x="566" y="143"/>
                  </a:cubicBezTo>
                  <a:cubicBezTo>
                    <a:pt x="550" y="137"/>
                    <a:pt x="534" y="132"/>
                    <a:pt x="519" y="129"/>
                  </a:cubicBezTo>
                  <a:close/>
                  <a:moveTo>
                    <a:pt x="553" y="39"/>
                  </a:moveTo>
                  <a:lnTo>
                    <a:pt x="556" y="37"/>
                  </a:lnTo>
                  <a:lnTo>
                    <a:pt x="550" y="34"/>
                  </a:lnTo>
                  <a:lnTo>
                    <a:pt x="534" y="34"/>
                  </a:lnTo>
                  <a:lnTo>
                    <a:pt x="529" y="37"/>
                  </a:lnTo>
                  <a:lnTo>
                    <a:pt x="519" y="37"/>
                  </a:lnTo>
                  <a:lnTo>
                    <a:pt x="519" y="39"/>
                  </a:lnTo>
                  <a:cubicBezTo>
                    <a:pt x="524" y="39"/>
                    <a:pt x="529" y="39"/>
                    <a:pt x="534" y="42"/>
                  </a:cubicBezTo>
                  <a:lnTo>
                    <a:pt x="542" y="42"/>
                  </a:lnTo>
                  <a:lnTo>
                    <a:pt x="553" y="39"/>
                  </a:lnTo>
                  <a:close/>
                  <a:moveTo>
                    <a:pt x="516" y="373"/>
                  </a:moveTo>
                  <a:lnTo>
                    <a:pt x="516" y="391"/>
                  </a:lnTo>
                  <a:cubicBezTo>
                    <a:pt x="519" y="389"/>
                    <a:pt x="524" y="386"/>
                    <a:pt x="524" y="381"/>
                  </a:cubicBezTo>
                  <a:cubicBezTo>
                    <a:pt x="524" y="378"/>
                    <a:pt x="521" y="376"/>
                    <a:pt x="516" y="373"/>
                  </a:cubicBezTo>
                  <a:close/>
                  <a:moveTo>
                    <a:pt x="336" y="180"/>
                  </a:moveTo>
                  <a:cubicBezTo>
                    <a:pt x="336" y="177"/>
                    <a:pt x="336" y="177"/>
                    <a:pt x="338" y="174"/>
                  </a:cubicBezTo>
                  <a:lnTo>
                    <a:pt x="333" y="174"/>
                  </a:lnTo>
                  <a:lnTo>
                    <a:pt x="336" y="180"/>
                  </a:lnTo>
                  <a:close/>
                  <a:moveTo>
                    <a:pt x="815" y="323"/>
                  </a:moveTo>
                  <a:cubicBezTo>
                    <a:pt x="815" y="156"/>
                    <a:pt x="685" y="18"/>
                    <a:pt x="521" y="2"/>
                  </a:cubicBezTo>
                  <a:lnTo>
                    <a:pt x="521" y="5"/>
                  </a:lnTo>
                  <a:cubicBezTo>
                    <a:pt x="521" y="8"/>
                    <a:pt x="521" y="10"/>
                    <a:pt x="519" y="13"/>
                  </a:cubicBezTo>
                  <a:cubicBezTo>
                    <a:pt x="593" y="21"/>
                    <a:pt x="659" y="53"/>
                    <a:pt x="709" y="100"/>
                  </a:cubicBezTo>
                  <a:lnTo>
                    <a:pt x="672" y="135"/>
                  </a:lnTo>
                  <a:lnTo>
                    <a:pt x="675" y="129"/>
                  </a:lnTo>
                  <a:lnTo>
                    <a:pt x="669" y="127"/>
                  </a:lnTo>
                  <a:lnTo>
                    <a:pt x="664" y="127"/>
                  </a:lnTo>
                  <a:lnTo>
                    <a:pt x="667" y="121"/>
                  </a:lnTo>
                  <a:lnTo>
                    <a:pt x="662" y="106"/>
                  </a:lnTo>
                  <a:lnTo>
                    <a:pt x="654" y="95"/>
                  </a:lnTo>
                  <a:lnTo>
                    <a:pt x="624" y="79"/>
                  </a:lnTo>
                  <a:lnTo>
                    <a:pt x="622" y="82"/>
                  </a:lnTo>
                  <a:lnTo>
                    <a:pt x="617" y="84"/>
                  </a:lnTo>
                  <a:cubicBezTo>
                    <a:pt x="627" y="98"/>
                    <a:pt x="632" y="113"/>
                    <a:pt x="632" y="132"/>
                  </a:cubicBezTo>
                  <a:lnTo>
                    <a:pt x="632" y="137"/>
                  </a:lnTo>
                  <a:lnTo>
                    <a:pt x="646" y="156"/>
                  </a:lnTo>
                  <a:lnTo>
                    <a:pt x="640" y="158"/>
                  </a:lnTo>
                  <a:lnTo>
                    <a:pt x="646" y="164"/>
                  </a:lnTo>
                  <a:lnTo>
                    <a:pt x="632" y="177"/>
                  </a:lnTo>
                  <a:lnTo>
                    <a:pt x="627" y="166"/>
                  </a:lnTo>
                  <a:cubicBezTo>
                    <a:pt x="624" y="172"/>
                    <a:pt x="622" y="180"/>
                    <a:pt x="617" y="185"/>
                  </a:cubicBezTo>
                  <a:lnTo>
                    <a:pt x="619" y="188"/>
                  </a:lnTo>
                  <a:lnTo>
                    <a:pt x="582" y="225"/>
                  </a:lnTo>
                  <a:cubicBezTo>
                    <a:pt x="579" y="222"/>
                    <a:pt x="577" y="219"/>
                    <a:pt x="574" y="219"/>
                  </a:cubicBezTo>
                  <a:cubicBezTo>
                    <a:pt x="571" y="222"/>
                    <a:pt x="566" y="222"/>
                    <a:pt x="564" y="225"/>
                  </a:cubicBezTo>
                  <a:lnTo>
                    <a:pt x="566" y="227"/>
                  </a:lnTo>
                  <a:lnTo>
                    <a:pt x="569" y="230"/>
                  </a:lnTo>
                  <a:lnTo>
                    <a:pt x="553" y="246"/>
                  </a:lnTo>
                  <a:lnTo>
                    <a:pt x="553" y="243"/>
                  </a:lnTo>
                  <a:lnTo>
                    <a:pt x="537" y="246"/>
                  </a:lnTo>
                  <a:lnTo>
                    <a:pt x="534" y="248"/>
                  </a:lnTo>
                  <a:lnTo>
                    <a:pt x="533" y="248"/>
                  </a:lnTo>
                  <a:lnTo>
                    <a:pt x="532" y="251"/>
                  </a:lnTo>
                  <a:lnTo>
                    <a:pt x="534" y="251"/>
                  </a:lnTo>
                  <a:lnTo>
                    <a:pt x="534" y="256"/>
                  </a:lnTo>
                  <a:lnTo>
                    <a:pt x="537" y="256"/>
                  </a:lnTo>
                  <a:lnTo>
                    <a:pt x="537" y="262"/>
                  </a:lnTo>
                  <a:lnTo>
                    <a:pt x="532" y="262"/>
                  </a:lnTo>
                  <a:lnTo>
                    <a:pt x="526" y="262"/>
                  </a:lnTo>
                  <a:lnTo>
                    <a:pt x="513" y="254"/>
                  </a:lnTo>
                  <a:lnTo>
                    <a:pt x="513" y="309"/>
                  </a:lnTo>
                  <a:cubicBezTo>
                    <a:pt x="545" y="320"/>
                    <a:pt x="579" y="336"/>
                    <a:pt x="579" y="378"/>
                  </a:cubicBezTo>
                  <a:cubicBezTo>
                    <a:pt x="579" y="397"/>
                    <a:pt x="571" y="410"/>
                    <a:pt x="556" y="421"/>
                  </a:cubicBezTo>
                  <a:cubicBezTo>
                    <a:pt x="542" y="429"/>
                    <a:pt x="526" y="434"/>
                    <a:pt x="511" y="439"/>
                  </a:cubicBezTo>
                  <a:lnTo>
                    <a:pt x="511" y="468"/>
                  </a:lnTo>
                  <a:cubicBezTo>
                    <a:pt x="534" y="479"/>
                    <a:pt x="564" y="497"/>
                    <a:pt x="561" y="545"/>
                  </a:cubicBezTo>
                  <a:cubicBezTo>
                    <a:pt x="561" y="556"/>
                    <a:pt x="556" y="561"/>
                    <a:pt x="553" y="561"/>
                  </a:cubicBezTo>
                  <a:cubicBezTo>
                    <a:pt x="540" y="564"/>
                    <a:pt x="526" y="566"/>
                    <a:pt x="511" y="566"/>
                  </a:cubicBezTo>
                  <a:lnTo>
                    <a:pt x="511" y="577"/>
                  </a:lnTo>
                  <a:cubicBezTo>
                    <a:pt x="574" y="572"/>
                    <a:pt x="630" y="545"/>
                    <a:pt x="675" y="505"/>
                  </a:cubicBezTo>
                  <a:lnTo>
                    <a:pt x="712" y="542"/>
                  </a:lnTo>
                  <a:cubicBezTo>
                    <a:pt x="656" y="595"/>
                    <a:pt x="577" y="630"/>
                    <a:pt x="492" y="630"/>
                  </a:cubicBezTo>
                  <a:cubicBezTo>
                    <a:pt x="407" y="630"/>
                    <a:pt x="331" y="598"/>
                    <a:pt x="275" y="542"/>
                  </a:cubicBezTo>
                  <a:lnTo>
                    <a:pt x="312" y="505"/>
                  </a:lnTo>
                  <a:cubicBezTo>
                    <a:pt x="354" y="545"/>
                    <a:pt x="410" y="572"/>
                    <a:pt x="474" y="577"/>
                  </a:cubicBezTo>
                  <a:lnTo>
                    <a:pt x="474" y="566"/>
                  </a:lnTo>
                  <a:cubicBezTo>
                    <a:pt x="415" y="561"/>
                    <a:pt x="362" y="537"/>
                    <a:pt x="320" y="500"/>
                  </a:cubicBezTo>
                  <a:lnTo>
                    <a:pt x="331" y="489"/>
                  </a:lnTo>
                  <a:lnTo>
                    <a:pt x="344" y="492"/>
                  </a:lnTo>
                  <a:lnTo>
                    <a:pt x="352" y="484"/>
                  </a:lnTo>
                  <a:lnTo>
                    <a:pt x="370" y="484"/>
                  </a:lnTo>
                  <a:lnTo>
                    <a:pt x="373" y="476"/>
                  </a:lnTo>
                  <a:lnTo>
                    <a:pt x="373" y="474"/>
                  </a:lnTo>
                  <a:cubicBezTo>
                    <a:pt x="402" y="495"/>
                    <a:pt x="434" y="508"/>
                    <a:pt x="471" y="513"/>
                  </a:cubicBezTo>
                  <a:lnTo>
                    <a:pt x="471" y="503"/>
                  </a:lnTo>
                  <a:cubicBezTo>
                    <a:pt x="431" y="497"/>
                    <a:pt x="394" y="482"/>
                    <a:pt x="365" y="455"/>
                  </a:cubicBezTo>
                  <a:lnTo>
                    <a:pt x="402" y="418"/>
                  </a:lnTo>
                  <a:cubicBezTo>
                    <a:pt x="410" y="426"/>
                    <a:pt x="421" y="434"/>
                    <a:pt x="434" y="439"/>
                  </a:cubicBezTo>
                  <a:cubicBezTo>
                    <a:pt x="434" y="437"/>
                    <a:pt x="436" y="431"/>
                    <a:pt x="436" y="429"/>
                  </a:cubicBezTo>
                  <a:cubicBezTo>
                    <a:pt x="426" y="423"/>
                    <a:pt x="418" y="418"/>
                    <a:pt x="410" y="410"/>
                  </a:cubicBezTo>
                  <a:lnTo>
                    <a:pt x="447" y="373"/>
                  </a:lnTo>
                  <a:cubicBezTo>
                    <a:pt x="452" y="378"/>
                    <a:pt x="460" y="381"/>
                    <a:pt x="468" y="384"/>
                  </a:cubicBezTo>
                  <a:lnTo>
                    <a:pt x="468" y="373"/>
                  </a:lnTo>
                  <a:cubicBezTo>
                    <a:pt x="463" y="370"/>
                    <a:pt x="460" y="368"/>
                    <a:pt x="455" y="365"/>
                  </a:cubicBezTo>
                  <a:lnTo>
                    <a:pt x="466" y="354"/>
                  </a:lnTo>
                  <a:cubicBezTo>
                    <a:pt x="463" y="354"/>
                    <a:pt x="458" y="352"/>
                    <a:pt x="455" y="352"/>
                  </a:cubicBezTo>
                  <a:lnTo>
                    <a:pt x="447" y="360"/>
                  </a:lnTo>
                  <a:cubicBezTo>
                    <a:pt x="444" y="354"/>
                    <a:pt x="439" y="352"/>
                    <a:pt x="439" y="346"/>
                  </a:cubicBezTo>
                  <a:cubicBezTo>
                    <a:pt x="434" y="344"/>
                    <a:pt x="426" y="341"/>
                    <a:pt x="421" y="336"/>
                  </a:cubicBezTo>
                  <a:cubicBezTo>
                    <a:pt x="397" y="320"/>
                    <a:pt x="386" y="299"/>
                    <a:pt x="386" y="272"/>
                  </a:cubicBezTo>
                  <a:cubicBezTo>
                    <a:pt x="386" y="251"/>
                    <a:pt x="391" y="235"/>
                    <a:pt x="402" y="225"/>
                  </a:cubicBezTo>
                  <a:lnTo>
                    <a:pt x="365" y="188"/>
                  </a:lnTo>
                  <a:cubicBezTo>
                    <a:pt x="391" y="161"/>
                    <a:pt x="429" y="145"/>
                    <a:pt x="466" y="137"/>
                  </a:cubicBezTo>
                  <a:lnTo>
                    <a:pt x="466" y="127"/>
                  </a:lnTo>
                  <a:cubicBezTo>
                    <a:pt x="423" y="132"/>
                    <a:pt x="386" y="151"/>
                    <a:pt x="357" y="180"/>
                  </a:cubicBezTo>
                  <a:lnTo>
                    <a:pt x="352" y="174"/>
                  </a:lnTo>
                  <a:cubicBezTo>
                    <a:pt x="349" y="177"/>
                    <a:pt x="349" y="180"/>
                    <a:pt x="346" y="185"/>
                  </a:cubicBezTo>
                  <a:lnTo>
                    <a:pt x="352" y="190"/>
                  </a:lnTo>
                  <a:cubicBezTo>
                    <a:pt x="320" y="225"/>
                    <a:pt x="299" y="270"/>
                    <a:pt x="299" y="320"/>
                  </a:cubicBezTo>
                  <a:lnTo>
                    <a:pt x="246" y="320"/>
                  </a:lnTo>
                  <a:cubicBezTo>
                    <a:pt x="246" y="254"/>
                    <a:pt x="272" y="196"/>
                    <a:pt x="315" y="151"/>
                  </a:cubicBezTo>
                  <a:lnTo>
                    <a:pt x="331" y="166"/>
                  </a:lnTo>
                  <a:lnTo>
                    <a:pt x="333" y="166"/>
                  </a:lnTo>
                  <a:cubicBezTo>
                    <a:pt x="336" y="166"/>
                    <a:pt x="338" y="166"/>
                    <a:pt x="344" y="164"/>
                  </a:cubicBezTo>
                  <a:lnTo>
                    <a:pt x="323" y="143"/>
                  </a:lnTo>
                  <a:cubicBezTo>
                    <a:pt x="333" y="132"/>
                    <a:pt x="346" y="121"/>
                    <a:pt x="360" y="113"/>
                  </a:cubicBezTo>
                  <a:cubicBezTo>
                    <a:pt x="360" y="111"/>
                    <a:pt x="362" y="106"/>
                    <a:pt x="362" y="106"/>
                  </a:cubicBezTo>
                  <a:cubicBezTo>
                    <a:pt x="362" y="106"/>
                    <a:pt x="368" y="100"/>
                    <a:pt x="370" y="95"/>
                  </a:cubicBezTo>
                  <a:cubicBezTo>
                    <a:pt x="349" y="106"/>
                    <a:pt x="331" y="119"/>
                    <a:pt x="315" y="135"/>
                  </a:cubicBezTo>
                  <a:lnTo>
                    <a:pt x="278" y="98"/>
                  </a:lnTo>
                  <a:cubicBezTo>
                    <a:pt x="328" y="50"/>
                    <a:pt x="394" y="18"/>
                    <a:pt x="466" y="10"/>
                  </a:cubicBezTo>
                  <a:lnTo>
                    <a:pt x="466" y="8"/>
                  </a:lnTo>
                  <a:cubicBezTo>
                    <a:pt x="466" y="5"/>
                    <a:pt x="466" y="2"/>
                    <a:pt x="463" y="0"/>
                  </a:cubicBezTo>
                  <a:cubicBezTo>
                    <a:pt x="299" y="15"/>
                    <a:pt x="169" y="153"/>
                    <a:pt x="169" y="320"/>
                  </a:cubicBezTo>
                  <a:cubicBezTo>
                    <a:pt x="164" y="500"/>
                    <a:pt x="309" y="646"/>
                    <a:pt x="489" y="646"/>
                  </a:cubicBezTo>
                  <a:cubicBezTo>
                    <a:pt x="669" y="646"/>
                    <a:pt x="815" y="500"/>
                    <a:pt x="815" y="323"/>
                  </a:cubicBezTo>
                  <a:close/>
                  <a:moveTo>
                    <a:pt x="564" y="230"/>
                  </a:moveTo>
                  <a:lnTo>
                    <a:pt x="558" y="233"/>
                  </a:lnTo>
                  <a:lnTo>
                    <a:pt x="556" y="238"/>
                  </a:lnTo>
                  <a:lnTo>
                    <a:pt x="556" y="235"/>
                  </a:lnTo>
                  <a:lnTo>
                    <a:pt x="558" y="233"/>
                  </a:lnTo>
                  <a:lnTo>
                    <a:pt x="558" y="230"/>
                  </a:lnTo>
                  <a:lnTo>
                    <a:pt x="564" y="227"/>
                  </a:lnTo>
                  <a:lnTo>
                    <a:pt x="566" y="227"/>
                  </a:lnTo>
                  <a:lnTo>
                    <a:pt x="564" y="230"/>
                  </a:lnTo>
                  <a:close/>
                  <a:moveTo>
                    <a:pt x="553" y="235"/>
                  </a:moveTo>
                  <a:lnTo>
                    <a:pt x="545" y="238"/>
                  </a:lnTo>
                  <a:lnTo>
                    <a:pt x="548" y="241"/>
                  </a:lnTo>
                  <a:lnTo>
                    <a:pt x="553" y="238"/>
                  </a:lnTo>
                  <a:lnTo>
                    <a:pt x="556" y="238"/>
                  </a:lnTo>
                  <a:lnTo>
                    <a:pt x="553" y="235"/>
                  </a:lnTo>
                  <a:close/>
                  <a:moveTo>
                    <a:pt x="532" y="248"/>
                  </a:moveTo>
                  <a:lnTo>
                    <a:pt x="535" y="246"/>
                  </a:lnTo>
                  <a:lnTo>
                    <a:pt x="533" y="248"/>
                  </a:lnTo>
                  <a:lnTo>
                    <a:pt x="532" y="248"/>
                  </a:lnTo>
                  <a:close/>
                  <a:moveTo>
                    <a:pt x="542" y="241"/>
                  </a:moveTo>
                  <a:lnTo>
                    <a:pt x="540" y="238"/>
                  </a:lnTo>
                  <a:lnTo>
                    <a:pt x="535" y="246"/>
                  </a:lnTo>
                  <a:lnTo>
                    <a:pt x="542" y="241"/>
                  </a:lnTo>
                  <a:close/>
                  <a:moveTo>
                    <a:pt x="720" y="108"/>
                  </a:moveTo>
                  <a:cubicBezTo>
                    <a:pt x="773" y="164"/>
                    <a:pt x="807" y="238"/>
                    <a:pt x="807" y="320"/>
                  </a:cubicBezTo>
                  <a:lnTo>
                    <a:pt x="754" y="320"/>
                  </a:lnTo>
                  <a:cubicBezTo>
                    <a:pt x="754" y="280"/>
                    <a:pt x="744" y="241"/>
                    <a:pt x="725" y="206"/>
                  </a:cubicBezTo>
                  <a:lnTo>
                    <a:pt x="728" y="209"/>
                  </a:lnTo>
                  <a:lnTo>
                    <a:pt x="728" y="206"/>
                  </a:lnTo>
                  <a:lnTo>
                    <a:pt x="717" y="190"/>
                  </a:lnTo>
                  <a:lnTo>
                    <a:pt x="707" y="174"/>
                  </a:lnTo>
                  <a:lnTo>
                    <a:pt x="693" y="164"/>
                  </a:lnTo>
                  <a:cubicBezTo>
                    <a:pt x="688" y="158"/>
                    <a:pt x="683" y="153"/>
                    <a:pt x="680" y="148"/>
                  </a:cubicBezTo>
                  <a:lnTo>
                    <a:pt x="720" y="108"/>
                  </a:lnTo>
                  <a:close/>
                  <a:moveTo>
                    <a:pt x="651" y="174"/>
                  </a:moveTo>
                  <a:lnTo>
                    <a:pt x="664" y="174"/>
                  </a:lnTo>
                  <a:lnTo>
                    <a:pt x="667" y="177"/>
                  </a:lnTo>
                  <a:lnTo>
                    <a:pt x="664" y="182"/>
                  </a:lnTo>
                  <a:lnTo>
                    <a:pt x="683" y="193"/>
                  </a:lnTo>
                  <a:lnTo>
                    <a:pt x="685" y="193"/>
                  </a:lnTo>
                  <a:lnTo>
                    <a:pt x="709" y="219"/>
                  </a:lnTo>
                  <a:lnTo>
                    <a:pt x="720" y="217"/>
                  </a:lnTo>
                  <a:cubicBezTo>
                    <a:pt x="733" y="248"/>
                    <a:pt x="744" y="283"/>
                    <a:pt x="744" y="317"/>
                  </a:cubicBezTo>
                  <a:lnTo>
                    <a:pt x="691" y="317"/>
                  </a:lnTo>
                  <a:cubicBezTo>
                    <a:pt x="691" y="304"/>
                    <a:pt x="688" y="291"/>
                    <a:pt x="685" y="278"/>
                  </a:cubicBezTo>
                  <a:lnTo>
                    <a:pt x="688" y="275"/>
                  </a:lnTo>
                  <a:lnTo>
                    <a:pt x="690" y="262"/>
                  </a:lnTo>
                  <a:lnTo>
                    <a:pt x="685" y="262"/>
                  </a:lnTo>
                  <a:cubicBezTo>
                    <a:pt x="685" y="262"/>
                    <a:pt x="680" y="251"/>
                    <a:pt x="677" y="248"/>
                  </a:cubicBezTo>
                  <a:lnTo>
                    <a:pt x="680" y="246"/>
                  </a:lnTo>
                  <a:lnTo>
                    <a:pt x="675" y="241"/>
                  </a:lnTo>
                  <a:lnTo>
                    <a:pt x="675" y="235"/>
                  </a:lnTo>
                  <a:lnTo>
                    <a:pt x="672" y="230"/>
                  </a:lnTo>
                  <a:lnTo>
                    <a:pt x="667" y="230"/>
                  </a:lnTo>
                  <a:cubicBezTo>
                    <a:pt x="664" y="227"/>
                    <a:pt x="664" y="225"/>
                    <a:pt x="662" y="222"/>
                  </a:cubicBezTo>
                  <a:lnTo>
                    <a:pt x="664" y="219"/>
                  </a:lnTo>
                  <a:lnTo>
                    <a:pt x="662" y="217"/>
                  </a:lnTo>
                  <a:lnTo>
                    <a:pt x="656" y="219"/>
                  </a:lnTo>
                  <a:lnTo>
                    <a:pt x="659" y="211"/>
                  </a:lnTo>
                  <a:lnTo>
                    <a:pt x="656" y="209"/>
                  </a:lnTo>
                  <a:lnTo>
                    <a:pt x="654" y="214"/>
                  </a:lnTo>
                  <a:cubicBezTo>
                    <a:pt x="648" y="206"/>
                    <a:pt x="640" y="198"/>
                    <a:pt x="635" y="190"/>
                  </a:cubicBezTo>
                  <a:lnTo>
                    <a:pt x="651" y="174"/>
                  </a:lnTo>
                  <a:close/>
                  <a:moveTo>
                    <a:pt x="690" y="260"/>
                  </a:moveTo>
                  <a:lnTo>
                    <a:pt x="691" y="262"/>
                  </a:lnTo>
                  <a:lnTo>
                    <a:pt x="690" y="262"/>
                  </a:lnTo>
                  <a:lnTo>
                    <a:pt x="690" y="260"/>
                  </a:lnTo>
                  <a:close/>
                  <a:moveTo>
                    <a:pt x="691" y="259"/>
                  </a:moveTo>
                  <a:lnTo>
                    <a:pt x="688" y="241"/>
                  </a:lnTo>
                  <a:lnTo>
                    <a:pt x="683" y="219"/>
                  </a:lnTo>
                  <a:lnTo>
                    <a:pt x="667" y="198"/>
                  </a:lnTo>
                  <a:lnTo>
                    <a:pt x="669" y="201"/>
                  </a:lnTo>
                  <a:lnTo>
                    <a:pt x="672" y="198"/>
                  </a:lnTo>
                  <a:lnTo>
                    <a:pt x="659" y="190"/>
                  </a:lnTo>
                  <a:lnTo>
                    <a:pt x="659" y="193"/>
                  </a:lnTo>
                  <a:lnTo>
                    <a:pt x="672" y="209"/>
                  </a:lnTo>
                  <a:lnTo>
                    <a:pt x="680" y="222"/>
                  </a:lnTo>
                  <a:lnTo>
                    <a:pt x="685" y="235"/>
                  </a:lnTo>
                  <a:lnTo>
                    <a:pt x="688" y="246"/>
                  </a:lnTo>
                  <a:lnTo>
                    <a:pt x="690" y="260"/>
                  </a:lnTo>
                  <a:lnTo>
                    <a:pt x="691" y="259"/>
                  </a:lnTo>
                  <a:close/>
                  <a:moveTo>
                    <a:pt x="640" y="299"/>
                  </a:moveTo>
                  <a:lnTo>
                    <a:pt x="651" y="294"/>
                  </a:lnTo>
                  <a:lnTo>
                    <a:pt x="662" y="291"/>
                  </a:lnTo>
                  <a:lnTo>
                    <a:pt x="664" y="286"/>
                  </a:lnTo>
                  <a:lnTo>
                    <a:pt x="669" y="283"/>
                  </a:lnTo>
                  <a:lnTo>
                    <a:pt x="672" y="278"/>
                  </a:lnTo>
                  <a:lnTo>
                    <a:pt x="675" y="270"/>
                  </a:lnTo>
                  <a:cubicBezTo>
                    <a:pt x="675" y="272"/>
                    <a:pt x="677" y="275"/>
                    <a:pt x="677" y="278"/>
                  </a:cubicBezTo>
                  <a:lnTo>
                    <a:pt x="672" y="294"/>
                  </a:lnTo>
                  <a:lnTo>
                    <a:pt x="672" y="299"/>
                  </a:lnTo>
                  <a:lnTo>
                    <a:pt x="680" y="288"/>
                  </a:lnTo>
                  <a:cubicBezTo>
                    <a:pt x="683" y="296"/>
                    <a:pt x="683" y="307"/>
                    <a:pt x="683" y="317"/>
                  </a:cubicBezTo>
                  <a:lnTo>
                    <a:pt x="635" y="317"/>
                  </a:lnTo>
                  <a:lnTo>
                    <a:pt x="635" y="312"/>
                  </a:lnTo>
                  <a:lnTo>
                    <a:pt x="640" y="307"/>
                  </a:lnTo>
                  <a:lnTo>
                    <a:pt x="640" y="304"/>
                  </a:lnTo>
                  <a:lnTo>
                    <a:pt x="643" y="301"/>
                  </a:lnTo>
                  <a:lnTo>
                    <a:pt x="648" y="301"/>
                  </a:lnTo>
                  <a:lnTo>
                    <a:pt x="648" y="299"/>
                  </a:lnTo>
                  <a:lnTo>
                    <a:pt x="640" y="299"/>
                  </a:lnTo>
                  <a:close/>
                  <a:moveTo>
                    <a:pt x="577" y="264"/>
                  </a:moveTo>
                  <a:lnTo>
                    <a:pt x="582" y="264"/>
                  </a:lnTo>
                  <a:lnTo>
                    <a:pt x="577" y="262"/>
                  </a:lnTo>
                  <a:lnTo>
                    <a:pt x="579" y="251"/>
                  </a:lnTo>
                  <a:lnTo>
                    <a:pt x="585" y="246"/>
                  </a:lnTo>
                  <a:cubicBezTo>
                    <a:pt x="587" y="251"/>
                    <a:pt x="593" y="254"/>
                    <a:pt x="595" y="259"/>
                  </a:cubicBezTo>
                  <a:lnTo>
                    <a:pt x="593" y="264"/>
                  </a:lnTo>
                  <a:lnTo>
                    <a:pt x="587" y="262"/>
                  </a:lnTo>
                  <a:lnTo>
                    <a:pt x="582" y="262"/>
                  </a:lnTo>
                  <a:lnTo>
                    <a:pt x="585" y="264"/>
                  </a:lnTo>
                  <a:lnTo>
                    <a:pt x="587" y="264"/>
                  </a:lnTo>
                  <a:lnTo>
                    <a:pt x="585" y="270"/>
                  </a:lnTo>
                  <a:lnTo>
                    <a:pt x="582" y="267"/>
                  </a:lnTo>
                  <a:lnTo>
                    <a:pt x="577" y="264"/>
                  </a:lnTo>
                  <a:close/>
                  <a:moveTo>
                    <a:pt x="595" y="439"/>
                  </a:moveTo>
                  <a:lnTo>
                    <a:pt x="585" y="437"/>
                  </a:lnTo>
                  <a:lnTo>
                    <a:pt x="582" y="437"/>
                  </a:lnTo>
                  <a:lnTo>
                    <a:pt x="577" y="431"/>
                  </a:lnTo>
                  <a:lnTo>
                    <a:pt x="571" y="429"/>
                  </a:lnTo>
                  <a:lnTo>
                    <a:pt x="579" y="421"/>
                  </a:lnTo>
                  <a:lnTo>
                    <a:pt x="590" y="429"/>
                  </a:lnTo>
                  <a:lnTo>
                    <a:pt x="598" y="431"/>
                  </a:lnTo>
                  <a:lnTo>
                    <a:pt x="595" y="439"/>
                  </a:lnTo>
                  <a:close/>
                  <a:moveTo>
                    <a:pt x="627" y="198"/>
                  </a:moveTo>
                  <a:lnTo>
                    <a:pt x="651" y="230"/>
                  </a:lnTo>
                  <a:lnTo>
                    <a:pt x="646" y="230"/>
                  </a:lnTo>
                  <a:lnTo>
                    <a:pt x="646" y="238"/>
                  </a:lnTo>
                  <a:lnTo>
                    <a:pt x="659" y="246"/>
                  </a:lnTo>
                  <a:lnTo>
                    <a:pt x="667" y="270"/>
                  </a:lnTo>
                  <a:lnTo>
                    <a:pt x="664" y="272"/>
                  </a:lnTo>
                  <a:lnTo>
                    <a:pt x="659" y="275"/>
                  </a:lnTo>
                  <a:lnTo>
                    <a:pt x="659" y="283"/>
                  </a:lnTo>
                  <a:lnTo>
                    <a:pt x="656" y="286"/>
                  </a:lnTo>
                  <a:lnTo>
                    <a:pt x="654" y="288"/>
                  </a:lnTo>
                  <a:lnTo>
                    <a:pt x="651" y="288"/>
                  </a:lnTo>
                  <a:lnTo>
                    <a:pt x="646" y="288"/>
                  </a:lnTo>
                  <a:lnTo>
                    <a:pt x="648" y="283"/>
                  </a:lnTo>
                  <a:lnTo>
                    <a:pt x="651" y="272"/>
                  </a:lnTo>
                  <a:lnTo>
                    <a:pt x="654" y="270"/>
                  </a:lnTo>
                  <a:lnTo>
                    <a:pt x="643" y="259"/>
                  </a:lnTo>
                  <a:lnTo>
                    <a:pt x="635" y="262"/>
                  </a:lnTo>
                  <a:lnTo>
                    <a:pt x="632" y="270"/>
                  </a:lnTo>
                  <a:lnTo>
                    <a:pt x="627" y="275"/>
                  </a:lnTo>
                  <a:lnTo>
                    <a:pt x="622" y="270"/>
                  </a:lnTo>
                  <a:lnTo>
                    <a:pt x="619" y="264"/>
                  </a:lnTo>
                  <a:lnTo>
                    <a:pt x="622" y="262"/>
                  </a:lnTo>
                  <a:lnTo>
                    <a:pt x="624" y="264"/>
                  </a:lnTo>
                  <a:lnTo>
                    <a:pt x="627" y="264"/>
                  </a:lnTo>
                  <a:lnTo>
                    <a:pt x="627" y="259"/>
                  </a:lnTo>
                  <a:lnTo>
                    <a:pt x="624" y="259"/>
                  </a:lnTo>
                  <a:lnTo>
                    <a:pt x="624" y="262"/>
                  </a:lnTo>
                  <a:lnTo>
                    <a:pt x="622" y="262"/>
                  </a:lnTo>
                  <a:lnTo>
                    <a:pt x="611" y="248"/>
                  </a:lnTo>
                  <a:lnTo>
                    <a:pt x="606" y="246"/>
                  </a:lnTo>
                  <a:lnTo>
                    <a:pt x="609" y="243"/>
                  </a:lnTo>
                  <a:lnTo>
                    <a:pt x="603" y="243"/>
                  </a:lnTo>
                  <a:lnTo>
                    <a:pt x="606" y="246"/>
                  </a:lnTo>
                  <a:lnTo>
                    <a:pt x="601" y="246"/>
                  </a:lnTo>
                  <a:cubicBezTo>
                    <a:pt x="598" y="246"/>
                    <a:pt x="595" y="241"/>
                    <a:pt x="590" y="235"/>
                  </a:cubicBezTo>
                  <a:lnTo>
                    <a:pt x="627" y="198"/>
                  </a:lnTo>
                  <a:close/>
                  <a:moveTo>
                    <a:pt x="609" y="434"/>
                  </a:moveTo>
                  <a:lnTo>
                    <a:pt x="603" y="429"/>
                  </a:lnTo>
                  <a:lnTo>
                    <a:pt x="606" y="423"/>
                  </a:lnTo>
                  <a:lnTo>
                    <a:pt x="611" y="413"/>
                  </a:lnTo>
                  <a:lnTo>
                    <a:pt x="609" y="410"/>
                  </a:lnTo>
                  <a:lnTo>
                    <a:pt x="611" y="402"/>
                  </a:lnTo>
                  <a:lnTo>
                    <a:pt x="611" y="394"/>
                  </a:lnTo>
                  <a:lnTo>
                    <a:pt x="609" y="386"/>
                  </a:lnTo>
                  <a:lnTo>
                    <a:pt x="603" y="384"/>
                  </a:lnTo>
                  <a:lnTo>
                    <a:pt x="601" y="386"/>
                  </a:lnTo>
                  <a:lnTo>
                    <a:pt x="598" y="386"/>
                  </a:lnTo>
                  <a:cubicBezTo>
                    <a:pt x="603" y="381"/>
                    <a:pt x="606" y="373"/>
                    <a:pt x="609" y="368"/>
                  </a:cubicBezTo>
                  <a:lnTo>
                    <a:pt x="614" y="365"/>
                  </a:lnTo>
                  <a:lnTo>
                    <a:pt x="617" y="362"/>
                  </a:lnTo>
                  <a:lnTo>
                    <a:pt x="617" y="365"/>
                  </a:lnTo>
                  <a:lnTo>
                    <a:pt x="619" y="362"/>
                  </a:lnTo>
                  <a:lnTo>
                    <a:pt x="617" y="360"/>
                  </a:lnTo>
                  <a:lnTo>
                    <a:pt x="619" y="360"/>
                  </a:lnTo>
                  <a:lnTo>
                    <a:pt x="624" y="362"/>
                  </a:lnTo>
                  <a:lnTo>
                    <a:pt x="632" y="362"/>
                  </a:lnTo>
                  <a:lnTo>
                    <a:pt x="638" y="360"/>
                  </a:lnTo>
                  <a:lnTo>
                    <a:pt x="651" y="357"/>
                  </a:lnTo>
                  <a:lnTo>
                    <a:pt x="648" y="352"/>
                  </a:lnTo>
                  <a:lnTo>
                    <a:pt x="648" y="346"/>
                  </a:lnTo>
                  <a:lnTo>
                    <a:pt x="656" y="349"/>
                  </a:lnTo>
                  <a:lnTo>
                    <a:pt x="659" y="346"/>
                  </a:lnTo>
                  <a:lnTo>
                    <a:pt x="659" y="341"/>
                  </a:lnTo>
                  <a:lnTo>
                    <a:pt x="651" y="344"/>
                  </a:lnTo>
                  <a:lnTo>
                    <a:pt x="640" y="341"/>
                  </a:lnTo>
                  <a:lnTo>
                    <a:pt x="632" y="325"/>
                  </a:lnTo>
                  <a:lnTo>
                    <a:pt x="675" y="325"/>
                  </a:lnTo>
                  <a:cubicBezTo>
                    <a:pt x="672" y="373"/>
                    <a:pt x="654" y="415"/>
                    <a:pt x="622" y="447"/>
                  </a:cubicBezTo>
                  <a:lnTo>
                    <a:pt x="617" y="442"/>
                  </a:lnTo>
                  <a:lnTo>
                    <a:pt x="619" y="434"/>
                  </a:lnTo>
                  <a:lnTo>
                    <a:pt x="614" y="418"/>
                  </a:lnTo>
                  <a:lnTo>
                    <a:pt x="609" y="434"/>
                  </a:lnTo>
                  <a:close/>
                  <a:moveTo>
                    <a:pt x="622" y="527"/>
                  </a:moveTo>
                  <a:lnTo>
                    <a:pt x="619" y="521"/>
                  </a:lnTo>
                  <a:lnTo>
                    <a:pt x="627" y="516"/>
                  </a:lnTo>
                  <a:lnTo>
                    <a:pt x="627" y="513"/>
                  </a:lnTo>
                  <a:lnTo>
                    <a:pt x="622" y="511"/>
                  </a:lnTo>
                  <a:lnTo>
                    <a:pt x="627" y="500"/>
                  </a:lnTo>
                  <a:lnTo>
                    <a:pt x="635" y="489"/>
                  </a:lnTo>
                  <a:lnTo>
                    <a:pt x="627" y="482"/>
                  </a:lnTo>
                  <a:lnTo>
                    <a:pt x="619" y="482"/>
                  </a:lnTo>
                  <a:lnTo>
                    <a:pt x="617" y="476"/>
                  </a:lnTo>
                  <a:cubicBezTo>
                    <a:pt x="619" y="474"/>
                    <a:pt x="622" y="471"/>
                    <a:pt x="627" y="468"/>
                  </a:cubicBezTo>
                  <a:lnTo>
                    <a:pt x="664" y="505"/>
                  </a:lnTo>
                  <a:cubicBezTo>
                    <a:pt x="651" y="516"/>
                    <a:pt x="635" y="529"/>
                    <a:pt x="617" y="537"/>
                  </a:cubicBezTo>
                  <a:lnTo>
                    <a:pt x="622" y="527"/>
                  </a:lnTo>
                  <a:close/>
                  <a:moveTo>
                    <a:pt x="664" y="489"/>
                  </a:moveTo>
                  <a:lnTo>
                    <a:pt x="669" y="484"/>
                  </a:lnTo>
                  <a:lnTo>
                    <a:pt x="667" y="463"/>
                  </a:lnTo>
                  <a:lnTo>
                    <a:pt x="664" y="463"/>
                  </a:lnTo>
                  <a:lnTo>
                    <a:pt x="667" y="460"/>
                  </a:lnTo>
                  <a:lnTo>
                    <a:pt x="659" y="458"/>
                  </a:lnTo>
                  <a:lnTo>
                    <a:pt x="656" y="466"/>
                  </a:lnTo>
                  <a:lnTo>
                    <a:pt x="656" y="476"/>
                  </a:lnTo>
                  <a:lnTo>
                    <a:pt x="654" y="479"/>
                  </a:lnTo>
                  <a:lnTo>
                    <a:pt x="638" y="463"/>
                  </a:lnTo>
                  <a:cubicBezTo>
                    <a:pt x="669" y="429"/>
                    <a:pt x="691" y="384"/>
                    <a:pt x="693" y="336"/>
                  </a:cubicBezTo>
                  <a:lnTo>
                    <a:pt x="746" y="336"/>
                  </a:lnTo>
                  <a:cubicBezTo>
                    <a:pt x="744" y="399"/>
                    <a:pt x="717" y="458"/>
                    <a:pt x="675" y="503"/>
                  </a:cubicBezTo>
                  <a:lnTo>
                    <a:pt x="664" y="489"/>
                  </a:lnTo>
                  <a:close/>
                  <a:moveTo>
                    <a:pt x="680" y="503"/>
                  </a:moveTo>
                  <a:cubicBezTo>
                    <a:pt x="725" y="458"/>
                    <a:pt x="752" y="397"/>
                    <a:pt x="754" y="331"/>
                  </a:cubicBezTo>
                  <a:lnTo>
                    <a:pt x="807" y="331"/>
                  </a:lnTo>
                  <a:cubicBezTo>
                    <a:pt x="805" y="413"/>
                    <a:pt x="773" y="487"/>
                    <a:pt x="717" y="542"/>
                  </a:cubicBezTo>
                  <a:lnTo>
                    <a:pt x="680" y="503"/>
                  </a:lnTo>
                  <a:close/>
                  <a:moveTo>
                    <a:pt x="357" y="452"/>
                  </a:moveTo>
                  <a:cubicBezTo>
                    <a:pt x="354" y="447"/>
                    <a:pt x="349" y="444"/>
                    <a:pt x="346" y="439"/>
                  </a:cubicBezTo>
                  <a:lnTo>
                    <a:pt x="349" y="426"/>
                  </a:lnTo>
                  <a:lnTo>
                    <a:pt x="344" y="413"/>
                  </a:lnTo>
                  <a:lnTo>
                    <a:pt x="344" y="391"/>
                  </a:lnTo>
                  <a:lnTo>
                    <a:pt x="338" y="378"/>
                  </a:lnTo>
                  <a:lnTo>
                    <a:pt x="341" y="370"/>
                  </a:lnTo>
                  <a:lnTo>
                    <a:pt x="333" y="357"/>
                  </a:lnTo>
                  <a:lnTo>
                    <a:pt x="325" y="354"/>
                  </a:lnTo>
                  <a:lnTo>
                    <a:pt x="328" y="346"/>
                  </a:lnTo>
                  <a:lnTo>
                    <a:pt x="325" y="341"/>
                  </a:lnTo>
                  <a:lnTo>
                    <a:pt x="328" y="333"/>
                  </a:lnTo>
                  <a:lnTo>
                    <a:pt x="336" y="333"/>
                  </a:lnTo>
                  <a:lnTo>
                    <a:pt x="338" y="328"/>
                  </a:lnTo>
                  <a:lnTo>
                    <a:pt x="352" y="328"/>
                  </a:lnTo>
                  <a:lnTo>
                    <a:pt x="354" y="331"/>
                  </a:lnTo>
                  <a:lnTo>
                    <a:pt x="352" y="344"/>
                  </a:lnTo>
                  <a:lnTo>
                    <a:pt x="349" y="346"/>
                  </a:lnTo>
                  <a:lnTo>
                    <a:pt x="354" y="357"/>
                  </a:lnTo>
                  <a:lnTo>
                    <a:pt x="352" y="360"/>
                  </a:lnTo>
                  <a:lnTo>
                    <a:pt x="349" y="357"/>
                  </a:lnTo>
                  <a:lnTo>
                    <a:pt x="352" y="362"/>
                  </a:lnTo>
                  <a:lnTo>
                    <a:pt x="354" y="370"/>
                  </a:lnTo>
                  <a:lnTo>
                    <a:pt x="357" y="370"/>
                  </a:lnTo>
                  <a:lnTo>
                    <a:pt x="357" y="365"/>
                  </a:lnTo>
                  <a:lnTo>
                    <a:pt x="354" y="362"/>
                  </a:lnTo>
                  <a:lnTo>
                    <a:pt x="354" y="357"/>
                  </a:lnTo>
                  <a:lnTo>
                    <a:pt x="354" y="349"/>
                  </a:lnTo>
                  <a:lnTo>
                    <a:pt x="357" y="333"/>
                  </a:lnTo>
                  <a:lnTo>
                    <a:pt x="354" y="328"/>
                  </a:lnTo>
                  <a:lnTo>
                    <a:pt x="362" y="328"/>
                  </a:lnTo>
                  <a:cubicBezTo>
                    <a:pt x="365" y="360"/>
                    <a:pt x="378" y="389"/>
                    <a:pt x="399" y="413"/>
                  </a:cubicBezTo>
                  <a:lnTo>
                    <a:pt x="357" y="452"/>
                  </a:lnTo>
                  <a:close/>
                  <a:moveTo>
                    <a:pt x="320" y="349"/>
                  </a:moveTo>
                  <a:lnTo>
                    <a:pt x="315" y="357"/>
                  </a:lnTo>
                  <a:lnTo>
                    <a:pt x="307" y="357"/>
                  </a:lnTo>
                  <a:cubicBezTo>
                    <a:pt x="304" y="349"/>
                    <a:pt x="304" y="341"/>
                    <a:pt x="304" y="331"/>
                  </a:cubicBezTo>
                  <a:lnTo>
                    <a:pt x="320" y="331"/>
                  </a:lnTo>
                  <a:lnTo>
                    <a:pt x="317" y="344"/>
                  </a:lnTo>
                  <a:lnTo>
                    <a:pt x="320" y="349"/>
                  </a:lnTo>
                  <a:close/>
                  <a:moveTo>
                    <a:pt x="338" y="312"/>
                  </a:moveTo>
                  <a:lnTo>
                    <a:pt x="338" y="301"/>
                  </a:lnTo>
                  <a:lnTo>
                    <a:pt x="344" y="299"/>
                  </a:lnTo>
                  <a:lnTo>
                    <a:pt x="354" y="301"/>
                  </a:lnTo>
                  <a:lnTo>
                    <a:pt x="357" y="304"/>
                  </a:lnTo>
                  <a:cubicBezTo>
                    <a:pt x="357" y="309"/>
                    <a:pt x="354" y="317"/>
                    <a:pt x="354" y="323"/>
                  </a:cubicBezTo>
                  <a:lnTo>
                    <a:pt x="341" y="323"/>
                  </a:lnTo>
                  <a:lnTo>
                    <a:pt x="338" y="312"/>
                  </a:lnTo>
                  <a:close/>
                  <a:moveTo>
                    <a:pt x="391" y="352"/>
                  </a:moveTo>
                  <a:lnTo>
                    <a:pt x="394" y="352"/>
                  </a:lnTo>
                  <a:lnTo>
                    <a:pt x="402" y="357"/>
                  </a:lnTo>
                  <a:lnTo>
                    <a:pt x="399" y="360"/>
                  </a:lnTo>
                  <a:lnTo>
                    <a:pt x="407" y="365"/>
                  </a:lnTo>
                  <a:lnTo>
                    <a:pt x="407" y="360"/>
                  </a:lnTo>
                  <a:lnTo>
                    <a:pt x="413" y="352"/>
                  </a:lnTo>
                  <a:lnTo>
                    <a:pt x="418" y="357"/>
                  </a:lnTo>
                  <a:lnTo>
                    <a:pt x="423" y="362"/>
                  </a:lnTo>
                  <a:lnTo>
                    <a:pt x="415" y="365"/>
                  </a:lnTo>
                  <a:lnTo>
                    <a:pt x="418" y="373"/>
                  </a:lnTo>
                  <a:lnTo>
                    <a:pt x="423" y="370"/>
                  </a:lnTo>
                  <a:lnTo>
                    <a:pt x="423" y="368"/>
                  </a:lnTo>
                  <a:lnTo>
                    <a:pt x="429" y="365"/>
                  </a:lnTo>
                  <a:lnTo>
                    <a:pt x="431" y="354"/>
                  </a:lnTo>
                  <a:cubicBezTo>
                    <a:pt x="434" y="362"/>
                    <a:pt x="439" y="368"/>
                    <a:pt x="444" y="373"/>
                  </a:cubicBezTo>
                  <a:lnTo>
                    <a:pt x="407" y="410"/>
                  </a:lnTo>
                  <a:cubicBezTo>
                    <a:pt x="389" y="391"/>
                    <a:pt x="378" y="368"/>
                    <a:pt x="373" y="339"/>
                  </a:cubicBezTo>
                  <a:lnTo>
                    <a:pt x="381" y="346"/>
                  </a:lnTo>
                  <a:lnTo>
                    <a:pt x="389" y="346"/>
                  </a:lnTo>
                  <a:lnTo>
                    <a:pt x="391" y="352"/>
                  </a:lnTo>
                  <a:close/>
                  <a:moveTo>
                    <a:pt x="391" y="233"/>
                  </a:moveTo>
                  <a:cubicBezTo>
                    <a:pt x="383" y="241"/>
                    <a:pt x="376" y="251"/>
                    <a:pt x="370" y="262"/>
                  </a:cubicBezTo>
                  <a:lnTo>
                    <a:pt x="368" y="262"/>
                  </a:lnTo>
                  <a:lnTo>
                    <a:pt x="362" y="264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62" y="270"/>
                  </a:lnTo>
                  <a:lnTo>
                    <a:pt x="368" y="267"/>
                  </a:lnTo>
                  <a:lnTo>
                    <a:pt x="368" y="270"/>
                  </a:lnTo>
                  <a:lnTo>
                    <a:pt x="362" y="272"/>
                  </a:lnTo>
                  <a:lnTo>
                    <a:pt x="360" y="272"/>
                  </a:lnTo>
                  <a:lnTo>
                    <a:pt x="352" y="278"/>
                  </a:lnTo>
                  <a:lnTo>
                    <a:pt x="344" y="278"/>
                  </a:lnTo>
                  <a:lnTo>
                    <a:pt x="333" y="299"/>
                  </a:lnTo>
                  <a:lnTo>
                    <a:pt x="336" y="304"/>
                  </a:lnTo>
                  <a:lnTo>
                    <a:pt x="331" y="312"/>
                  </a:lnTo>
                  <a:lnTo>
                    <a:pt x="331" y="320"/>
                  </a:lnTo>
                  <a:lnTo>
                    <a:pt x="307" y="320"/>
                  </a:lnTo>
                  <a:cubicBezTo>
                    <a:pt x="304" y="272"/>
                    <a:pt x="323" y="230"/>
                    <a:pt x="354" y="196"/>
                  </a:cubicBezTo>
                  <a:lnTo>
                    <a:pt x="391" y="233"/>
                  </a:lnTo>
                  <a:close/>
                  <a:moveTo>
                    <a:pt x="304" y="479"/>
                  </a:moveTo>
                  <a:lnTo>
                    <a:pt x="317" y="487"/>
                  </a:lnTo>
                  <a:lnTo>
                    <a:pt x="320" y="489"/>
                  </a:lnTo>
                  <a:lnTo>
                    <a:pt x="312" y="497"/>
                  </a:lnTo>
                  <a:cubicBezTo>
                    <a:pt x="307" y="492"/>
                    <a:pt x="304" y="489"/>
                    <a:pt x="301" y="484"/>
                  </a:cubicBezTo>
                  <a:lnTo>
                    <a:pt x="304" y="479"/>
                  </a:lnTo>
                  <a:close/>
                  <a:moveTo>
                    <a:pt x="293" y="346"/>
                  </a:moveTo>
                  <a:lnTo>
                    <a:pt x="288" y="349"/>
                  </a:lnTo>
                  <a:lnTo>
                    <a:pt x="286" y="354"/>
                  </a:lnTo>
                  <a:lnTo>
                    <a:pt x="272" y="370"/>
                  </a:lnTo>
                  <a:lnTo>
                    <a:pt x="272" y="394"/>
                  </a:lnTo>
                  <a:lnTo>
                    <a:pt x="259" y="399"/>
                  </a:lnTo>
                  <a:lnTo>
                    <a:pt x="251" y="399"/>
                  </a:lnTo>
                  <a:cubicBezTo>
                    <a:pt x="243" y="378"/>
                    <a:pt x="240" y="354"/>
                    <a:pt x="238" y="331"/>
                  </a:cubicBezTo>
                  <a:lnTo>
                    <a:pt x="293" y="331"/>
                  </a:lnTo>
                  <a:lnTo>
                    <a:pt x="293" y="346"/>
                  </a:lnTo>
                  <a:close/>
                  <a:moveTo>
                    <a:pt x="238" y="399"/>
                  </a:moveTo>
                  <a:lnTo>
                    <a:pt x="235" y="397"/>
                  </a:lnTo>
                  <a:lnTo>
                    <a:pt x="219" y="397"/>
                  </a:lnTo>
                  <a:lnTo>
                    <a:pt x="225" y="402"/>
                  </a:lnTo>
                  <a:lnTo>
                    <a:pt x="211" y="399"/>
                  </a:lnTo>
                  <a:lnTo>
                    <a:pt x="214" y="397"/>
                  </a:lnTo>
                  <a:lnTo>
                    <a:pt x="211" y="394"/>
                  </a:lnTo>
                  <a:lnTo>
                    <a:pt x="201" y="399"/>
                  </a:lnTo>
                  <a:lnTo>
                    <a:pt x="198" y="407"/>
                  </a:lnTo>
                  <a:lnTo>
                    <a:pt x="201" y="423"/>
                  </a:lnTo>
                  <a:lnTo>
                    <a:pt x="211" y="450"/>
                  </a:lnTo>
                  <a:lnTo>
                    <a:pt x="217" y="458"/>
                  </a:lnTo>
                  <a:lnTo>
                    <a:pt x="219" y="458"/>
                  </a:lnTo>
                  <a:lnTo>
                    <a:pt x="211" y="442"/>
                  </a:lnTo>
                  <a:lnTo>
                    <a:pt x="209" y="434"/>
                  </a:lnTo>
                  <a:lnTo>
                    <a:pt x="211" y="431"/>
                  </a:lnTo>
                  <a:lnTo>
                    <a:pt x="211" y="426"/>
                  </a:lnTo>
                  <a:lnTo>
                    <a:pt x="217" y="426"/>
                  </a:lnTo>
                  <a:lnTo>
                    <a:pt x="225" y="439"/>
                  </a:lnTo>
                  <a:lnTo>
                    <a:pt x="227" y="439"/>
                  </a:lnTo>
                  <a:lnTo>
                    <a:pt x="227" y="431"/>
                  </a:lnTo>
                  <a:lnTo>
                    <a:pt x="230" y="434"/>
                  </a:lnTo>
                  <a:lnTo>
                    <a:pt x="230" y="439"/>
                  </a:lnTo>
                  <a:lnTo>
                    <a:pt x="238" y="442"/>
                  </a:lnTo>
                  <a:lnTo>
                    <a:pt x="240" y="439"/>
                  </a:lnTo>
                  <a:lnTo>
                    <a:pt x="240" y="444"/>
                  </a:lnTo>
                  <a:lnTo>
                    <a:pt x="243" y="450"/>
                  </a:lnTo>
                  <a:lnTo>
                    <a:pt x="248" y="450"/>
                  </a:lnTo>
                  <a:lnTo>
                    <a:pt x="259" y="466"/>
                  </a:lnTo>
                  <a:lnTo>
                    <a:pt x="264" y="468"/>
                  </a:lnTo>
                  <a:lnTo>
                    <a:pt x="267" y="460"/>
                  </a:lnTo>
                  <a:cubicBezTo>
                    <a:pt x="278" y="476"/>
                    <a:pt x="291" y="492"/>
                    <a:pt x="304" y="508"/>
                  </a:cubicBezTo>
                  <a:lnTo>
                    <a:pt x="267" y="545"/>
                  </a:lnTo>
                  <a:cubicBezTo>
                    <a:pt x="211" y="489"/>
                    <a:pt x="180" y="415"/>
                    <a:pt x="177" y="333"/>
                  </a:cubicBezTo>
                  <a:lnTo>
                    <a:pt x="230" y="333"/>
                  </a:lnTo>
                  <a:cubicBezTo>
                    <a:pt x="230" y="354"/>
                    <a:pt x="233" y="378"/>
                    <a:pt x="240" y="399"/>
                  </a:cubicBezTo>
                  <a:lnTo>
                    <a:pt x="238" y="399"/>
                  </a:lnTo>
                  <a:close/>
                  <a:moveTo>
                    <a:pt x="299" y="143"/>
                  </a:moveTo>
                  <a:cubicBezTo>
                    <a:pt x="254" y="188"/>
                    <a:pt x="227" y="251"/>
                    <a:pt x="227" y="317"/>
                  </a:cubicBezTo>
                  <a:lnTo>
                    <a:pt x="174" y="317"/>
                  </a:lnTo>
                  <a:cubicBezTo>
                    <a:pt x="174" y="238"/>
                    <a:pt x="209" y="161"/>
                    <a:pt x="262" y="106"/>
                  </a:cubicBezTo>
                  <a:lnTo>
                    <a:pt x="299" y="143"/>
                  </a:lnTo>
                  <a:close/>
                  <a:moveTo>
                    <a:pt x="651" y="87"/>
                  </a:moveTo>
                  <a:lnTo>
                    <a:pt x="648" y="82"/>
                  </a:lnTo>
                  <a:lnTo>
                    <a:pt x="640" y="79"/>
                  </a:lnTo>
                  <a:lnTo>
                    <a:pt x="635" y="84"/>
                  </a:lnTo>
                  <a:lnTo>
                    <a:pt x="643" y="87"/>
                  </a:lnTo>
                  <a:lnTo>
                    <a:pt x="651" y="92"/>
                  </a:lnTo>
                  <a:lnTo>
                    <a:pt x="651" y="87"/>
                  </a:lnTo>
                  <a:close/>
                  <a:moveTo>
                    <a:pt x="619" y="238"/>
                  </a:moveTo>
                  <a:lnTo>
                    <a:pt x="619" y="243"/>
                  </a:lnTo>
                  <a:lnTo>
                    <a:pt x="630" y="241"/>
                  </a:lnTo>
                  <a:lnTo>
                    <a:pt x="632" y="235"/>
                  </a:lnTo>
                  <a:lnTo>
                    <a:pt x="627" y="227"/>
                  </a:lnTo>
                  <a:lnTo>
                    <a:pt x="630" y="222"/>
                  </a:lnTo>
                  <a:lnTo>
                    <a:pt x="638" y="227"/>
                  </a:lnTo>
                  <a:lnTo>
                    <a:pt x="635" y="225"/>
                  </a:lnTo>
                  <a:lnTo>
                    <a:pt x="638" y="222"/>
                  </a:lnTo>
                  <a:lnTo>
                    <a:pt x="635" y="217"/>
                  </a:lnTo>
                  <a:lnTo>
                    <a:pt x="627" y="222"/>
                  </a:lnTo>
                  <a:lnTo>
                    <a:pt x="624" y="227"/>
                  </a:lnTo>
                  <a:lnTo>
                    <a:pt x="622" y="233"/>
                  </a:lnTo>
                  <a:lnTo>
                    <a:pt x="624" y="238"/>
                  </a:lnTo>
                  <a:lnTo>
                    <a:pt x="624" y="241"/>
                  </a:lnTo>
                  <a:lnTo>
                    <a:pt x="619" y="238"/>
                  </a:lnTo>
                  <a:close/>
                  <a:moveTo>
                    <a:pt x="230" y="476"/>
                  </a:moveTo>
                  <a:lnTo>
                    <a:pt x="225" y="463"/>
                  </a:lnTo>
                  <a:lnTo>
                    <a:pt x="219" y="460"/>
                  </a:lnTo>
                  <a:lnTo>
                    <a:pt x="230" y="476"/>
                  </a:lnTo>
                  <a:close/>
                  <a:moveTo>
                    <a:pt x="466" y="296"/>
                  </a:moveTo>
                  <a:lnTo>
                    <a:pt x="466" y="294"/>
                  </a:lnTo>
                  <a:lnTo>
                    <a:pt x="460" y="288"/>
                  </a:lnTo>
                  <a:lnTo>
                    <a:pt x="463" y="283"/>
                  </a:lnTo>
                  <a:lnTo>
                    <a:pt x="466" y="283"/>
                  </a:lnTo>
                  <a:lnTo>
                    <a:pt x="466" y="259"/>
                  </a:lnTo>
                  <a:cubicBezTo>
                    <a:pt x="455" y="262"/>
                    <a:pt x="450" y="267"/>
                    <a:pt x="450" y="275"/>
                  </a:cubicBezTo>
                  <a:cubicBezTo>
                    <a:pt x="450" y="283"/>
                    <a:pt x="455" y="291"/>
                    <a:pt x="466" y="29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31">
              <a:extLst>
                <a:ext uri="{FF2B5EF4-FFF2-40B4-BE49-F238E27FC236}">
                  <a16:creationId xmlns:a16="http://schemas.microsoft.com/office/drawing/2014/main" id="{D221E438-7481-BE4F-B2A2-2A1F6D30F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75" y="2212975"/>
              <a:ext cx="15875" cy="23813"/>
            </a:xfrm>
            <a:custGeom>
              <a:avLst/>
              <a:gdLst>
                <a:gd name="T0" fmla="*/ 39 w 43"/>
                <a:gd name="T1" fmla="*/ 64 h 65"/>
                <a:gd name="T2" fmla="*/ 0 w 43"/>
                <a:gd name="T3" fmla="*/ 0 h 65"/>
                <a:gd name="T4" fmla="*/ 0 w 43"/>
                <a:gd name="T5" fmla="*/ 21 h 65"/>
                <a:gd name="T6" fmla="*/ 39 w 43"/>
                <a:gd name="T7" fmla="*/ 6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65">
                  <a:moveTo>
                    <a:pt x="39" y="64"/>
                  </a:moveTo>
                  <a:cubicBezTo>
                    <a:pt x="42" y="27"/>
                    <a:pt x="21" y="11"/>
                    <a:pt x="0" y="0"/>
                  </a:cubicBezTo>
                  <a:lnTo>
                    <a:pt x="0" y="21"/>
                  </a:lnTo>
                  <a:cubicBezTo>
                    <a:pt x="15" y="29"/>
                    <a:pt x="31" y="43"/>
                    <a:pt x="39" y="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id="{75B8F950-F32C-4D40-A995-339FB3389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4413" y="2055813"/>
              <a:ext cx="82550" cy="106362"/>
            </a:xfrm>
            <a:custGeom>
              <a:avLst/>
              <a:gdLst>
                <a:gd name="T0" fmla="*/ 143 w 229"/>
                <a:gd name="T1" fmla="*/ 3 h 297"/>
                <a:gd name="T2" fmla="*/ 125 w 229"/>
                <a:gd name="T3" fmla="*/ 0 h 297"/>
                <a:gd name="T4" fmla="*/ 125 w 229"/>
                <a:gd name="T5" fmla="*/ 16 h 297"/>
                <a:gd name="T6" fmla="*/ 125 w 229"/>
                <a:gd name="T7" fmla="*/ 34 h 297"/>
                <a:gd name="T8" fmla="*/ 135 w 229"/>
                <a:gd name="T9" fmla="*/ 37 h 297"/>
                <a:gd name="T10" fmla="*/ 183 w 229"/>
                <a:gd name="T11" fmla="*/ 85 h 297"/>
                <a:gd name="T12" fmla="*/ 122 w 229"/>
                <a:gd name="T13" fmla="*/ 138 h 297"/>
                <a:gd name="T14" fmla="*/ 111 w 229"/>
                <a:gd name="T15" fmla="*/ 140 h 297"/>
                <a:gd name="T16" fmla="*/ 80 w 229"/>
                <a:gd name="T17" fmla="*/ 148 h 297"/>
                <a:gd name="T18" fmla="*/ 69 w 229"/>
                <a:gd name="T19" fmla="*/ 151 h 297"/>
                <a:gd name="T20" fmla="*/ 0 w 229"/>
                <a:gd name="T21" fmla="*/ 225 h 297"/>
                <a:gd name="T22" fmla="*/ 72 w 229"/>
                <a:gd name="T23" fmla="*/ 296 h 297"/>
                <a:gd name="T24" fmla="*/ 72 w 229"/>
                <a:gd name="T25" fmla="*/ 257 h 297"/>
                <a:gd name="T26" fmla="*/ 45 w 229"/>
                <a:gd name="T27" fmla="*/ 225 h 297"/>
                <a:gd name="T28" fmla="*/ 72 w 229"/>
                <a:gd name="T29" fmla="*/ 193 h 297"/>
                <a:gd name="T30" fmla="*/ 82 w 229"/>
                <a:gd name="T31" fmla="*/ 188 h 297"/>
                <a:gd name="T32" fmla="*/ 111 w 229"/>
                <a:gd name="T33" fmla="*/ 180 h 297"/>
                <a:gd name="T34" fmla="*/ 122 w 229"/>
                <a:gd name="T35" fmla="*/ 177 h 297"/>
                <a:gd name="T36" fmla="*/ 228 w 229"/>
                <a:gd name="T37" fmla="*/ 85 h 297"/>
                <a:gd name="T38" fmla="*/ 143 w 229"/>
                <a:gd name="T39" fmla="*/ 3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9" h="297">
                  <a:moveTo>
                    <a:pt x="143" y="3"/>
                  </a:moveTo>
                  <a:cubicBezTo>
                    <a:pt x="138" y="3"/>
                    <a:pt x="132" y="0"/>
                    <a:pt x="125" y="0"/>
                  </a:cubicBezTo>
                  <a:lnTo>
                    <a:pt x="125" y="16"/>
                  </a:lnTo>
                  <a:lnTo>
                    <a:pt x="125" y="34"/>
                  </a:lnTo>
                  <a:cubicBezTo>
                    <a:pt x="130" y="34"/>
                    <a:pt x="135" y="34"/>
                    <a:pt x="135" y="37"/>
                  </a:cubicBezTo>
                  <a:cubicBezTo>
                    <a:pt x="170" y="45"/>
                    <a:pt x="183" y="66"/>
                    <a:pt x="183" y="85"/>
                  </a:cubicBezTo>
                  <a:cubicBezTo>
                    <a:pt x="183" y="116"/>
                    <a:pt x="156" y="127"/>
                    <a:pt x="122" y="138"/>
                  </a:cubicBezTo>
                  <a:cubicBezTo>
                    <a:pt x="119" y="138"/>
                    <a:pt x="114" y="140"/>
                    <a:pt x="111" y="140"/>
                  </a:cubicBezTo>
                  <a:lnTo>
                    <a:pt x="80" y="148"/>
                  </a:lnTo>
                  <a:cubicBezTo>
                    <a:pt x="77" y="148"/>
                    <a:pt x="72" y="151"/>
                    <a:pt x="69" y="151"/>
                  </a:cubicBezTo>
                  <a:cubicBezTo>
                    <a:pt x="32" y="161"/>
                    <a:pt x="0" y="180"/>
                    <a:pt x="0" y="225"/>
                  </a:cubicBezTo>
                  <a:cubicBezTo>
                    <a:pt x="0" y="270"/>
                    <a:pt x="37" y="286"/>
                    <a:pt x="72" y="296"/>
                  </a:cubicBezTo>
                  <a:lnTo>
                    <a:pt x="72" y="257"/>
                  </a:lnTo>
                  <a:cubicBezTo>
                    <a:pt x="56" y="249"/>
                    <a:pt x="45" y="241"/>
                    <a:pt x="45" y="225"/>
                  </a:cubicBezTo>
                  <a:cubicBezTo>
                    <a:pt x="45" y="209"/>
                    <a:pt x="56" y="198"/>
                    <a:pt x="72" y="193"/>
                  </a:cubicBezTo>
                  <a:cubicBezTo>
                    <a:pt x="74" y="191"/>
                    <a:pt x="80" y="191"/>
                    <a:pt x="82" y="188"/>
                  </a:cubicBezTo>
                  <a:cubicBezTo>
                    <a:pt x="90" y="185"/>
                    <a:pt x="101" y="183"/>
                    <a:pt x="111" y="180"/>
                  </a:cubicBezTo>
                  <a:cubicBezTo>
                    <a:pt x="114" y="180"/>
                    <a:pt x="119" y="177"/>
                    <a:pt x="122" y="177"/>
                  </a:cubicBezTo>
                  <a:cubicBezTo>
                    <a:pt x="172" y="167"/>
                    <a:pt x="228" y="151"/>
                    <a:pt x="228" y="85"/>
                  </a:cubicBezTo>
                  <a:cubicBezTo>
                    <a:pt x="228" y="50"/>
                    <a:pt x="204" y="16"/>
                    <a:pt x="143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C4EE42AF-9CCA-374F-93FC-B9634C0D0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5" y="2155825"/>
              <a:ext cx="46038" cy="57150"/>
            </a:xfrm>
            <a:custGeom>
              <a:avLst/>
              <a:gdLst>
                <a:gd name="T0" fmla="*/ 26 w 128"/>
                <a:gd name="T1" fmla="*/ 159 h 160"/>
                <a:gd name="T2" fmla="*/ 26 w 128"/>
                <a:gd name="T3" fmla="*/ 127 h 160"/>
                <a:gd name="T4" fmla="*/ 37 w 128"/>
                <a:gd name="T5" fmla="*/ 116 h 160"/>
                <a:gd name="T6" fmla="*/ 58 w 128"/>
                <a:gd name="T7" fmla="*/ 109 h 160"/>
                <a:gd name="T8" fmla="*/ 69 w 128"/>
                <a:gd name="T9" fmla="*/ 106 h 160"/>
                <a:gd name="T10" fmla="*/ 127 w 128"/>
                <a:gd name="T11" fmla="*/ 56 h 160"/>
                <a:gd name="T12" fmla="*/ 71 w 128"/>
                <a:gd name="T13" fmla="*/ 0 h 160"/>
                <a:gd name="T14" fmla="*/ 71 w 128"/>
                <a:gd name="T15" fmla="*/ 37 h 160"/>
                <a:gd name="T16" fmla="*/ 92 w 128"/>
                <a:gd name="T17" fmla="*/ 58 h 160"/>
                <a:gd name="T18" fmla="*/ 71 w 128"/>
                <a:gd name="T19" fmla="*/ 79 h 160"/>
                <a:gd name="T20" fmla="*/ 61 w 128"/>
                <a:gd name="T21" fmla="*/ 82 h 160"/>
                <a:gd name="T22" fmla="*/ 39 w 128"/>
                <a:gd name="T23" fmla="*/ 90 h 160"/>
                <a:gd name="T24" fmla="*/ 29 w 128"/>
                <a:gd name="T25" fmla="*/ 95 h 160"/>
                <a:gd name="T26" fmla="*/ 0 w 128"/>
                <a:gd name="T27" fmla="*/ 124 h 160"/>
                <a:gd name="T28" fmla="*/ 26 w 128"/>
                <a:gd name="T29" fmla="*/ 15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60">
                  <a:moveTo>
                    <a:pt x="26" y="159"/>
                  </a:moveTo>
                  <a:lnTo>
                    <a:pt x="26" y="127"/>
                  </a:lnTo>
                  <a:cubicBezTo>
                    <a:pt x="26" y="122"/>
                    <a:pt x="32" y="118"/>
                    <a:pt x="37" y="116"/>
                  </a:cubicBezTo>
                  <a:cubicBezTo>
                    <a:pt x="42" y="113"/>
                    <a:pt x="50" y="111"/>
                    <a:pt x="58" y="109"/>
                  </a:cubicBezTo>
                  <a:cubicBezTo>
                    <a:pt x="63" y="106"/>
                    <a:pt x="66" y="106"/>
                    <a:pt x="69" y="106"/>
                  </a:cubicBezTo>
                  <a:cubicBezTo>
                    <a:pt x="95" y="98"/>
                    <a:pt x="127" y="87"/>
                    <a:pt x="127" y="56"/>
                  </a:cubicBezTo>
                  <a:cubicBezTo>
                    <a:pt x="127" y="24"/>
                    <a:pt x="100" y="11"/>
                    <a:pt x="71" y="0"/>
                  </a:cubicBezTo>
                  <a:lnTo>
                    <a:pt x="71" y="37"/>
                  </a:lnTo>
                  <a:cubicBezTo>
                    <a:pt x="84" y="42"/>
                    <a:pt x="92" y="47"/>
                    <a:pt x="92" y="58"/>
                  </a:cubicBezTo>
                  <a:cubicBezTo>
                    <a:pt x="92" y="68"/>
                    <a:pt x="79" y="77"/>
                    <a:pt x="71" y="79"/>
                  </a:cubicBezTo>
                  <a:cubicBezTo>
                    <a:pt x="69" y="82"/>
                    <a:pt x="61" y="82"/>
                    <a:pt x="61" y="82"/>
                  </a:cubicBezTo>
                  <a:cubicBezTo>
                    <a:pt x="53" y="85"/>
                    <a:pt x="45" y="87"/>
                    <a:pt x="39" y="90"/>
                  </a:cubicBezTo>
                  <a:cubicBezTo>
                    <a:pt x="37" y="93"/>
                    <a:pt x="32" y="93"/>
                    <a:pt x="29" y="95"/>
                  </a:cubicBezTo>
                  <a:cubicBezTo>
                    <a:pt x="13" y="98"/>
                    <a:pt x="0" y="105"/>
                    <a:pt x="0" y="124"/>
                  </a:cubicBezTo>
                  <a:cubicBezTo>
                    <a:pt x="0" y="142"/>
                    <a:pt x="13" y="154"/>
                    <a:pt x="26" y="15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B5C8C593-C0AB-3940-97A0-24DAC9F39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188" y="2057400"/>
              <a:ext cx="47625" cy="47625"/>
            </a:xfrm>
            <a:custGeom>
              <a:avLst/>
              <a:gdLst>
                <a:gd name="T0" fmla="*/ 98 w 133"/>
                <a:gd name="T1" fmla="*/ 13 h 131"/>
                <a:gd name="T2" fmla="*/ 52 w 133"/>
                <a:gd name="T3" fmla="*/ 37 h 131"/>
                <a:gd name="T4" fmla="*/ 37 w 133"/>
                <a:gd name="T5" fmla="*/ 58 h 131"/>
                <a:gd name="T6" fmla="*/ 29 w 133"/>
                <a:gd name="T7" fmla="*/ 85 h 131"/>
                <a:gd name="T8" fmla="*/ 23 w 133"/>
                <a:gd name="T9" fmla="*/ 98 h 131"/>
                <a:gd name="T10" fmla="*/ 18 w 133"/>
                <a:gd name="T11" fmla="*/ 109 h 131"/>
                <a:gd name="T12" fmla="*/ 0 w 133"/>
                <a:gd name="T13" fmla="*/ 117 h 131"/>
                <a:gd name="T14" fmla="*/ 15 w 133"/>
                <a:gd name="T15" fmla="*/ 114 h 131"/>
                <a:gd name="T16" fmla="*/ 10 w 133"/>
                <a:gd name="T17" fmla="*/ 130 h 131"/>
                <a:gd name="T18" fmla="*/ 29 w 133"/>
                <a:gd name="T19" fmla="*/ 101 h 131"/>
                <a:gd name="T20" fmla="*/ 55 w 133"/>
                <a:gd name="T21" fmla="*/ 93 h 131"/>
                <a:gd name="T22" fmla="*/ 103 w 133"/>
                <a:gd name="T23" fmla="*/ 58 h 131"/>
                <a:gd name="T24" fmla="*/ 132 w 133"/>
                <a:gd name="T25" fmla="*/ 37 h 131"/>
                <a:gd name="T26" fmla="*/ 129 w 133"/>
                <a:gd name="T27" fmla="*/ 0 h 131"/>
                <a:gd name="T28" fmla="*/ 98 w 133"/>
                <a:gd name="T29" fmla="*/ 13 h 131"/>
                <a:gd name="T30" fmla="*/ 58 w 133"/>
                <a:gd name="T31" fmla="*/ 64 h 131"/>
                <a:gd name="T32" fmla="*/ 50 w 133"/>
                <a:gd name="T33" fmla="*/ 66 h 131"/>
                <a:gd name="T34" fmla="*/ 63 w 133"/>
                <a:gd name="T35" fmla="*/ 48 h 131"/>
                <a:gd name="T36" fmla="*/ 74 w 133"/>
                <a:gd name="T37" fmla="*/ 48 h 131"/>
                <a:gd name="T38" fmla="*/ 58 w 133"/>
                <a:gd name="T39" fmla="*/ 6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3" h="131">
                  <a:moveTo>
                    <a:pt x="98" y="13"/>
                  </a:moveTo>
                  <a:cubicBezTo>
                    <a:pt x="87" y="16"/>
                    <a:pt x="68" y="19"/>
                    <a:pt x="52" y="37"/>
                  </a:cubicBezTo>
                  <a:cubicBezTo>
                    <a:pt x="50" y="40"/>
                    <a:pt x="42" y="51"/>
                    <a:pt x="37" y="58"/>
                  </a:cubicBezTo>
                  <a:cubicBezTo>
                    <a:pt x="31" y="66"/>
                    <a:pt x="31" y="77"/>
                    <a:pt x="29" y="85"/>
                  </a:cubicBezTo>
                  <a:cubicBezTo>
                    <a:pt x="23" y="93"/>
                    <a:pt x="23" y="98"/>
                    <a:pt x="23" y="98"/>
                  </a:cubicBezTo>
                  <a:cubicBezTo>
                    <a:pt x="23" y="98"/>
                    <a:pt x="23" y="103"/>
                    <a:pt x="18" y="109"/>
                  </a:cubicBezTo>
                  <a:cubicBezTo>
                    <a:pt x="13" y="113"/>
                    <a:pt x="7" y="118"/>
                    <a:pt x="0" y="117"/>
                  </a:cubicBezTo>
                  <a:cubicBezTo>
                    <a:pt x="7" y="118"/>
                    <a:pt x="15" y="114"/>
                    <a:pt x="15" y="114"/>
                  </a:cubicBezTo>
                  <a:cubicBezTo>
                    <a:pt x="15" y="114"/>
                    <a:pt x="13" y="119"/>
                    <a:pt x="10" y="130"/>
                  </a:cubicBezTo>
                  <a:cubicBezTo>
                    <a:pt x="18" y="111"/>
                    <a:pt x="26" y="103"/>
                    <a:pt x="29" y="101"/>
                  </a:cubicBezTo>
                  <a:cubicBezTo>
                    <a:pt x="31" y="101"/>
                    <a:pt x="39" y="101"/>
                    <a:pt x="55" y="93"/>
                  </a:cubicBezTo>
                  <a:cubicBezTo>
                    <a:pt x="71" y="82"/>
                    <a:pt x="95" y="68"/>
                    <a:pt x="103" y="58"/>
                  </a:cubicBezTo>
                  <a:cubicBezTo>
                    <a:pt x="111" y="47"/>
                    <a:pt x="121" y="43"/>
                    <a:pt x="132" y="37"/>
                  </a:cubicBezTo>
                  <a:cubicBezTo>
                    <a:pt x="129" y="24"/>
                    <a:pt x="129" y="11"/>
                    <a:pt x="129" y="0"/>
                  </a:cubicBezTo>
                  <a:cubicBezTo>
                    <a:pt x="111" y="5"/>
                    <a:pt x="100" y="11"/>
                    <a:pt x="98" y="13"/>
                  </a:cubicBezTo>
                  <a:close/>
                  <a:moveTo>
                    <a:pt x="58" y="64"/>
                  </a:moveTo>
                  <a:lnTo>
                    <a:pt x="50" y="66"/>
                  </a:lnTo>
                  <a:lnTo>
                    <a:pt x="63" y="48"/>
                  </a:lnTo>
                  <a:lnTo>
                    <a:pt x="74" y="48"/>
                  </a:lnTo>
                  <a:lnTo>
                    <a:pt x="58" y="6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F359559E-39CE-F34C-861B-B8DBA4A404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163" y="2198688"/>
              <a:ext cx="7937" cy="66675"/>
            </a:xfrm>
            <a:custGeom>
              <a:avLst/>
              <a:gdLst>
                <a:gd name="T0" fmla="*/ 6 w 23"/>
                <a:gd name="T1" fmla="*/ 8 h 184"/>
                <a:gd name="T2" fmla="*/ 0 w 23"/>
                <a:gd name="T3" fmla="*/ 11 h 184"/>
                <a:gd name="T4" fmla="*/ 3 w 23"/>
                <a:gd name="T5" fmla="*/ 154 h 184"/>
                <a:gd name="T6" fmla="*/ 19 w 23"/>
                <a:gd name="T7" fmla="*/ 154 h 184"/>
                <a:gd name="T8" fmla="*/ 22 w 23"/>
                <a:gd name="T9" fmla="*/ 0 h 184"/>
                <a:gd name="T10" fmla="*/ 14 w 23"/>
                <a:gd name="T11" fmla="*/ 6 h 184"/>
                <a:gd name="T12" fmla="*/ 6 w 23"/>
                <a:gd name="T13" fmla="*/ 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84">
                  <a:moveTo>
                    <a:pt x="6" y="8"/>
                  </a:moveTo>
                  <a:cubicBezTo>
                    <a:pt x="4" y="8"/>
                    <a:pt x="0" y="11"/>
                    <a:pt x="0" y="11"/>
                  </a:cubicBezTo>
                  <a:cubicBezTo>
                    <a:pt x="0" y="11"/>
                    <a:pt x="3" y="151"/>
                    <a:pt x="3" y="154"/>
                  </a:cubicBezTo>
                  <a:cubicBezTo>
                    <a:pt x="3" y="183"/>
                    <a:pt x="19" y="183"/>
                    <a:pt x="19" y="154"/>
                  </a:cubicBezTo>
                  <a:cubicBezTo>
                    <a:pt x="19" y="151"/>
                    <a:pt x="22" y="0"/>
                    <a:pt x="22" y="0"/>
                  </a:cubicBezTo>
                  <a:cubicBezTo>
                    <a:pt x="22" y="0"/>
                    <a:pt x="16" y="6"/>
                    <a:pt x="14" y="6"/>
                  </a:cubicBezTo>
                  <a:cubicBezTo>
                    <a:pt x="11" y="6"/>
                    <a:pt x="9" y="8"/>
                    <a:pt x="6" y="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6DA71BD5-88D5-A34E-8A40-9F1FACE7FC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2125663"/>
              <a:ext cx="11112" cy="58737"/>
            </a:xfrm>
            <a:custGeom>
              <a:avLst/>
              <a:gdLst>
                <a:gd name="T0" fmla="*/ 18 w 30"/>
                <a:gd name="T1" fmla="*/ 156 h 162"/>
                <a:gd name="T2" fmla="*/ 26 w 30"/>
                <a:gd name="T3" fmla="*/ 153 h 162"/>
                <a:gd name="T4" fmla="*/ 29 w 30"/>
                <a:gd name="T5" fmla="*/ 0 h 162"/>
                <a:gd name="T6" fmla="*/ 0 w 30"/>
                <a:gd name="T7" fmla="*/ 7 h 162"/>
                <a:gd name="T8" fmla="*/ 5 w 30"/>
                <a:gd name="T9" fmla="*/ 161 h 162"/>
                <a:gd name="T10" fmla="*/ 18 w 30"/>
                <a:gd name="T11" fmla="*/ 15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62">
                  <a:moveTo>
                    <a:pt x="18" y="156"/>
                  </a:moveTo>
                  <a:cubicBezTo>
                    <a:pt x="21" y="156"/>
                    <a:pt x="23" y="153"/>
                    <a:pt x="26" y="153"/>
                  </a:cubicBezTo>
                  <a:cubicBezTo>
                    <a:pt x="26" y="145"/>
                    <a:pt x="29" y="21"/>
                    <a:pt x="29" y="0"/>
                  </a:cubicBezTo>
                  <a:cubicBezTo>
                    <a:pt x="18" y="2"/>
                    <a:pt x="7" y="5"/>
                    <a:pt x="0" y="7"/>
                  </a:cubicBezTo>
                  <a:cubicBezTo>
                    <a:pt x="2" y="26"/>
                    <a:pt x="5" y="148"/>
                    <a:pt x="5" y="161"/>
                  </a:cubicBezTo>
                  <a:cubicBezTo>
                    <a:pt x="10" y="158"/>
                    <a:pt x="13" y="158"/>
                    <a:pt x="18" y="15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C14907B5-6A91-8D48-8177-4B2A15161A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5050" y="2014538"/>
              <a:ext cx="30163" cy="90487"/>
            </a:xfrm>
            <a:custGeom>
              <a:avLst/>
              <a:gdLst>
                <a:gd name="T0" fmla="*/ 21 w 85"/>
                <a:gd name="T1" fmla="*/ 82 h 253"/>
                <a:gd name="T2" fmla="*/ 26 w 85"/>
                <a:gd name="T3" fmla="*/ 252 h 253"/>
                <a:gd name="T4" fmla="*/ 45 w 85"/>
                <a:gd name="T5" fmla="*/ 247 h 253"/>
                <a:gd name="T6" fmla="*/ 58 w 85"/>
                <a:gd name="T7" fmla="*/ 244 h 253"/>
                <a:gd name="T8" fmla="*/ 61 w 85"/>
                <a:gd name="T9" fmla="*/ 82 h 253"/>
                <a:gd name="T10" fmla="*/ 42 w 85"/>
                <a:gd name="T11" fmla="*/ 0 h 253"/>
                <a:gd name="T12" fmla="*/ 21 w 85"/>
                <a:gd name="T13" fmla="*/ 8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53">
                  <a:moveTo>
                    <a:pt x="21" y="82"/>
                  </a:moveTo>
                  <a:cubicBezTo>
                    <a:pt x="21" y="82"/>
                    <a:pt x="24" y="220"/>
                    <a:pt x="26" y="252"/>
                  </a:cubicBezTo>
                  <a:cubicBezTo>
                    <a:pt x="31" y="249"/>
                    <a:pt x="39" y="249"/>
                    <a:pt x="45" y="247"/>
                  </a:cubicBezTo>
                  <a:cubicBezTo>
                    <a:pt x="50" y="247"/>
                    <a:pt x="53" y="244"/>
                    <a:pt x="58" y="244"/>
                  </a:cubicBezTo>
                  <a:cubicBezTo>
                    <a:pt x="58" y="215"/>
                    <a:pt x="61" y="82"/>
                    <a:pt x="61" y="82"/>
                  </a:cubicBezTo>
                  <a:cubicBezTo>
                    <a:pt x="63" y="61"/>
                    <a:pt x="84" y="0"/>
                    <a:pt x="42" y="0"/>
                  </a:cubicBezTo>
                  <a:cubicBezTo>
                    <a:pt x="0" y="0"/>
                    <a:pt x="18" y="61"/>
                    <a:pt x="21" y="8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C926CDD9-F108-B244-A49E-4E9442356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9363" y="2070100"/>
              <a:ext cx="93662" cy="85725"/>
            </a:xfrm>
            <a:custGeom>
              <a:avLst/>
              <a:gdLst>
                <a:gd name="T0" fmla="*/ 130 w 261"/>
                <a:gd name="T1" fmla="*/ 42 h 237"/>
                <a:gd name="T2" fmla="*/ 130 w 261"/>
                <a:gd name="T3" fmla="*/ 42 h 237"/>
                <a:gd name="T4" fmla="*/ 96 w 261"/>
                <a:gd name="T5" fmla="*/ 236 h 237"/>
                <a:gd name="T6" fmla="*/ 45 w 261"/>
                <a:gd name="T7" fmla="*/ 236 h 237"/>
                <a:gd name="T8" fmla="*/ 0 w 261"/>
                <a:gd name="T9" fmla="*/ 0 h 237"/>
                <a:gd name="T10" fmla="*/ 40 w 261"/>
                <a:gd name="T11" fmla="*/ 0 h 237"/>
                <a:gd name="T12" fmla="*/ 72 w 261"/>
                <a:gd name="T13" fmla="*/ 180 h 237"/>
                <a:gd name="T14" fmla="*/ 72 w 261"/>
                <a:gd name="T15" fmla="*/ 180 h 237"/>
                <a:gd name="T16" fmla="*/ 106 w 261"/>
                <a:gd name="T17" fmla="*/ 0 h 237"/>
                <a:gd name="T18" fmla="*/ 157 w 261"/>
                <a:gd name="T19" fmla="*/ 0 h 237"/>
                <a:gd name="T20" fmla="*/ 188 w 261"/>
                <a:gd name="T21" fmla="*/ 180 h 237"/>
                <a:gd name="T22" fmla="*/ 188 w 261"/>
                <a:gd name="T23" fmla="*/ 180 h 237"/>
                <a:gd name="T24" fmla="*/ 223 w 261"/>
                <a:gd name="T25" fmla="*/ 0 h 237"/>
                <a:gd name="T26" fmla="*/ 260 w 261"/>
                <a:gd name="T27" fmla="*/ 0 h 237"/>
                <a:gd name="T28" fmla="*/ 212 w 261"/>
                <a:gd name="T29" fmla="*/ 236 h 237"/>
                <a:gd name="T30" fmla="*/ 165 w 261"/>
                <a:gd name="T31" fmla="*/ 236 h 237"/>
                <a:gd name="T32" fmla="*/ 130 w 261"/>
                <a:gd name="T33" fmla="*/ 4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1" h="237">
                  <a:moveTo>
                    <a:pt x="130" y="42"/>
                  </a:moveTo>
                  <a:lnTo>
                    <a:pt x="130" y="42"/>
                  </a:lnTo>
                  <a:lnTo>
                    <a:pt x="96" y="236"/>
                  </a:lnTo>
                  <a:lnTo>
                    <a:pt x="45" y="236"/>
                  </a:lnTo>
                  <a:lnTo>
                    <a:pt x="0" y="0"/>
                  </a:lnTo>
                  <a:lnTo>
                    <a:pt x="40" y="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106" y="0"/>
                  </a:lnTo>
                  <a:lnTo>
                    <a:pt x="157" y="0"/>
                  </a:lnTo>
                  <a:lnTo>
                    <a:pt x="188" y="180"/>
                  </a:lnTo>
                  <a:lnTo>
                    <a:pt x="188" y="180"/>
                  </a:lnTo>
                  <a:lnTo>
                    <a:pt x="223" y="0"/>
                  </a:lnTo>
                  <a:lnTo>
                    <a:pt x="260" y="0"/>
                  </a:lnTo>
                  <a:lnTo>
                    <a:pt x="212" y="236"/>
                  </a:lnTo>
                  <a:lnTo>
                    <a:pt x="165" y="236"/>
                  </a:lnTo>
                  <a:lnTo>
                    <a:pt x="130" y="4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6AA4F7AE-EBD9-CD41-A038-D1F981FB9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438" y="2092325"/>
              <a:ext cx="53975" cy="65088"/>
            </a:xfrm>
            <a:custGeom>
              <a:avLst/>
              <a:gdLst>
                <a:gd name="T0" fmla="*/ 148 w 149"/>
                <a:gd name="T1" fmla="*/ 90 h 181"/>
                <a:gd name="T2" fmla="*/ 74 w 149"/>
                <a:gd name="T3" fmla="*/ 180 h 181"/>
                <a:gd name="T4" fmla="*/ 0 w 149"/>
                <a:gd name="T5" fmla="*/ 90 h 181"/>
                <a:gd name="T6" fmla="*/ 74 w 149"/>
                <a:gd name="T7" fmla="*/ 0 h 181"/>
                <a:gd name="T8" fmla="*/ 148 w 149"/>
                <a:gd name="T9" fmla="*/ 90 h 181"/>
                <a:gd name="T10" fmla="*/ 106 w 149"/>
                <a:gd name="T11" fmla="*/ 87 h 181"/>
                <a:gd name="T12" fmla="*/ 74 w 149"/>
                <a:gd name="T13" fmla="*/ 29 h 181"/>
                <a:gd name="T14" fmla="*/ 42 w 149"/>
                <a:gd name="T15" fmla="*/ 87 h 181"/>
                <a:gd name="T16" fmla="*/ 74 w 149"/>
                <a:gd name="T17" fmla="*/ 148 h 181"/>
                <a:gd name="T18" fmla="*/ 106 w 149"/>
                <a:gd name="T19" fmla="*/ 8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81">
                  <a:moveTo>
                    <a:pt x="148" y="90"/>
                  </a:moveTo>
                  <a:cubicBezTo>
                    <a:pt x="148" y="161"/>
                    <a:pt x="109" y="180"/>
                    <a:pt x="74" y="180"/>
                  </a:cubicBezTo>
                  <a:cubicBezTo>
                    <a:pt x="40" y="180"/>
                    <a:pt x="0" y="164"/>
                    <a:pt x="0" y="90"/>
                  </a:cubicBezTo>
                  <a:cubicBezTo>
                    <a:pt x="0" y="16"/>
                    <a:pt x="40" y="0"/>
                    <a:pt x="74" y="0"/>
                  </a:cubicBezTo>
                  <a:cubicBezTo>
                    <a:pt x="109" y="0"/>
                    <a:pt x="148" y="18"/>
                    <a:pt x="148" y="90"/>
                  </a:cubicBezTo>
                  <a:close/>
                  <a:moveTo>
                    <a:pt x="106" y="87"/>
                  </a:moveTo>
                  <a:cubicBezTo>
                    <a:pt x="106" y="58"/>
                    <a:pt x="101" y="29"/>
                    <a:pt x="74" y="29"/>
                  </a:cubicBezTo>
                  <a:cubicBezTo>
                    <a:pt x="48" y="29"/>
                    <a:pt x="42" y="58"/>
                    <a:pt x="42" y="87"/>
                  </a:cubicBezTo>
                  <a:cubicBezTo>
                    <a:pt x="42" y="116"/>
                    <a:pt x="48" y="148"/>
                    <a:pt x="74" y="148"/>
                  </a:cubicBezTo>
                  <a:cubicBezTo>
                    <a:pt x="101" y="148"/>
                    <a:pt x="106" y="116"/>
                    <a:pt x="106" y="8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DD958501-DD1D-614E-9F56-0C6890188A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3350" y="2090738"/>
              <a:ext cx="31750" cy="63500"/>
            </a:xfrm>
            <a:custGeom>
              <a:avLst/>
              <a:gdLst>
                <a:gd name="T0" fmla="*/ 0 w 88"/>
                <a:gd name="T1" fmla="*/ 32 h 176"/>
                <a:gd name="T2" fmla="*/ 0 w 88"/>
                <a:gd name="T3" fmla="*/ 3 h 176"/>
                <a:gd name="T4" fmla="*/ 37 w 88"/>
                <a:gd name="T5" fmla="*/ 3 h 176"/>
                <a:gd name="T6" fmla="*/ 37 w 88"/>
                <a:gd name="T7" fmla="*/ 35 h 176"/>
                <a:gd name="T8" fmla="*/ 37 w 88"/>
                <a:gd name="T9" fmla="*/ 35 h 176"/>
                <a:gd name="T10" fmla="*/ 79 w 88"/>
                <a:gd name="T11" fmla="*/ 0 h 176"/>
                <a:gd name="T12" fmla="*/ 87 w 88"/>
                <a:gd name="T13" fmla="*/ 0 h 176"/>
                <a:gd name="T14" fmla="*/ 87 w 88"/>
                <a:gd name="T15" fmla="*/ 40 h 176"/>
                <a:gd name="T16" fmla="*/ 77 w 88"/>
                <a:gd name="T17" fmla="*/ 37 h 176"/>
                <a:gd name="T18" fmla="*/ 42 w 88"/>
                <a:gd name="T19" fmla="*/ 80 h 176"/>
                <a:gd name="T20" fmla="*/ 42 w 88"/>
                <a:gd name="T21" fmla="*/ 175 h 176"/>
                <a:gd name="T22" fmla="*/ 2 w 88"/>
                <a:gd name="T23" fmla="*/ 175 h 176"/>
                <a:gd name="T24" fmla="*/ 0 w 88"/>
                <a:gd name="T25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3"/>
                    <a:pt x="37" y="24"/>
                    <a:pt x="37" y="35"/>
                  </a:cubicBezTo>
                  <a:lnTo>
                    <a:pt x="37" y="35"/>
                  </a:lnTo>
                  <a:cubicBezTo>
                    <a:pt x="42" y="21"/>
                    <a:pt x="55" y="0"/>
                    <a:pt x="79" y="0"/>
                  </a:cubicBezTo>
                  <a:cubicBezTo>
                    <a:pt x="82" y="0"/>
                    <a:pt x="85" y="0"/>
                    <a:pt x="87" y="0"/>
                  </a:cubicBezTo>
                  <a:lnTo>
                    <a:pt x="87" y="40"/>
                  </a:lnTo>
                  <a:cubicBezTo>
                    <a:pt x="85" y="40"/>
                    <a:pt x="79" y="37"/>
                    <a:pt x="77" y="37"/>
                  </a:cubicBezTo>
                  <a:cubicBezTo>
                    <a:pt x="61" y="37"/>
                    <a:pt x="42" y="48"/>
                    <a:pt x="42" y="80"/>
                  </a:cubicBezTo>
                  <a:lnTo>
                    <a:pt x="42" y="175"/>
                  </a:lnTo>
                  <a:lnTo>
                    <a:pt x="2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96EA8492-63F5-0844-97F4-D5435CEF4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2063750"/>
              <a:ext cx="14287" cy="90488"/>
            </a:xfrm>
            <a:custGeom>
              <a:avLst/>
              <a:gdLst>
                <a:gd name="T0" fmla="*/ 20 w 41"/>
                <a:gd name="T1" fmla="*/ 252 h 253"/>
                <a:gd name="T2" fmla="*/ 0 w 41"/>
                <a:gd name="T3" fmla="*/ 252 h 253"/>
                <a:gd name="T4" fmla="*/ 0 w 41"/>
                <a:gd name="T5" fmla="*/ 0 h 253"/>
                <a:gd name="T6" fmla="*/ 40 w 41"/>
                <a:gd name="T7" fmla="*/ 0 h 253"/>
                <a:gd name="T8" fmla="*/ 40 w 41"/>
                <a:gd name="T9" fmla="*/ 252 h 253"/>
                <a:gd name="T10" fmla="*/ 20 w 41"/>
                <a:gd name="T11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53">
                  <a:moveTo>
                    <a:pt x="20" y="252"/>
                  </a:moveTo>
                  <a:lnTo>
                    <a:pt x="0" y="252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252"/>
                  </a:lnTo>
                  <a:lnTo>
                    <a:pt x="20" y="25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61A36D75-3E3A-744C-8A4F-129DF8FF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2063750"/>
              <a:ext cx="50800" cy="92075"/>
            </a:xfrm>
            <a:custGeom>
              <a:avLst/>
              <a:gdLst>
                <a:gd name="T0" fmla="*/ 141 w 142"/>
                <a:gd name="T1" fmla="*/ 0 h 255"/>
                <a:gd name="T2" fmla="*/ 141 w 142"/>
                <a:gd name="T3" fmla="*/ 223 h 255"/>
                <a:gd name="T4" fmla="*/ 141 w 142"/>
                <a:gd name="T5" fmla="*/ 252 h 255"/>
                <a:gd name="T6" fmla="*/ 103 w 142"/>
                <a:gd name="T7" fmla="*/ 252 h 255"/>
                <a:gd name="T8" fmla="*/ 103 w 142"/>
                <a:gd name="T9" fmla="*/ 225 h 255"/>
                <a:gd name="T10" fmla="*/ 58 w 142"/>
                <a:gd name="T11" fmla="*/ 254 h 255"/>
                <a:gd name="T12" fmla="*/ 0 w 142"/>
                <a:gd name="T13" fmla="*/ 167 h 255"/>
                <a:gd name="T14" fmla="*/ 58 w 142"/>
                <a:gd name="T15" fmla="*/ 77 h 255"/>
                <a:gd name="T16" fmla="*/ 101 w 142"/>
                <a:gd name="T17" fmla="*/ 103 h 255"/>
                <a:gd name="T18" fmla="*/ 101 w 142"/>
                <a:gd name="T19" fmla="*/ 0 h 255"/>
                <a:gd name="T20" fmla="*/ 141 w 142"/>
                <a:gd name="T21" fmla="*/ 0 h 255"/>
                <a:gd name="T22" fmla="*/ 101 w 142"/>
                <a:gd name="T23" fmla="*/ 164 h 255"/>
                <a:gd name="T24" fmla="*/ 69 w 142"/>
                <a:gd name="T25" fmla="*/ 106 h 255"/>
                <a:gd name="T26" fmla="*/ 40 w 142"/>
                <a:gd name="T27" fmla="*/ 164 h 255"/>
                <a:gd name="T28" fmla="*/ 69 w 142"/>
                <a:gd name="T29" fmla="*/ 223 h 255"/>
                <a:gd name="T30" fmla="*/ 101 w 142"/>
                <a:gd name="T31" fmla="*/ 16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2" h="255">
                  <a:moveTo>
                    <a:pt x="141" y="0"/>
                  </a:moveTo>
                  <a:lnTo>
                    <a:pt x="141" y="223"/>
                  </a:lnTo>
                  <a:lnTo>
                    <a:pt x="141" y="252"/>
                  </a:lnTo>
                  <a:lnTo>
                    <a:pt x="103" y="252"/>
                  </a:lnTo>
                  <a:lnTo>
                    <a:pt x="103" y="225"/>
                  </a:lnTo>
                  <a:cubicBezTo>
                    <a:pt x="98" y="241"/>
                    <a:pt x="85" y="254"/>
                    <a:pt x="58" y="254"/>
                  </a:cubicBezTo>
                  <a:cubicBezTo>
                    <a:pt x="16" y="254"/>
                    <a:pt x="0" y="215"/>
                    <a:pt x="0" y="167"/>
                  </a:cubicBezTo>
                  <a:cubicBezTo>
                    <a:pt x="0" y="111"/>
                    <a:pt x="21" y="77"/>
                    <a:pt x="58" y="77"/>
                  </a:cubicBezTo>
                  <a:cubicBezTo>
                    <a:pt x="82" y="77"/>
                    <a:pt x="96" y="90"/>
                    <a:pt x="101" y="103"/>
                  </a:cubicBezTo>
                  <a:lnTo>
                    <a:pt x="101" y="0"/>
                  </a:lnTo>
                  <a:lnTo>
                    <a:pt x="141" y="0"/>
                  </a:lnTo>
                  <a:close/>
                  <a:moveTo>
                    <a:pt x="101" y="164"/>
                  </a:moveTo>
                  <a:cubicBezTo>
                    <a:pt x="101" y="130"/>
                    <a:pt x="93" y="106"/>
                    <a:pt x="69" y="106"/>
                  </a:cubicBezTo>
                  <a:cubicBezTo>
                    <a:pt x="48" y="106"/>
                    <a:pt x="40" y="127"/>
                    <a:pt x="40" y="164"/>
                  </a:cubicBezTo>
                  <a:cubicBezTo>
                    <a:pt x="40" y="204"/>
                    <a:pt x="45" y="223"/>
                    <a:pt x="69" y="223"/>
                  </a:cubicBezTo>
                  <a:cubicBezTo>
                    <a:pt x="93" y="223"/>
                    <a:pt x="101" y="196"/>
                    <a:pt x="101" y="16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43C92A9C-662C-D54E-9012-BA9309FDD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275" y="2070100"/>
              <a:ext cx="53975" cy="85725"/>
            </a:xfrm>
            <a:custGeom>
              <a:avLst/>
              <a:gdLst>
                <a:gd name="T0" fmla="*/ 0 w 149"/>
                <a:gd name="T1" fmla="*/ 0 h 237"/>
                <a:gd name="T2" fmla="*/ 40 w 149"/>
                <a:gd name="T3" fmla="*/ 0 h 237"/>
                <a:gd name="T4" fmla="*/ 40 w 149"/>
                <a:gd name="T5" fmla="*/ 95 h 237"/>
                <a:gd name="T6" fmla="*/ 109 w 149"/>
                <a:gd name="T7" fmla="*/ 95 h 237"/>
                <a:gd name="T8" fmla="*/ 109 w 149"/>
                <a:gd name="T9" fmla="*/ 0 h 237"/>
                <a:gd name="T10" fmla="*/ 148 w 149"/>
                <a:gd name="T11" fmla="*/ 0 h 237"/>
                <a:gd name="T12" fmla="*/ 148 w 149"/>
                <a:gd name="T13" fmla="*/ 236 h 237"/>
                <a:gd name="T14" fmla="*/ 109 w 149"/>
                <a:gd name="T15" fmla="*/ 236 h 237"/>
                <a:gd name="T16" fmla="*/ 109 w 149"/>
                <a:gd name="T17" fmla="*/ 132 h 237"/>
                <a:gd name="T18" fmla="*/ 40 w 149"/>
                <a:gd name="T19" fmla="*/ 132 h 237"/>
                <a:gd name="T20" fmla="*/ 40 w 149"/>
                <a:gd name="T21" fmla="*/ 236 h 237"/>
                <a:gd name="T22" fmla="*/ 0 w 149"/>
                <a:gd name="T23" fmla="*/ 236 h 237"/>
                <a:gd name="T24" fmla="*/ 0 w 149"/>
                <a:gd name="T2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" h="237">
                  <a:moveTo>
                    <a:pt x="0" y="0"/>
                  </a:moveTo>
                  <a:lnTo>
                    <a:pt x="40" y="0"/>
                  </a:lnTo>
                  <a:lnTo>
                    <a:pt x="40" y="95"/>
                  </a:lnTo>
                  <a:lnTo>
                    <a:pt x="109" y="95"/>
                  </a:lnTo>
                  <a:lnTo>
                    <a:pt x="109" y="0"/>
                  </a:lnTo>
                  <a:lnTo>
                    <a:pt x="148" y="0"/>
                  </a:lnTo>
                  <a:lnTo>
                    <a:pt x="148" y="236"/>
                  </a:lnTo>
                  <a:lnTo>
                    <a:pt x="109" y="236"/>
                  </a:lnTo>
                  <a:lnTo>
                    <a:pt x="109" y="132"/>
                  </a:lnTo>
                  <a:lnTo>
                    <a:pt x="40" y="132"/>
                  </a:lnTo>
                  <a:lnTo>
                    <a:pt x="40" y="236"/>
                  </a:lnTo>
                  <a:lnTo>
                    <a:pt x="0" y="236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5EB6685D-EDC8-7C4F-A514-68C87906D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7188" y="2090738"/>
              <a:ext cx="49212" cy="65087"/>
            </a:xfrm>
            <a:custGeom>
              <a:avLst/>
              <a:gdLst>
                <a:gd name="T0" fmla="*/ 127 w 136"/>
                <a:gd name="T1" fmla="*/ 170 h 181"/>
                <a:gd name="T2" fmla="*/ 77 w 136"/>
                <a:gd name="T3" fmla="*/ 180 h 181"/>
                <a:gd name="T4" fmla="*/ 0 w 136"/>
                <a:gd name="T5" fmla="*/ 93 h 181"/>
                <a:gd name="T6" fmla="*/ 69 w 136"/>
                <a:gd name="T7" fmla="*/ 0 h 181"/>
                <a:gd name="T8" fmla="*/ 135 w 136"/>
                <a:gd name="T9" fmla="*/ 93 h 181"/>
                <a:gd name="T10" fmla="*/ 135 w 136"/>
                <a:gd name="T11" fmla="*/ 101 h 181"/>
                <a:gd name="T12" fmla="*/ 39 w 136"/>
                <a:gd name="T13" fmla="*/ 101 h 181"/>
                <a:gd name="T14" fmla="*/ 82 w 136"/>
                <a:gd name="T15" fmla="*/ 149 h 181"/>
                <a:gd name="T16" fmla="*/ 124 w 136"/>
                <a:gd name="T17" fmla="*/ 135 h 181"/>
                <a:gd name="T18" fmla="*/ 127 w 136"/>
                <a:gd name="T19" fmla="*/ 170 h 181"/>
                <a:gd name="T20" fmla="*/ 98 w 136"/>
                <a:gd name="T21" fmla="*/ 74 h 181"/>
                <a:gd name="T22" fmla="*/ 71 w 136"/>
                <a:gd name="T23" fmla="*/ 29 h 181"/>
                <a:gd name="T24" fmla="*/ 42 w 136"/>
                <a:gd name="T25" fmla="*/ 74 h 181"/>
                <a:gd name="T26" fmla="*/ 98 w 136"/>
                <a:gd name="T27" fmla="*/ 7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181">
                  <a:moveTo>
                    <a:pt x="127" y="170"/>
                  </a:moveTo>
                  <a:cubicBezTo>
                    <a:pt x="119" y="172"/>
                    <a:pt x="100" y="180"/>
                    <a:pt x="77" y="180"/>
                  </a:cubicBezTo>
                  <a:cubicBezTo>
                    <a:pt x="24" y="180"/>
                    <a:pt x="0" y="141"/>
                    <a:pt x="0" y="93"/>
                  </a:cubicBezTo>
                  <a:cubicBezTo>
                    <a:pt x="0" y="43"/>
                    <a:pt x="26" y="0"/>
                    <a:pt x="69" y="0"/>
                  </a:cubicBezTo>
                  <a:cubicBezTo>
                    <a:pt x="106" y="0"/>
                    <a:pt x="135" y="21"/>
                    <a:pt x="135" y="93"/>
                  </a:cubicBezTo>
                  <a:lnTo>
                    <a:pt x="135" y="101"/>
                  </a:lnTo>
                  <a:lnTo>
                    <a:pt x="39" y="101"/>
                  </a:lnTo>
                  <a:cubicBezTo>
                    <a:pt x="39" y="130"/>
                    <a:pt x="50" y="149"/>
                    <a:pt x="82" y="149"/>
                  </a:cubicBezTo>
                  <a:cubicBezTo>
                    <a:pt x="106" y="149"/>
                    <a:pt x="119" y="141"/>
                    <a:pt x="124" y="135"/>
                  </a:cubicBezTo>
                  <a:lnTo>
                    <a:pt x="127" y="170"/>
                  </a:lnTo>
                  <a:close/>
                  <a:moveTo>
                    <a:pt x="98" y="74"/>
                  </a:moveTo>
                  <a:cubicBezTo>
                    <a:pt x="98" y="43"/>
                    <a:pt x="87" y="29"/>
                    <a:pt x="71" y="29"/>
                  </a:cubicBezTo>
                  <a:cubicBezTo>
                    <a:pt x="50" y="29"/>
                    <a:pt x="42" y="53"/>
                    <a:pt x="42" y="74"/>
                  </a:cubicBezTo>
                  <a:lnTo>
                    <a:pt x="98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70614D8A-B78E-7C48-9DF2-9F1C2C7AC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2090738"/>
              <a:ext cx="50800" cy="65087"/>
            </a:xfrm>
            <a:custGeom>
              <a:avLst/>
              <a:gdLst>
                <a:gd name="T0" fmla="*/ 19 w 139"/>
                <a:gd name="T1" fmla="*/ 13 h 179"/>
                <a:gd name="T2" fmla="*/ 72 w 139"/>
                <a:gd name="T3" fmla="*/ 0 h 179"/>
                <a:gd name="T4" fmla="*/ 135 w 139"/>
                <a:gd name="T5" fmla="*/ 69 h 179"/>
                <a:gd name="T6" fmla="*/ 135 w 139"/>
                <a:gd name="T7" fmla="*/ 143 h 179"/>
                <a:gd name="T8" fmla="*/ 138 w 139"/>
                <a:gd name="T9" fmla="*/ 175 h 179"/>
                <a:gd name="T10" fmla="*/ 101 w 139"/>
                <a:gd name="T11" fmla="*/ 175 h 179"/>
                <a:gd name="T12" fmla="*/ 98 w 139"/>
                <a:gd name="T13" fmla="*/ 151 h 179"/>
                <a:gd name="T14" fmla="*/ 51 w 139"/>
                <a:gd name="T15" fmla="*/ 178 h 179"/>
                <a:gd name="T16" fmla="*/ 0 w 139"/>
                <a:gd name="T17" fmla="*/ 127 h 179"/>
                <a:gd name="T18" fmla="*/ 88 w 139"/>
                <a:gd name="T19" fmla="*/ 69 h 179"/>
                <a:gd name="T20" fmla="*/ 96 w 139"/>
                <a:gd name="T21" fmla="*/ 69 h 179"/>
                <a:gd name="T22" fmla="*/ 96 w 139"/>
                <a:gd name="T23" fmla="*/ 64 h 179"/>
                <a:gd name="T24" fmla="*/ 64 w 139"/>
                <a:gd name="T25" fmla="*/ 32 h 179"/>
                <a:gd name="T26" fmla="*/ 19 w 139"/>
                <a:gd name="T27" fmla="*/ 48 h 179"/>
                <a:gd name="T28" fmla="*/ 19 w 139"/>
                <a:gd name="T29" fmla="*/ 13 h 179"/>
                <a:gd name="T30" fmla="*/ 93 w 139"/>
                <a:gd name="T31" fmla="*/ 93 h 179"/>
                <a:gd name="T32" fmla="*/ 37 w 139"/>
                <a:gd name="T33" fmla="*/ 125 h 179"/>
                <a:gd name="T34" fmla="*/ 64 w 139"/>
                <a:gd name="T35" fmla="*/ 151 h 179"/>
                <a:gd name="T36" fmla="*/ 96 w 139"/>
                <a:gd name="T37" fmla="*/ 101 h 179"/>
                <a:gd name="T38" fmla="*/ 96 w 139"/>
                <a:gd name="T39" fmla="*/ 93 h 179"/>
                <a:gd name="T40" fmla="*/ 93 w 139"/>
                <a:gd name="T41" fmla="*/ 9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179">
                  <a:moveTo>
                    <a:pt x="19" y="13"/>
                  </a:moveTo>
                  <a:cubicBezTo>
                    <a:pt x="29" y="8"/>
                    <a:pt x="45" y="0"/>
                    <a:pt x="72" y="0"/>
                  </a:cubicBezTo>
                  <a:cubicBezTo>
                    <a:pt x="122" y="0"/>
                    <a:pt x="135" y="27"/>
                    <a:pt x="135" y="69"/>
                  </a:cubicBezTo>
                  <a:lnTo>
                    <a:pt x="135" y="143"/>
                  </a:lnTo>
                  <a:cubicBezTo>
                    <a:pt x="135" y="156"/>
                    <a:pt x="135" y="167"/>
                    <a:pt x="138" y="175"/>
                  </a:cubicBezTo>
                  <a:lnTo>
                    <a:pt x="101" y="175"/>
                  </a:lnTo>
                  <a:cubicBezTo>
                    <a:pt x="98" y="167"/>
                    <a:pt x="98" y="159"/>
                    <a:pt x="98" y="151"/>
                  </a:cubicBezTo>
                  <a:cubicBezTo>
                    <a:pt x="88" y="164"/>
                    <a:pt x="74" y="178"/>
                    <a:pt x="51" y="178"/>
                  </a:cubicBezTo>
                  <a:cubicBezTo>
                    <a:pt x="24" y="178"/>
                    <a:pt x="0" y="159"/>
                    <a:pt x="0" y="127"/>
                  </a:cubicBezTo>
                  <a:cubicBezTo>
                    <a:pt x="0" y="80"/>
                    <a:pt x="37" y="69"/>
                    <a:pt x="88" y="69"/>
                  </a:cubicBezTo>
                  <a:lnTo>
                    <a:pt x="96" y="69"/>
                  </a:lnTo>
                  <a:lnTo>
                    <a:pt x="96" y="64"/>
                  </a:lnTo>
                  <a:cubicBezTo>
                    <a:pt x="96" y="48"/>
                    <a:pt x="88" y="32"/>
                    <a:pt x="64" y="32"/>
                  </a:cubicBezTo>
                  <a:cubicBezTo>
                    <a:pt x="43" y="32"/>
                    <a:pt x="27" y="43"/>
                    <a:pt x="19" y="48"/>
                  </a:cubicBezTo>
                  <a:lnTo>
                    <a:pt x="19" y="13"/>
                  </a:lnTo>
                  <a:close/>
                  <a:moveTo>
                    <a:pt x="93" y="93"/>
                  </a:moveTo>
                  <a:cubicBezTo>
                    <a:pt x="59" y="93"/>
                    <a:pt x="37" y="101"/>
                    <a:pt x="37" y="125"/>
                  </a:cubicBezTo>
                  <a:cubicBezTo>
                    <a:pt x="37" y="141"/>
                    <a:pt x="48" y="151"/>
                    <a:pt x="64" y="151"/>
                  </a:cubicBezTo>
                  <a:cubicBezTo>
                    <a:pt x="88" y="151"/>
                    <a:pt x="96" y="133"/>
                    <a:pt x="96" y="101"/>
                  </a:cubicBezTo>
                  <a:lnTo>
                    <a:pt x="96" y="93"/>
                  </a:lnTo>
                  <a:lnTo>
                    <a:pt x="93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4" name="Freeform 46">
              <a:extLst>
                <a:ext uri="{FF2B5EF4-FFF2-40B4-BE49-F238E27FC236}">
                  <a16:creationId xmlns:a16="http://schemas.microsoft.com/office/drawing/2014/main" id="{580A9C3F-9A69-E24F-A687-2CFB609A1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4663" y="2063750"/>
              <a:ext cx="14287" cy="90488"/>
            </a:xfrm>
            <a:custGeom>
              <a:avLst/>
              <a:gdLst>
                <a:gd name="T0" fmla="*/ 20 w 41"/>
                <a:gd name="T1" fmla="*/ 252 h 253"/>
                <a:gd name="T2" fmla="*/ 0 w 41"/>
                <a:gd name="T3" fmla="*/ 252 h 253"/>
                <a:gd name="T4" fmla="*/ 0 w 41"/>
                <a:gd name="T5" fmla="*/ 0 h 253"/>
                <a:gd name="T6" fmla="*/ 40 w 41"/>
                <a:gd name="T7" fmla="*/ 0 h 253"/>
                <a:gd name="T8" fmla="*/ 40 w 41"/>
                <a:gd name="T9" fmla="*/ 252 h 253"/>
                <a:gd name="T10" fmla="*/ 20 w 41"/>
                <a:gd name="T11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53">
                  <a:moveTo>
                    <a:pt x="20" y="252"/>
                  </a:moveTo>
                  <a:lnTo>
                    <a:pt x="0" y="252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252"/>
                  </a:lnTo>
                  <a:lnTo>
                    <a:pt x="20" y="25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Freeform 47">
              <a:extLst>
                <a:ext uri="{FF2B5EF4-FFF2-40B4-BE49-F238E27FC236}">
                  <a16:creationId xmlns:a16="http://schemas.microsoft.com/office/drawing/2014/main" id="{4905274F-F8E9-CF4F-80AB-0411ABC4B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2074863"/>
              <a:ext cx="36513" cy="80962"/>
            </a:xfrm>
            <a:custGeom>
              <a:avLst/>
              <a:gdLst>
                <a:gd name="T0" fmla="*/ 26 w 102"/>
                <a:gd name="T1" fmla="*/ 13 h 226"/>
                <a:gd name="T2" fmla="*/ 66 w 102"/>
                <a:gd name="T3" fmla="*/ 0 h 226"/>
                <a:gd name="T4" fmla="*/ 66 w 102"/>
                <a:gd name="T5" fmla="*/ 48 h 226"/>
                <a:gd name="T6" fmla="*/ 101 w 102"/>
                <a:gd name="T7" fmla="*/ 48 h 226"/>
                <a:gd name="T8" fmla="*/ 101 w 102"/>
                <a:gd name="T9" fmla="*/ 80 h 226"/>
                <a:gd name="T10" fmla="*/ 66 w 102"/>
                <a:gd name="T11" fmla="*/ 80 h 226"/>
                <a:gd name="T12" fmla="*/ 66 w 102"/>
                <a:gd name="T13" fmla="*/ 170 h 226"/>
                <a:gd name="T14" fmla="*/ 85 w 102"/>
                <a:gd name="T15" fmla="*/ 194 h 226"/>
                <a:gd name="T16" fmla="*/ 101 w 102"/>
                <a:gd name="T17" fmla="*/ 191 h 226"/>
                <a:gd name="T18" fmla="*/ 101 w 102"/>
                <a:gd name="T19" fmla="*/ 220 h 226"/>
                <a:gd name="T20" fmla="*/ 74 w 102"/>
                <a:gd name="T21" fmla="*/ 225 h 226"/>
                <a:gd name="T22" fmla="*/ 26 w 102"/>
                <a:gd name="T23" fmla="*/ 175 h 226"/>
                <a:gd name="T24" fmla="*/ 26 w 102"/>
                <a:gd name="T25" fmla="*/ 80 h 226"/>
                <a:gd name="T26" fmla="*/ 0 w 102"/>
                <a:gd name="T27" fmla="*/ 80 h 226"/>
                <a:gd name="T28" fmla="*/ 0 w 102"/>
                <a:gd name="T29" fmla="*/ 48 h 226"/>
                <a:gd name="T30" fmla="*/ 26 w 102"/>
                <a:gd name="T31" fmla="*/ 48 h 226"/>
                <a:gd name="T32" fmla="*/ 26 w 102"/>
                <a:gd name="T33" fmla="*/ 1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226">
                  <a:moveTo>
                    <a:pt x="26" y="13"/>
                  </a:moveTo>
                  <a:lnTo>
                    <a:pt x="66" y="0"/>
                  </a:lnTo>
                  <a:lnTo>
                    <a:pt x="66" y="48"/>
                  </a:lnTo>
                  <a:lnTo>
                    <a:pt x="101" y="48"/>
                  </a:lnTo>
                  <a:lnTo>
                    <a:pt x="101" y="80"/>
                  </a:lnTo>
                  <a:lnTo>
                    <a:pt x="66" y="80"/>
                  </a:lnTo>
                  <a:lnTo>
                    <a:pt x="66" y="170"/>
                  </a:lnTo>
                  <a:cubicBezTo>
                    <a:pt x="66" y="188"/>
                    <a:pt x="71" y="194"/>
                    <a:pt x="85" y="194"/>
                  </a:cubicBezTo>
                  <a:cubicBezTo>
                    <a:pt x="93" y="194"/>
                    <a:pt x="98" y="191"/>
                    <a:pt x="101" y="191"/>
                  </a:cubicBezTo>
                  <a:lnTo>
                    <a:pt x="101" y="220"/>
                  </a:lnTo>
                  <a:cubicBezTo>
                    <a:pt x="95" y="223"/>
                    <a:pt x="85" y="225"/>
                    <a:pt x="74" y="225"/>
                  </a:cubicBezTo>
                  <a:cubicBezTo>
                    <a:pt x="45" y="225"/>
                    <a:pt x="26" y="212"/>
                    <a:pt x="26" y="175"/>
                  </a:cubicBezTo>
                  <a:lnTo>
                    <a:pt x="26" y="80"/>
                  </a:lnTo>
                  <a:lnTo>
                    <a:pt x="0" y="80"/>
                  </a:lnTo>
                  <a:lnTo>
                    <a:pt x="0" y="48"/>
                  </a:lnTo>
                  <a:lnTo>
                    <a:pt x="26" y="48"/>
                  </a:lnTo>
                  <a:lnTo>
                    <a:pt x="26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1BBA35AF-DFC9-BB44-8F90-11826FEC5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063750"/>
              <a:ext cx="47625" cy="90488"/>
            </a:xfrm>
            <a:custGeom>
              <a:avLst/>
              <a:gdLst>
                <a:gd name="T0" fmla="*/ 0 w 133"/>
                <a:gd name="T1" fmla="*/ 0 h 253"/>
                <a:gd name="T2" fmla="*/ 39 w 133"/>
                <a:gd name="T3" fmla="*/ 0 h 253"/>
                <a:gd name="T4" fmla="*/ 39 w 133"/>
                <a:gd name="T5" fmla="*/ 101 h 253"/>
                <a:gd name="T6" fmla="*/ 39 w 133"/>
                <a:gd name="T7" fmla="*/ 101 h 253"/>
                <a:gd name="T8" fmla="*/ 82 w 133"/>
                <a:gd name="T9" fmla="*/ 77 h 253"/>
                <a:gd name="T10" fmla="*/ 132 w 133"/>
                <a:gd name="T11" fmla="*/ 140 h 253"/>
                <a:gd name="T12" fmla="*/ 132 w 133"/>
                <a:gd name="T13" fmla="*/ 252 h 253"/>
                <a:gd name="T14" fmla="*/ 92 w 133"/>
                <a:gd name="T15" fmla="*/ 252 h 253"/>
                <a:gd name="T16" fmla="*/ 92 w 133"/>
                <a:gd name="T17" fmla="*/ 148 h 253"/>
                <a:gd name="T18" fmla="*/ 69 w 133"/>
                <a:gd name="T19" fmla="*/ 111 h 253"/>
                <a:gd name="T20" fmla="*/ 39 w 133"/>
                <a:gd name="T21" fmla="*/ 151 h 253"/>
                <a:gd name="T22" fmla="*/ 39 w 133"/>
                <a:gd name="T23" fmla="*/ 252 h 253"/>
                <a:gd name="T24" fmla="*/ 0 w 133"/>
                <a:gd name="T25" fmla="*/ 252 h 253"/>
                <a:gd name="T26" fmla="*/ 0 w 133"/>
                <a:gd name="T2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253">
                  <a:moveTo>
                    <a:pt x="0" y="0"/>
                  </a:moveTo>
                  <a:lnTo>
                    <a:pt x="39" y="0"/>
                  </a:lnTo>
                  <a:lnTo>
                    <a:pt x="39" y="101"/>
                  </a:lnTo>
                  <a:lnTo>
                    <a:pt x="39" y="101"/>
                  </a:lnTo>
                  <a:cubicBezTo>
                    <a:pt x="47" y="90"/>
                    <a:pt x="55" y="77"/>
                    <a:pt x="82" y="77"/>
                  </a:cubicBezTo>
                  <a:cubicBezTo>
                    <a:pt x="119" y="77"/>
                    <a:pt x="132" y="106"/>
                    <a:pt x="132" y="140"/>
                  </a:cubicBezTo>
                  <a:lnTo>
                    <a:pt x="132" y="252"/>
                  </a:lnTo>
                  <a:lnTo>
                    <a:pt x="92" y="252"/>
                  </a:lnTo>
                  <a:lnTo>
                    <a:pt x="92" y="148"/>
                  </a:lnTo>
                  <a:cubicBezTo>
                    <a:pt x="92" y="122"/>
                    <a:pt x="87" y="111"/>
                    <a:pt x="69" y="111"/>
                  </a:cubicBezTo>
                  <a:cubicBezTo>
                    <a:pt x="47" y="111"/>
                    <a:pt x="39" y="130"/>
                    <a:pt x="39" y="151"/>
                  </a:cubicBezTo>
                  <a:lnTo>
                    <a:pt x="39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1DC6241F-FA20-0E46-AFA2-D0595F2A9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775" y="2176463"/>
              <a:ext cx="65088" cy="85725"/>
            </a:xfrm>
            <a:custGeom>
              <a:avLst/>
              <a:gdLst>
                <a:gd name="T0" fmla="*/ 180 w 181"/>
                <a:gd name="T1" fmla="*/ 119 h 239"/>
                <a:gd name="T2" fmla="*/ 90 w 181"/>
                <a:gd name="T3" fmla="*/ 238 h 239"/>
                <a:gd name="T4" fmla="*/ 0 w 181"/>
                <a:gd name="T5" fmla="*/ 119 h 239"/>
                <a:gd name="T6" fmla="*/ 90 w 181"/>
                <a:gd name="T7" fmla="*/ 0 h 239"/>
                <a:gd name="T8" fmla="*/ 180 w 181"/>
                <a:gd name="T9" fmla="*/ 119 h 239"/>
                <a:gd name="T10" fmla="*/ 138 w 181"/>
                <a:gd name="T11" fmla="*/ 121 h 239"/>
                <a:gd name="T12" fmla="*/ 90 w 181"/>
                <a:gd name="T13" fmla="*/ 34 h 239"/>
                <a:gd name="T14" fmla="*/ 42 w 181"/>
                <a:gd name="T15" fmla="*/ 121 h 239"/>
                <a:gd name="T16" fmla="*/ 90 w 181"/>
                <a:gd name="T17" fmla="*/ 209 h 239"/>
                <a:gd name="T18" fmla="*/ 138 w 181"/>
                <a:gd name="T19" fmla="*/ 1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239">
                  <a:moveTo>
                    <a:pt x="180" y="119"/>
                  </a:moveTo>
                  <a:cubicBezTo>
                    <a:pt x="180" y="203"/>
                    <a:pt x="138" y="238"/>
                    <a:pt x="90" y="238"/>
                  </a:cubicBezTo>
                  <a:cubicBezTo>
                    <a:pt x="42" y="238"/>
                    <a:pt x="0" y="201"/>
                    <a:pt x="0" y="119"/>
                  </a:cubicBezTo>
                  <a:cubicBezTo>
                    <a:pt x="0" y="37"/>
                    <a:pt x="45" y="0"/>
                    <a:pt x="90" y="0"/>
                  </a:cubicBezTo>
                  <a:cubicBezTo>
                    <a:pt x="138" y="0"/>
                    <a:pt x="180" y="37"/>
                    <a:pt x="180" y="119"/>
                  </a:cubicBezTo>
                  <a:close/>
                  <a:moveTo>
                    <a:pt x="138" y="121"/>
                  </a:moveTo>
                  <a:cubicBezTo>
                    <a:pt x="138" y="57"/>
                    <a:pt x="117" y="34"/>
                    <a:pt x="90" y="34"/>
                  </a:cubicBezTo>
                  <a:cubicBezTo>
                    <a:pt x="64" y="34"/>
                    <a:pt x="42" y="58"/>
                    <a:pt x="42" y="121"/>
                  </a:cubicBezTo>
                  <a:cubicBezTo>
                    <a:pt x="42" y="185"/>
                    <a:pt x="64" y="209"/>
                    <a:pt x="90" y="209"/>
                  </a:cubicBezTo>
                  <a:cubicBezTo>
                    <a:pt x="117" y="209"/>
                    <a:pt x="138" y="184"/>
                    <a:pt x="138" y="12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50">
              <a:extLst>
                <a:ext uri="{FF2B5EF4-FFF2-40B4-BE49-F238E27FC236}">
                  <a16:creationId xmlns:a16="http://schemas.microsoft.com/office/drawing/2014/main" id="{07DDEFD2-3D03-7047-9B37-A353E68EF0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2388" y="2198688"/>
              <a:ext cx="31750" cy="63500"/>
            </a:xfrm>
            <a:custGeom>
              <a:avLst/>
              <a:gdLst>
                <a:gd name="T0" fmla="*/ 0 w 89"/>
                <a:gd name="T1" fmla="*/ 32 h 176"/>
                <a:gd name="T2" fmla="*/ 0 w 89"/>
                <a:gd name="T3" fmla="*/ 3 h 176"/>
                <a:gd name="T4" fmla="*/ 37 w 89"/>
                <a:gd name="T5" fmla="*/ 3 h 176"/>
                <a:gd name="T6" fmla="*/ 37 w 89"/>
                <a:gd name="T7" fmla="*/ 35 h 176"/>
                <a:gd name="T8" fmla="*/ 37 w 89"/>
                <a:gd name="T9" fmla="*/ 35 h 176"/>
                <a:gd name="T10" fmla="*/ 80 w 89"/>
                <a:gd name="T11" fmla="*/ 0 h 176"/>
                <a:gd name="T12" fmla="*/ 88 w 89"/>
                <a:gd name="T13" fmla="*/ 0 h 176"/>
                <a:gd name="T14" fmla="*/ 88 w 89"/>
                <a:gd name="T15" fmla="*/ 40 h 176"/>
                <a:gd name="T16" fmla="*/ 77 w 89"/>
                <a:gd name="T17" fmla="*/ 38 h 176"/>
                <a:gd name="T18" fmla="*/ 43 w 89"/>
                <a:gd name="T19" fmla="*/ 80 h 176"/>
                <a:gd name="T20" fmla="*/ 43 w 89"/>
                <a:gd name="T21" fmla="*/ 175 h 176"/>
                <a:gd name="T22" fmla="*/ 3 w 89"/>
                <a:gd name="T23" fmla="*/ 175 h 176"/>
                <a:gd name="T24" fmla="*/ 0 w 89"/>
                <a:gd name="T25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4"/>
                    <a:pt x="37" y="24"/>
                    <a:pt x="37" y="35"/>
                  </a:cubicBezTo>
                  <a:lnTo>
                    <a:pt x="37" y="35"/>
                  </a:lnTo>
                  <a:cubicBezTo>
                    <a:pt x="43" y="22"/>
                    <a:pt x="56" y="0"/>
                    <a:pt x="80" y="0"/>
                  </a:cubicBezTo>
                  <a:cubicBezTo>
                    <a:pt x="82" y="0"/>
                    <a:pt x="85" y="0"/>
                    <a:pt x="88" y="0"/>
                  </a:cubicBezTo>
                  <a:lnTo>
                    <a:pt x="88" y="40"/>
                  </a:lnTo>
                  <a:cubicBezTo>
                    <a:pt x="85" y="40"/>
                    <a:pt x="80" y="38"/>
                    <a:pt x="77" y="38"/>
                  </a:cubicBezTo>
                  <a:cubicBezTo>
                    <a:pt x="61" y="38"/>
                    <a:pt x="43" y="48"/>
                    <a:pt x="43" y="80"/>
                  </a:cubicBezTo>
                  <a:lnTo>
                    <a:pt x="43" y="175"/>
                  </a:lnTo>
                  <a:lnTo>
                    <a:pt x="3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B179C49C-DDED-8A4D-B4B0-294A76136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488" y="2198688"/>
              <a:ext cx="52387" cy="90487"/>
            </a:xfrm>
            <a:custGeom>
              <a:avLst/>
              <a:gdLst>
                <a:gd name="T0" fmla="*/ 8 w 144"/>
                <a:gd name="T1" fmla="*/ 201 h 250"/>
                <a:gd name="T2" fmla="*/ 58 w 144"/>
                <a:gd name="T3" fmla="*/ 217 h 250"/>
                <a:gd name="T4" fmla="*/ 103 w 144"/>
                <a:gd name="T5" fmla="*/ 164 h 250"/>
                <a:gd name="T6" fmla="*/ 103 w 144"/>
                <a:gd name="T7" fmla="*/ 146 h 250"/>
                <a:gd name="T8" fmla="*/ 58 w 144"/>
                <a:gd name="T9" fmla="*/ 175 h 250"/>
                <a:gd name="T10" fmla="*/ 0 w 144"/>
                <a:gd name="T11" fmla="*/ 90 h 250"/>
                <a:gd name="T12" fmla="*/ 61 w 144"/>
                <a:gd name="T13" fmla="*/ 0 h 250"/>
                <a:gd name="T14" fmla="*/ 106 w 144"/>
                <a:gd name="T15" fmla="*/ 29 h 250"/>
                <a:gd name="T16" fmla="*/ 106 w 144"/>
                <a:gd name="T17" fmla="*/ 3 h 250"/>
                <a:gd name="T18" fmla="*/ 143 w 144"/>
                <a:gd name="T19" fmla="*/ 3 h 250"/>
                <a:gd name="T20" fmla="*/ 143 w 144"/>
                <a:gd name="T21" fmla="*/ 29 h 250"/>
                <a:gd name="T22" fmla="*/ 143 w 144"/>
                <a:gd name="T23" fmla="*/ 156 h 250"/>
                <a:gd name="T24" fmla="*/ 66 w 144"/>
                <a:gd name="T25" fmla="*/ 249 h 250"/>
                <a:gd name="T26" fmla="*/ 8 w 144"/>
                <a:gd name="T27" fmla="*/ 238 h 250"/>
                <a:gd name="T28" fmla="*/ 8 w 144"/>
                <a:gd name="T29" fmla="*/ 201 h 250"/>
                <a:gd name="T30" fmla="*/ 106 w 144"/>
                <a:gd name="T31" fmla="*/ 85 h 250"/>
                <a:gd name="T32" fmla="*/ 74 w 144"/>
                <a:gd name="T33" fmla="*/ 29 h 250"/>
                <a:gd name="T34" fmla="*/ 45 w 144"/>
                <a:gd name="T35" fmla="*/ 85 h 250"/>
                <a:gd name="T36" fmla="*/ 71 w 144"/>
                <a:gd name="T37" fmla="*/ 143 h 250"/>
                <a:gd name="T38" fmla="*/ 106 w 144"/>
                <a:gd name="T39" fmla="*/ 8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4" h="250">
                  <a:moveTo>
                    <a:pt x="8" y="201"/>
                  </a:moveTo>
                  <a:cubicBezTo>
                    <a:pt x="18" y="207"/>
                    <a:pt x="37" y="217"/>
                    <a:pt x="58" y="217"/>
                  </a:cubicBezTo>
                  <a:cubicBezTo>
                    <a:pt x="95" y="217"/>
                    <a:pt x="103" y="191"/>
                    <a:pt x="103" y="164"/>
                  </a:cubicBezTo>
                  <a:lnTo>
                    <a:pt x="103" y="146"/>
                  </a:lnTo>
                  <a:cubicBezTo>
                    <a:pt x="98" y="159"/>
                    <a:pt x="84" y="175"/>
                    <a:pt x="58" y="175"/>
                  </a:cubicBezTo>
                  <a:cubicBezTo>
                    <a:pt x="34" y="175"/>
                    <a:pt x="0" y="159"/>
                    <a:pt x="0" y="90"/>
                  </a:cubicBezTo>
                  <a:cubicBezTo>
                    <a:pt x="0" y="42"/>
                    <a:pt x="16" y="0"/>
                    <a:pt x="61" y="0"/>
                  </a:cubicBezTo>
                  <a:cubicBezTo>
                    <a:pt x="84" y="0"/>
                    <a:pt x="95" y="13"/>
                    <a:pt x="106" y="29"/>
                  </a:cubicBezTo>
                  <a:lnTo>
                    <a:pt x="106" y="3"/>
                  </a:lnTo>
                  <a:lnTo>
                    <a:pt x="143" y="3"/>
                  </a:lnTo>
                  <a:lnTo>
                    <a:pt x="143" y="29"/>
                  </a:lnTo>
                  <a:lnTo>
                    <a:pt x="143" y="156"/>
                  </a:lnTo>
                  <a:cubicBezTo>
                    <a:pt x="143" y="209"/>
                    <a:pt x="127" y="249"/>
                    <a:pt x="66" y="249"/>
                  </a:cubicBezTo>
                  <a:cubicBezTo>
                    <a:pt x="39" y="249"/>
                    <a:pt x="18" y="241"/>
                    <a:pt x="8" y="238"/>
                  </a:cubicBezTo>
                  <a:lnTo>
                    <a:pt x="8" y="201"/>
                  </a:lnTo>
                  <a:close/>
                  <a:moveTo>
                    <a:pt x="106" y="85"/>
                  </a:moveTo>
                  <a:cubicBezTo>
                    <a:pt x="106" y="48"/>
                    <a:pt x="92" y="29"/>
                    <a:pt x="74" y="29"/>
                  </a:cubicBezTo>
                  <a:cubicBezTo>
                    <a:pt x="53" y="29"/>
                    <a:pt x="45" y="50"/>
                    <a:pt x="45" y="85"/>
                  </a:cubicBezTo>
                  <a:cubicBezTo>
                    <a:pt x="45" y="127"/>
                    <a:pt x="55" y="143"/>
                    <a:pt x="71" y="143"/>
                  </a:cubicBezTo>
                  <a:cubicBezTo>
                    <a:pt x="98" y="143"/>
                    <a:pt x="106" y="125"/>
                    <a:pt x="106" y="8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52">
              <a:extLst>
                <a:ext uri="{FF2B5EF4-FFF2-40B4-BE49-F238E27FC236}">
                  <a16:creationId xmlns:a16="http://schemas.microsoft.com/office/drawing/2014/main" id="{6976E66F-7D57-3E40-9D02-CF1583D15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9225" y="2198688"/>
              <a:ext cx="50800" cy="65087"/>
            </a:xfrm>
            <a:custGeom>
              <a:avLst/>
              <a:gdLst>
                <a:gd name="T0" fmla="*/ 18 w 139"/>
                <a:gd name="T1" fmla="*/ 14 h 179"/>
                <a:gd name="T2" fmla="*/ 71 w 139"/>
                <a:gd name="T3" fmla="*/ 0 h 179"/>
                <a:gd name="T4" fmla="*/ 135 w 139"/>
                <a:gd name="T5" fmla="*/ 69 h 179"/>
                <a:gd name="T6" fmla="*/ 135 w 139"/>
                <a:gd name="T7" fmla="*/ 143 h 179"/>
                <a:gd name="T8" fmla="*/ 138 w 139"/>
                <a:gd name="T9" fmla="*/ 175 h 179"/>
                <a:gd name="T10" fmla="*/ 100 w 139"/>
                <a:gd name="T11" fmla="*/ 175 h 179"/>
                <a:gd name="T12" fmla="*/ 98 w 139"/>
                <a:gd name="T13" fmla="*/ 151 h 179"/>
                <a:gd name="T14" fmla="*/ 50 w 139"/>
                <a:gd name="T15" fmla="*/ 178 h 179"/>
                <a:gd name="T16" fmla="*/ 0 w 139"/>
                <a:gd name="T17" fmla="*/ 128 h 179"/>
                <a:gd name="T18" fmla="*/ 87 w 139"/>
                <a:gd name="T19" fmla="*/ 69 h 179"/>
                <a:gd name="T20" fmla="*/ 95 w 139"/>
                <a:gd name="T21" fmla="*/ 69 h 179"/>
                <a:gd name="T22" fmla="*/ 95 w 139"/>
                <a:gd name="T23" fmla="*/ 64 h 179"/>
                <a:gd name="T24" fmla="*/ 63 w 139"/>
                <a:gd name="T25" fmla="*/ 32 h 179"/>
                <a:gd name="T26" fmla="*/ 18 w 139"/>
                <a:gd name="T27" fmla="*/ 48 h 179"/>
                <a:gd name="T28" fmla="*/ 18 w 139"/>
                <a:gd name="T29" fmla="*/ 14 h 179"/>
                <a:gd name="T30" fmla="*/ 95 w 139"/>
                <a:gd name="T31" fmla="*/ 93 h 179"/>
                <a:gd name="T32" fmla="*/ 40 w 139"/>
                <a:gd name="T33" fmla="*/ 125 h 179"/>
                <a:gd name="T34" fmla="*/ 66 w 139"/>
                <a:gd name="T35" fmla="*/ 151 h 179"/>
                <a:gd name="T36" fmla="*/ 98 w 139"/>
                <a:gd name="T37" fmla="*/ 101 h 179"/>
                <a:gd name="T38" fmla="*/ 98 w 139"/>
                <a:gd name="T39" fmla="*/ 93 h 179"/>
                <a:gd name="T40" fmla="*/ 95 w 139"/>
                <a:gd name="T41" fmla="*/ 9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179">
                  <a:moveTo>
                    <a:pt x="18" y="14"/>
                  </a:moveTo>
                  <a:cubicBezTo>
                    <a:pt x="29" y="8"/>
                    <a:pt x="45" y="0"/>
                    <a:pt x="71" y="0"/>
                  </a:cubicBezTo>
                  <a:cubicBezTo>
                    <a:pt x="124" y="0"/>
                    <a:pt x="135" y="27"/>
                    <a:pt x="135" y="69"/>
                  </a:cubicBezTo>
                  <a:lnTo>
                    <a:pt x="135" y="143"/>
                  </a:lnTo>
                  <a:cubicBezTo>
                    <a:pt x="135" y="157"/>
                    <a:pt x="135" y="167"/>
                    <a:pt x="138" y="175"/>
                  </a:cubicBezTo>
                  <a:lnTo>
                    <a:pt x="100" y="175"/>
                  </a:lnTo>
                  <a:cubicBezTo>
                    <a:pt x="98" y="167"/>
                    <a:pt x="98" y="159"/>
                    <a:pt x="98" y="151"/>
                  </a:cubicBezTo>
                  <a:cubicBezTo>
                    <a:pt x="87" y="165"/>
                    <a:pt x="74" y="178"/>
                    <a:pt x="50" y="178"/>
                  </a:cubicBezTo>
                  <a:cubicBezTo>
                    <a:pt x="24" y="178"/>
                    <a:pt x="0" y="159"/>
                    <a:pt x="0" y="128"/>
                  </a:cubicBezTo>
                  <a:cubicBezTo>
                    <a:pt x="0" y="80"/>
                    <a:pt x="37" y="69"/>
                    <a:pt x="87" y="69"/>
                  </a:cubicBezTo>
                  <a:lnTo>
                    <a:pt x="95" y="69"/>
                  </a:lnTo>
                  <a:lnTo>
                    <a:pt x="95" y="64"/>
                  </a:lnTo>
                  <a:cubicBezTo>
                    <a:pt x="95" y="48"/>
                    <a:pt x="87" y="32"/>
                    <a:pt x="63" y="32"/>
                  </a:cubicBezTo>
                  <a:cubicBezTo>
                    <a:pt x="42" y="32"/>
                    <a:pt x="26" y="43"/>
                    <a:pt x="18" y="48"/>
                  </a:cubicBezTo>
                  <a:lnTo>
                    <a:pt x="18" y="14"/>
                  </a:lnTo>
                  <a:close/>
                  <a:moveTo>
                    <a:pt x="95" y="93"/>
                  </a:moveTo>
                  <a:cubicBezTo>
                    <a:pt x="61" y="93"/>
                    <a:pt x="40" y="101"/>
                    <a:pt x="40" y="125"/>
                  </a:cubicBezTo>
                  <a:cubicBezTo>
                    <a:pt x="40" y="141"/>
                    <a:pt x="50" y="151"/>
                    <a:pt x="66" y="151"/>
                  </a:cubicBezTo>
                  <a:cubicBezTo>
                    <a:pt x="90" y="151"/>
                    <a:pt x="98" y="133"/>
                    <a:pt x="98" y="101"/>
                  </a:cubicBezTo>
                  <a:lnTo>
                    <a:pt x="98" y="93"/>
                  </a:lnTo>
                  <a:lnTo>
                    <a:pt x="95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id="{588F58F8-310D-694D-BF21-0AD32BA58D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2725" y="2198688"/>
              <a:ext cx="47625" cy="63500"/>
            </a:xfrm>
            <a:custGeom>
              <a:avLst/>
              <a:gdLst>
                <a:gd name="T0" fmla="*/ 0 w 133"/>
                <a:gd name="T1" fmla="*/ 32 h 176"/>
                <a:gd name="T2" fmla="*/ 0 w 133"/>
                <a:gd name="T3" fmla="*/ 3 h 176"/>
                <a:gd name="T4" fmla="*/ 37 w 133"/>
                <a:gd name="T5" fmla="*/ 3 h 176"/>
                <a:gd name="T6" fmla="*/ 37 w 133"/>
                <a:gd name="T7" fmla="*/ 30 h 176"/>
                <a:gd name="T8" fmla="*/ 37 w 133"/>
                <a:gd name="T9" fmla="*/ 30 h 176"/>
                <a:gd name="T10" fmla="*/ 37 w 133"/>
                <a:gd name="T11" fmla="*/ 30 h 176"/>
                <a:gd name="T12" fmla="*/ 82 w 133"/>
                <a:gd name="T13" fmla="*/ 0 h 176"/>
                <a:gd name="T14" fmla="*/ 132 w 133"/>
                <a:gd name="T15" fmla="*/ 64 h 176"/>
                <a:gd name="T16" fmla="*/ 132 w 133"/>
                <a:gd name="T17" fmla="*/ 175 h 176"/>
                <a:gd name="T18" fmla="*/ 92 w 133"/>
                <a:gd name="T19" fmla="*/ 175 h 176"/>
                <a:gd name="T20" fmla="*/ 92 w 133"/>
                <a:gd name="T21" fmla="*/ 72 h 176"/>
                <a:gd name="T22" fmla="*/ 68 w 133"/>
                <a:gd name="T23" fmla="*/ 35 h 176"/>
                <a:gd name="T24" fmla="*/ 39 w 133"/>
                <a:gd name="T25" fmla="*/ 75 h 176"/>
                <a:gd name="T26" fmla="*/ 39 w 133"/>
                <a:gd name="T27" fmla="*/ 175 h 176"/>
                <a:gd name="T28" fmla="*/ 0 w 133"/>
                <a:gd name="T29" fmla="*/ 175 h 176"/>
                <a:gd name="T30" fmla="*/ 0 w 133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3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30"/>
                  </a:cubicBezTo>
                  <a:lnTo>
                    <a:pt x="37" y="30"/>
                  </a:lnTo>
                  <a:lnTo>
                    <a:pt x="37" y="30"/>
                  </a:lnTo>
                  <a:cubicBezTo>
                    <a:pt x="42" y="19"/>
                    <a:pt x="53" y="0"/>
                    <a:pt x="82" y="0"/>
                  </a:cubicBezTo>
                  <a:cubicBezTo>
                    <a:pt x="119" y="0"/>
                    <a:pt x="132" y="30"/>
                    <a:pt x="132" y="64"/>
                  </a:cubicBezTo>
                  <a:lnTo>
                    <a:pt x="132" y="175"/>
                  </a:lnTo>
                  <a:lnTo>
                    <a:pt x="92" y="175"/>
                  </a:lnTo>
                  <a:lnTo>
                    <a:pt x="92" y="72"/>
                  </a:lnTo>
                  <a:cubicBezTo>
                    <a:pt x="92" y="45"/>
                    <a:pt x="87" y="35"/>
                    <a:pt x="68" y="35"/>
                  </a:cubicBezTo>
                  <a:cubicBezTo>
                    <a:pt x="47" y="35"/>
                    <a:pt x="39" y="53"/>
                    <a:pt x="39" y="75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54">
              <a:extLst>
                <a:ext uri="{FF2B5EF4-FFF2-40B4-BE49-F238E27FC236}">
                  <a16:creationId xmlns:a16="http://schemas.microsoft.com/office/drawing/2014/main" id="{784992A7-8491-3E4F-8FBE-EF3923913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1463" y="2173288"/>
              <a:ext cx="15875" cy="88900"/>
            </a:xfrm>
            <a:custGeom>
              <a:avLst/>
              <a:gdLst>
                <a:gd name="T0" fmla="*/ 0 w 44"/>
                <a:gd name="T1" fmla="*/ 0 h 247"/>
                <a:gd name="T2" fmla="*/ 43 w 44"/>
                <a:gd name="T3" fmla="*/ 0 h 247"/>
                <a:gd name="T4" fmla="*/ 43 w 44"/>
                <a:gd name="T5" fmla="*/ 39 h 247"/>
                <a:gd name="T6" fmla="*/ 0 w 44"/>
                <a:gd name="T7" fmla="*/ 39 h 247"/>
                <a:gd name="T8" fmla="*/ 0 w 44"/>
                <a:gd name="T9" fmla="*/ 0 h 247"/>
                <a:gd name="T10" fmla="*/ 3 w 44"/>
                <a:gd name="T11" fmla="*/ 74 h 247"/>
                <a:gd name="T12" fmla="*/ 43 w 44"/>
                <a:gd name="T13" fmla="*/ 74 h 247"/>
                <a:gd name="T14" fmla="*/ 43 w 44"/>
                <a:gd name="T15" fmla="*/ 246 h 247"/>
                <a:gd name="T16" fmla="*/ 3 w 44"/>
                <a:gd name="T17" fmla="*/ 246 h 247"/>
                <a:gd name="T18" fmla="*/ 3 w 44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247">
                  <a:moveTo>
                    <a:pt x="0" y="0"/>
                  </a:moveTo>
                  <a:lnTo>
                    <a:pt x="43" y="0"/>
                  </a:lnTo>
                  <a:lnTo>
                    <a:pt x="43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3" y="74"/>
                  </a:moveTo>
                  <a:lnTo>
                    <a:pt x="43" y="74"/>
                  </a:lnTo>
                  <a:lnTo>
                    <a:pt x="43" y="246"/>
                  </a:lnTo>
                  <a:lnTo>
                    <a:pt x="3" y="246"/>
                  </a:lnTo>
                  <a:lnTo>
                    <a:pt x="3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55">
              <a:extLst>
                <a:ext uri="{FF2B5EF4-FFF2-40B4-BE49-F238E27FC236}">
                  <a16:creationId xmlns:a16="http://schemas.microsoft.com/office/drawing/2014/main" id="{95646E9C-A2B9-F24A-BC99-C15E3E157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0038" y="2200275"/>
              <a:ext cx="41275" cy="61913"/>
            </a:xfrm>
            <a:custGeom>
              <a:avLst/>
              <a:gdLst>
                <a:gd name="T0" fmla="*/ 0 w 115"/>
                <a:gd name="T1" fmla="*/ 135 h 173"/>
                <a:gd name="T2" fmla="*/ 71 w 115"/>
                <a:gd name="T3" fmla="*/ 29 h 173"/>
                <a:gd name="T4" fmla="*/ 2 w 115"/>
                <a:gd name="T5" fmla="*/ 29 h 173"/>
                <a:gd name="T6" fmla="*/ 2 w 115"/>
                <a:gd name="T7" fmla="*/ 0 h 173"/>
                <a:gd name="T8" fmla="*/ 111 w 115"/>
                <a:gd name="T9" fmla="*/ 0 h 173"/>
                <a:gd name="T10" fmla="*/ 111 w 115"/>
                <a:gd name="T11" fmla="*/ 34 h 173"/>
                <a:gd name="T12" fmla="*/ 40 w 115"/>
                <a:gd name="T13" fmla="*/ 140 h 173"/>
                <a:gd name="T14" fmla="*/ 114 w 115"/>
                <a:gd name="T15" fmla="*/ 140 h 173"/>
                <a:gd name="T16" fmla="*/ 114 w 115"/>
                <a:gd name="T17" fmla="*/ 172 h 173"/>
                <a:gd name="T18" fmla="*/ 0 w 115"/>
                <a:gd name="T19" fmla="*/ 172 h 173"/>
                <a:gd name="T20" fmla="*/ 0 w 115"/>
                <a:gd name="T2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" h="173">
                  <a:moveTo>
                    <a:pt x="0" y="135"/>
                  </a:moveTo>
                  <a:lnTo>
                    <a:pt x="71" y="29"/>
                  </a:lnTo>
                  <a:lnTo>
                    <a:pt x="2" y="29"/>
                  </a:lnTo>
                  <a:lnTo>
                    <a:pt x="2" y="0"/>
                  </a:lnTo>
                  <a:lnTo>
                    <a:pt x="111" y="0"/>
                  </a:lnTo>
                  <a:lnTo>
                    <a:pt x="111" y="34"/>
                  </a:lnTo>
                  <a:lnTo>
                    <a:pt x="40" y="140"/>
                  </a:lnTo>
                  <a:lnTo>
                    <a:pt x="114" y="140"/>
                  </a:lnTo>
                  <a:lnTo>
                    <a:pt x="114" y="172"/>
                  </a:lnTo>
                  <a:lnTo>
                    <a:pt x="0" y="172"/>
                  </a:lnTo>
                  <a:lnTo>
                    <a:pt x="0" y="13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Freeform 56">
              <a:extLst>
                <a:ext uri="{FF2B5EF4-FFF2-40B4-BE49-F238E27FC236}">
                  <a16:creationId xmlns:a16="http://schemas.microsoft.com/office/drawing/2014/main" id="{779B8527-141D-6C44-A7AD-7EEAAE4CD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7663" y="2198688"/>
              <a:ext cx="50800" cy="65087"/>
            </a:xfrm>
            <a:custGeom>
              <a:avLst/>
              <a:gdLst>
                <a:gd name="T0" fmla="*/ 19 w 139"/>
                <a:gd name="T1" fmla="*/ 14 h 179"/>
                <a:gd name="T2" fmla="*/ 72 w 139"/>
                <a:gd name="T3" fmla="*/ 0 h 179"/>
                <a:gd name="T4" fmla="*/ 135 w 139"/>
                <a:gd name="T5" fmla="*/ 69 h 179"/>
                <a:gd name="T6" fmla="*/ 135 w 139"/>
                <a:gd name="T7" fmla="*/ 143 h 179"/>
                <a:gd name="T8" fmla="*/ 138 w 139"/>
                <a:gd name="T9" fmla="*/ 175 h 179"/>
                <a:gd name="T10" fmla="*/ 101 w 139"/>
                <a:gd name="T11" fmla="*/ 175 h 179"/>
                <a:gd name="T12" fmla="*/ 98 w 139"/>
                <a:gd name="T13" fmla="*/ 151 h 179"/>
                <a:gd name="T14" fmla="*/ 51 w 139"/>
                <a:gd name="T15" fmla="*/ 178 h 179"/>
                <a:gd name="T16" fmla="*/ 0 w 139"/>
                <a:gd name="T17" fmla="*/ 128 h 179"/>
                <a:gd name="T18" fmla="*/ 88 w 139"/>
                <a:gd name="T19" fmla="*/ 69 h 179"/>
                <a:gd name="T20" fmla="*/ 96 w 139"/>
                <a:gd name="T21" fmla="*/ 69 h 179"/>
                <a:gd name="T22" fmla="*/ 96 w 139"/>
                <a:gd name="T23" fmla="*/ 64 h 179"/>
                <a:gd name="T24" fmla="*/ 64 w 139"/>
                <a:gd name="T25" fmla="*/ 32 h 179"/>
                <a:gd name="T26" fmla="*/ 19 w 139"/>
                <a:gd name="T27" fmla="*/ 48 h 179"/>
                <a:gd name="T28" fmla="*/ 19 w 139"/>
                <a:gd name="T29" fmla="*/ 14 h 179"/>
                <a:gd name="T30" fmla="*/ 96 w 139"/>
                <a:gd name="T31" fmla="*/ 93 h 179"/>
                <a:gd name="T32" fmla="*/ 40 w 139"/>
                <a:gd name="T33" fmla="*/ 125 h 179"/>
                <a:gd name="T34" fmla="*/ 66 w 139"/>
                <a:gd name="T35" fmla="*/ 151 h 179"/>
                <a:gd name="T36" fmla="*/ 98 w 139"/>
                <a:gd name="T37" fmla="*/ 101 h 179"/>
                <a:gd name="T38" fmla="*/ 98 w 139"/>
                <a:gd name="T39" fmla="*/ 93 h 179"/>
                <a:gd name="T40" fmla="*/ 96 w 139"/>
                <a:gd name="T41" fmla="*/ 9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179">
                  <a:moveTo>
                    <a:pt x="19" y="14"/>
                  </a:moveTo>
                  <a:cubicBezTo>
                    <a:pt x="29" y="8"/>
                    <a:pt x="45" y="0"/>
                    <a:pt x="72" y="0"/>
                  </a:cubicBezTo>
                  <a:cubicBezTo>
                    <a:pt x="122" y="0"/>
                    <a:pt x="135" y="27"/>
                    <a:pt x="135" y="69"/>
                  </a:cubicBezTo>
                  <a:lnTo>
                    <a:pt x="135" y="143"/>
                  </a:lnTo>
                  <a:cubicBezTo>
                    <a:pt x="135" y="157"/>
                    <a:pt x="135" y="167"/>
                    <a:pt x="138" y="175"/>
                  </a:cubicBezTo>
                  <a:lnTo>
                    <a:pt x="101" y="175"/>
                  </a:lnTo>
                  <a:cubicBezTo>
                    <a:pt x="98" y="167"/>
                    <a:pt x="98" y="159"/>
                    <a:pt x="98" y="151"/>
                  </a:cubicBezTo>
                  <a:cubicBezTo>
                    <a:pt x="88" y="165"/>
                    <a:pt x="74" y="178"/>
                    <a:pt x="51" y="178"/>
                  </a:cubicBezTo>
                  <a:cubicBezTo>
                    <a:pt x="24" y="178"/>
                    <a:pt x="0" y="159"/>
                    <a:pt x="0" y="128"/>
                  </a:cubicBezTo>
                  <a:cubicBezTo>
                    <a:pt x="0" y="80"/>
                    <a:pt x="37" y="69"/>
                    <a:pt x="88" y="69"/>
                  </a:cubicBezTo>
                  <a:lnTo>
                    <a:pt x="96" y="69"/>
                  </a:lnTo>
                  <a:lnTo>
                    <a:pt x="96" y="64"/>
                  </a:lnTo>
                  <a:cubicBezTo>
                    <a:pt x="96" y="48"/>
                    <a:pt x="88" y="32"/>
                    <a:pt x="64" y="32"/>
                  </a:cubicBezTo>
                  <a:cubicBezTo>
                    <a:pt x="43" y="32"/>
                    <a:pt x="27" y="43"/>
                    <a:pt x="19" y="48"/>
                  </a:cubicBezTo>
                  <a:lnTo>
                    <a:pt x="19" y="14"/>
                  </a:lnTo>
                  <a:close/>
                  <a:moveTo>
                    <a:pt x="96" y="93"/>
                  </a:moveTo>
                  <a:cubicBezTo>
                    <a:pt x="61" y="93"/>
                    <a:pt x="40" y="101"/>
                    <a:pt x="40" y="125"/>
                  </a:cubicBezTo>
                  <a:cubicBezTo>
                    <a:pt x="40" y="141"/>
                    <a:pt x="51" y="151"/>
                    <a:pt x="66" y="151"/>
                  </a:cubicBezTo>
                  <a:cubicBezTo>
                    <a:pt x="90" y="151"/>
                    <a:pt x="98" y="133"/>
                    <a:pt x="98" y="101"/>
                  </a:cubicBezTo>
                  <a:lnTo>
                    <a:pt x="98" y="93"/>
                  </a:lnTo>
                  <a:lnTo>
                    <a:pt x="96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Freeform 57">
              <a:extLst>
                <a:ext uri="{FF2B5EF4-FFF2-40B4-BE49-F238E27FC236}">
                  <a16:creationId xmlns:a16="http://schemas.microsoft.com/office/drawing/2014/main" id="{DBE157E4-231F-D34C-94B0-BB8231AAB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225" y="2181225"/>
              <a:ext cx="36513" cy="80963"/>
            </a:xfrm>
            <a:custGeom>
              <a:avLst/>
              <a:gdLst>
                <a:gd name="T0" fmla="*/ 26 w 101"/>
                <a:gd name="T1" fmla="*/ 14 h 224"/>
                <a:gd name="T2" fmla="*/ 66 w 101"/>
                <a:gd name="T3" fmla="*/ 0 h 224"/>
                <a:gd name="T4" fmla="*/ 66 w 101"/>
                <a:gd name="T5" fmla="*/ 48 h 224"/>
                <a:gd name="T6" fmla="*/ 100 w 101"/>
                <a:gd name="T7" fmla="*/ 48 h 224"/>
                <a:gd name="T8" fmla="*/ 100 w 101"/>
                <a:gd name="T9" fmla="*/ 77 h 224"/>
                <a:gd name="T10" fmla="*/ 66 w 101"/>
                <a:gd name="T11" fmla="*/ 77 h 224"/>
                <a:gd name="T12" fmla="*/ 66 w 101"/>
                <a:gd name="T13" fmla="*/ 167 h 224"/>
                <a:gd name="T14" fmla="*/ 85 w 101"/>
                <a:gd name="T15" fmla="*/ 191 h 224"/>
                <a:gd name="T16" fmla="*/ 100 w 101"/>
                <a:gd name="T17" fmla="*/ 188 h 224"/>
                <a:gd name="T18" fmla="*/ 100 w 101"/>
                <a:gd name="T19" fmla="*/ 218 h 224"/>
                <a:gd name="T20" fmla="*/ 74 w 101"/>
                <a:gd name="T21" fmla="*/ 223 h 224"/>
                <a:gd name="T22" fmla="*/ 26 w 101"/>
                <a:gd name="T23" fmla="*/ 173 h 224"/>
                <a:gd name="T24" fmla="*/ 26 w 101"/>
                <a:gd name="T25" fmla="*/ 77 h 224"/>
                <a:gd name="T26" fmla="*/ 0 w 101"/>
                <a:gd name="T27" fmla="*/ 77 h 224"/>
                <a:gd name="T28" fmla="*/ 0 w 101"/>
                <a:gd name="T29" fmla="*/ 48 h 224"/>
                <a:gd name="T30" fmla="*/ 26 w 101"/>
                <a:gd name="T31" fmla="*/ 48 h 224"/>
                <a:gd name="T32" fmla="*/ 26 w 101"/>
                <a:gd name="T33" fmla="*/ 1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224">
                  <a:moveTo>
                    <a:pt x="26" y="14"/>
                  </a:moveTo>
                  <a:lnTo>
                    <a:pt x="66" y="0"/>
                  </a:lnTo>
                  <a:lnTo>
                    <a:pt x="66" y="48"/>
                  </a:lnTo>
                  <a:lnTo>
                    <a:pt x="100" y="48"/>
                  </a:lnTo>
                  <a:lnTo>
                    <a:pt x="100" y="77"/>
                  </a:lnTo>
                  <a:lnTo>
                    <a:pt x="66" y="77"/>
                  </a:lnTo>
                  <a:lnTo>
                    <a:pt x="66" y="167"/>
                  </a:lnTo>
                  <a:cubicBezTo>
                    <a:pt x="66" y="186"/>
                    <a:pt x="71" y="191"/>
                    <a:pt x="85" y="191"/>
                  </a:cubicBezTo>
                  <a:cubicBezTo>
                    <a:pt x="92" y="191"/>
                    <a:pt x="98" y="188"/>
                    <a:pt x="100" y="188"/>
                  </a:cubicBezTo>
                  <a:lnTo>
                    <a:pt x="100" y="218"/>
                  </a:lnTo>
                  <a:cubicBezTo>
                    <a:pt x="95" y="220"/>
                    <a:pt x="85" y="223"/>
                    <a:pt x="74" y="223"/>
                  </a:cubicBezTo>
                  <a:cubicBezTo>
                    <a:pt x="45" y="223"/>
                    <a:pt x="26" y="210"/>
                    <a:pt x="26" y="173"/>
                  </a:cubicBezTo>
                  <a:lnTo>
                    <a:pt x="26" y="77"/>
                  </a:lnTo>
                  <a:lnTo>
                    <a:pt x="0" y="77"/>
                  </a:lnTo>
                  <a:lnTo>
                    <a:pt x="0" y="48"/>
                  </a:lnTo>
                  <a:lnTo>
                    <a:pt x="26" y="48"/>
                  </a:lnTo>
                  <a:lnTo>
                    <a:pt x="26" y="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58">
              <a:extLst>
                <a:ext uri="{FF2B5EF4-FFF2-40B4-BE49-F238E27FC236}">
                  <a16:creationId xmlns:a16="http://schemas.microsoft.com/office/drawing/2014/main" id="{EDD7EFF8-F4D6-1C42-8A07-319C31C90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9263" y="2173288"/>
              <a:ext cx="15875" cy="88900"/>
            </a:xfrm>
            <a:custGeom>
              <a:avLst/>
              <a:gdLst>
                <a:gd name="T0" fmla="*/ 0 w 46"/>
                <a:gd name="T1" fmla="*/ 0 h 247"/>
                <a:gd name="T2" fmla="*/ 42 w 46"/>
                <a:gd name="T3" fmla="*/ 0 h 247"/>
                <a:gd name="T4" fmla="*/ 42 w 46"/>
                <a:gd name="T5" fmla="*/ 39 h 247"/>
                <a:gd name="T6" fmla="*/ 0 w 46"/>
                <a:gd name="T7" fmla="*/ 39 h 247"/>
                <a:gd name="T8" fmla="*/ 0 w 46"/>
                <a:gd name="T9" fmla="*/ 0 h 247"/>
                <a:gd name="T10" fmla="*/ 5 w 46"/>
                <a:gd name="T11" fmla="*/ 74 h 247"/>
                <a:gd name="T12" fmla="*/ 45 w 46"/>
                <a:gd name="T13" fmla="*/ 74 h 247"/>
                <a:gd name="T14" fmla="*/ 45 w 46"/>
                <a:gd name="T15" fmla="*/ 246 h 247"/>
                <a:gd name="T16" fmla="*/ 5 w 46"/>
                <a:gd name="T17" fmla="*/ 246 h 247"/>
                <a:gd name="T18" fmla="*/ 5 w 46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247">
                  <a:moveTo>
                    <a:pt x="0" y="0"/>
                  </a:moveTo>
                  <a:lnTo>
                    <a:pt x="42" y="0"/>
                  </a:lnTo>
                  <a:lnTo>
                    <a:pt x="42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5" y="74"/>
                  </a:moveTo>
                  <a:lnTo>
                    <a:pt x="45" y="74"/>
                  </a:lnTo>
                  <a:lnTo>
                    <a:pt x="45" y="246"/>
                  </a:lnTo>
                  <a:lnTo>
                    <a:pt x="5" y="246"/>
                  </a:lnTo>
                  <a:lnTo>
                    <a:pt x="5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59">
              <a:extLst>
                <a:ext uri="{FF2B5EF4-FFF2-40B4-BE49-F238E27FC236}">
                  <a16:creationId xmlns:a16="http://schemas.microsoft.com/office/drawing/2014/main" id="{27FC9454-7ECF-5B41-B6C1-A64F9BB39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6250" y="2198688"/>
              <a:ext cx="53975" cy="65087"/>
            </a:xfrm>
            <a:custGeom>
              <a:avLst/>
              <a:gdLst>
                <a:gd name="T0" fmla="*/ 148 w 149"/>
                <a:gd name="T1" fmla="*/ 90 h 181"/>
                <a:gd name="T2" fmla="*/ 74 w 149"/>
                <a:gd name="T3" fmla="*/ 180 h 181"/>
                <a:gd name="T4" fmla="*/ 0 w 149"/>
                <a:gd name="T5" fmla="*/ 90 h 181"/>
                <a:gd name="T6" fmla="*/ 74 w 149"/>
                <a:gd name="T7" fmla="*/ 0 h 181"/>
                <a:gd name="T8" fmla="*/ 148 w 149"/>
                <a:gd name="T9" fmla="*/ 90 h 181"/>
                <a:gd name="T10" fmla="*/ 106 w 149"/>
                <a:gd name="T11" fmla="*/ 87 h 181"/>
                <a:gd name="T12" fmla="*/ 74 w 149"/>
                <a:gd name="T13" fmla="*/ 29 h 181"/>
                <a:gd name="T14" fmla="*/ 42 w 149"/>
                <a:gd name="T15" fmla="*/ 87 h 181"/>
                <a:gd name="T16" fmla="*/ 74 w 149"/>
                <a:gd name="T17" fmla="*/ 148 h 181"/>
                <a:gd name="T18" fmla="*/ 106 w 149"/>
                <a:gd name="T19" fmla="*/ 8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81">
                  <a:moveTo>
                    <a:pt x="148" y="90"/>
                  </a:moveTo>
                  <a:cubicBezTo>
                    <a:pt x="148" y="162"/>
                    <a:pt x="109" y="180"/>
                    <a:pt x="74" y="180"/>
                  </a:cubicBezTo>
                  <a:cubicBezTo>
                    <a:pt x="40" y="180"/>
                    <a:pt x="0" y="164"/>
                    <a:pt x="0" y="90"/>
                  </a:cubicBezTo>
                  <a:cubicBezTo>
                    <a:pt x="3" y="19"/>
                    <a:pt x="42" y="0"/>
                    <a:pt x="74" y="0"/>
                  </a:cubicBezTo>
                  <a:cubicBezTo>
                    <a:pt x="109" y="0"/>
                    <a:pt x="148" y="19"/>
                    <a:pt x="148" y="90"/>
                  </a:cubicBezTo>
                  <a:close/>
                  <a:moveTo>
                    <a:pt x="106" y="87"/>
                  </a:moveTo>
                  <a:cubicBezTo>
                    <a:pt x="106" y="58"/>
                    <a:pt x="101" y="29"/>
                    <a:pt x="74" y="29"/>
                  </a:cubicBezTo>
                  <a:cubicBezTo>
                    <a:pt x="48" y="29"/>
                    <a:pt x="42" y="61"/>
                    <a:pt x="42" y="87"/>
                  </a:cubicBezTo>
                  <a:cubicBezTo>
                    <a:pt x="42" y="117"/>
                    <a:pt x="50" y="148"/>
                    <a:pt x="74" y="148"/>
                  </a:cubicBezTo>
                  <a:cubicBezTo>
                    <a:pt x="101" y="148"/>
                    <a:pt x="106" y="117"/>
                    <a:pt x="106" y="8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60">
              <a:extLst>
                <a:ext uri="{FF2B5EF4-FFF2-40B4-BE49-F238E27FC236}">
                  <a16:creationId xmlns:a16="http://schemas.microsoft.com/office/drawing/2014/main" id="{408EF57F-8468-ED46-9498-3BFBE7D5A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198688"/>
              <a:ext cx="47625" cy="63500"/>
            </a:xfrm>
            <a:custGeom>
              <a:avLst/>
              <a:gdLst>
                <a:gd name="T0" fmla="*/ 0 w 133"/>
                <a:gd name="T1" fmla="*/ 32 h 176"/>
                <a:gd name="T2" fmla="*/ 0 w 133"/>
                <a:gd name="T3" fmla="*/ 3 h 176"/>
                <a:gd name="T4" fmla="*/ 37 w 133"/>
                <a:gd name="T5" fmla="*/ 3 h 176"/>
                <a:gd name="T6" fmla="*/ 37 w 133"/>
                <a:gd name="T7" fmla="*/ 30 h 176"/>
                <a:gd name="T8" fmla="*/ 37 w 133"/>
                <a:gd name="T9" fmla="*/ 30 h 176"/>
                <a:gd name="T10" fmla="*/ 37 w 133"/>
                <a:gd name="T11" fmla="*/ 30 h 176"/>
                <a:gd name="T12" fmla="*/ 82 w 133"/>
                <a:gd name="T13" fmla="*/ 0 h 176"/>
                <a:gd name="T14" fmla="*/ 132 w 133"/>
                <a:gd name="T15" fmla="*/ 64 h 176"/>
                <a:gd name="T16" fmla="*/ 132 w 133"/>
                <a:gd name="T17" fmla="*/ 175 h 176"/>
                <a:gd name="T18" fmla="*/ 92 w 133"/>
                <a:gd name="T19" fmla="*/ 175 h 176"/>
                <a:gd name="T20" fmla="*/ 92 w 133"/>
                <a:gd name="T21" fmla="*/ 72 h 176"/>
                <a:gd name="T22" fmla="*/ 69 w 133"/>
                <a:gd name="T23" fmla="*/ 35 h 176"/>
                <a:gd name="T24" fmla="*/ 39 w 133"/>
                <a:gd name="T25" fmla="*/ 75 h 176"/>
                <a:gd name="T26" fmla="*/ 39 w 133"/>
                <a:gd name="T27" fmla="*/ 175 h 176"/>
                <a:gd name="T28" fmla="*/ 0 w 133"/>
                <a:gd name="T29" fmla="*/ 175 h 176"/>
                <a:gd name="T30" fmla="*/ 0 w 133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3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30"/>
                  </a:cubicBezTo>
                  <a:lnTo>
                    <a:pt x="37" y="30"/>
                  </a:lnTo>
                  <a:lnTo>
                    <a:pt x="37" y="30"/>
                  </a:lnTo>
                  <a:cubicBezTo>
                    <a:pt x="42" y="19"/>
                    <a:pt x="53" y="0"/>
                    <a:pt x="82" y="0"/>
                  </a:cubicBezTo>
                  <a:cubicBezTo>
                    <a:pt x="119" y="0"/>
                    <a:pt x="132" y="30"/>
                    <a:pt x="132" y="64"/>
                  </a:cubicBezTo>
                  <a:lnTo>
                    <a:pt x="132" y="175"/>
                  </a:lnTo>
                  <a:lnTo>
                    <a:pt x="92" y="175"/>
                  </a:lnTo>
                  <a:lnTo>
                    <a:pt x="92" y="72"/>
                  </a:lnTo>
                  <a:cubicBezTo>
                    <a:pt x="92" y="45"/>
                    <a:pt x="87" y="35"/>
                    <a:pt x="69" y="35"/>
                  </a:cubicBezTo>
                  <a:cubicBezTo>
                    <a:pt x="47" y="35"/>
                    <a:pt x="39" y="53"/>
                    <a:pt x="39" y="75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61">
              <a:extLst>
                <a:ext uri="{FF2B5EF4-FFF2-40B4-BE49-F238E27FC236}">
                  <a16:creationId xmlns:a16="http://schemas.microsoft.com/office/drawing/2014/main" id="{FC8C2D41-36C7-F04D-8AC3-EAB2D32AD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4150" y="2032000"/>
              <a:ext cx="47625" cy="84138"/>
            </a:xfrm>
            <a:custGeom>
              <a:avLst/>
              <a:gdLst>
                <a:gd name="T0" fmla="*/ 0 w 133"/>
                <a:gd name="T1" fmla="*/ 0 h 234"/>
                <a:gd name="T2" fmla="*/ 64 w 133"/>
                <a:gd name="T3" fmla="*/ 0 h 234"/>
                <a:gd name="T4" fmla="*/ 132 w 133"/>
                <a:gd name="T5" fmla="*/ 72 h 234"/>
                <a:gd name="T6" fmla="*/ 64 w 133"/>
                <a:gd name="T7" fmla="*/ 143 h 234"/>
                <a:gd name="T8" fmla="*/ 42 w 133"/>
                <a:gd name="T9" fmla="*/ 143 h 234"/>
                <a:gd name="T10" fmla="*/ 42 w 133"/>
                <a:gd name="T11" fmla="*/ 233 h 234"/>
                <a:gd name="T12" fmla="*/ 3 w 133"/>
                <a:gd name="T13" fmla="*/ 233 h 234"/>
                <a:gd name="T14" fmla="*/ 0 w 133"/>
                <a:gd name="T15" fmla="*/ 0 h 234"/>
                <a:gd name="T16" fmla="*/ 56 w 133"/>
                <a:gd name="T17" fmla="*/ 111 h 234"/>
                <a:gd name="T18" fmla="*/ 93 w 133"/>
                <a:gd name="T19" fmla="*/ 72 h 234"/>
                <a:gd name="T20" fmla="*/ 56 w 133"/>
                <a:gd name="T21" fmla="*/ 34 h 234"/>
                <a:gd name="T22" fmla="*/ 40 w 133"/>
                <a:gd name="T23" fmla="*/ 34 h 234"/>
                <a:gd name="T24" fmla="*/ 40 w 133"/>
                <a:gd name="T25" fmla="*/ 111 h 234"/>
                <a:gd name="T26" fmla="*/ 56 w 133"/>
                <a:gd name="T27" fmla="*/ 11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234">
                  <a:moveTo>
                    <a:pt x="0" y="0"/>
                  </a:moveTo>
                  <a:lnTo>
                    <a:pt x="64" y="0"/>
                  </a:lnTo>
                  <a:cubicBezTo>
                    <a:pt x="109" y="0"/>
                    <a:pt x="132" y="27"/>
                    <a:pt x="132" y="72"/>
                  </a:cubicBezTo>
                  <a:cubicBezTo>
                    <a:pt x="132" y="117"/>
                    <a:pt x="109" y="143"/>
                    <a:pt x="64" y="143"/>
                  </a:cubicBezTo>
                  <a:lnTo>
                    <a:pt x="42" y="143"/>
                  </a:lnTo>
                  <a:lnTo>
                    <a:pt x="42" y="233"/>
                  </a:lnTo>
                  <a:lnTo>
                    <a:pt x="3" y="233"/>
                  </a:lnTo>
                  <a:lnTo>
                    <a:pt x="0" y="0"/>
                  </a:lnTo>
                  <a:close/>
                  <a:moveTo>
                    <a:pt x="56" y="111"/>
                  </a:moveTo>
                  <a:cubicBezTo>
                    <a:pt x="79" y="111"/>
                    <a:pt x="93" y="98"/>
                    <a:pt x="93" y="72"/>
                  </a:cubicBezTo>
                  <a:cubicBezTo>
                    <a:pt x="93" y="45"/>
                    <a:pt x="82" y="34"/>
                    <a:pt x="56" y="34"/>
                  </a:cubicBezTo>
                  <a:lnTo>
                    <a:pt x="40" y="34"/>
                  </a:lnTo>
                  <a:lnTo>
                    <a:pt x="40" y="111"/>
                  </a:lnTo>
                  <a:lnTo>
                    <a:pt x="56" y="11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62">
              <a:extLst>
                <a:ext uri="{FF2B5EF4-FFF2-40B4-BE49-F238E27FC236}">
                  <a16:creationId xmlns:a16="http://schemas.microsoft.com/office/drawing/2014/main" id="{8FDCDAB0-9040-CE41-B43D-3A623E182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3363" y="2052638"/>
              <a:ext cx="47625" cy="63500"/>
            </a:xfrm>
            <a:custGeom>
              <a:avLst/>
              <a:gdLst>
                <a:gd name="T0" fmla="*/ 16 w 131"/>
                <a:gd name="T1" fmla="*/ 14 h 176"/>
                <a:gd name="T2" fmla="*/ 66 w 131"/>
                <a:gd name="T3" fmla="*/ 0 h 176"/>
                <a:gd name="T4" fmla="*/ 127 w 131"/>
                <a:gd name="T5" fmla="*/ 69 h 176"/>
                <a:gd name="T6" fmla="*/ 127 w 131"/>
                <a:gd name="T7" fmla="*/ 143 h 176"/>
                <a:gd name="T8" fmla="*/ 130 w 131"/>
                <a:gd name="T9" fmla="*/ 172 h 176"/>
                <a:gd name="T10" fmla="*/ 95 w 131"/>
                <a:gd name="T11" fmla="*/ 172 h 176"/>
                <a:gd name="T12" fmla="*/ 92 w 131"/>
                <a:gd name="T13" fmla="*/ 149 h 176"/>
                <a:gd name="T14" fmla="*/ 47 w 131"/>
                <a:gd name="T15" fmla="*/ 175 h 176"/>
                <a:gd name="T16" fmla="*/ 0 w 131"/>
                <a:gd name="T17" fmla="*/ 125 h 176"/>
                <a:gd name="T18" fmla="*/ 84 w 131"/>
                <a:gd name="T19" fmla="*/ 67 h 176"/>
                <a:gd name="T20" fmla="*/ 92 w 131"/>
                <a:gd name="T21" fmla="*/ 67 h 176"/>
                <a:gd name="T22" fmla="*/ 92 w 131"/>
                <a:gd name="T23" fmla="*/ 61 h 176"/>
                <a:gd name="T24" fmla="*/ 63 w 131"/>
                <a:gd name="T25" fmla="*/ 29 h 176"/>
                <a:gd name="T26" fmla="*/ 18 w 131"/>
                <a:gd name="T27" fmla="*/ 45 h 176"/>
                <a:gd name="T28" fmla="*/ 16 w 131"/>
                <a:gd name="T29" fmla="*/ 14 h 176"/>
                <a:gd name="T30" fmla="*/ 87 w 131"/>
                <a:gd name="T31" fmla="*/ 93 h 176"/>
                <a:gd name="T32" fmla="*/ 34 w 131"/>
                <a:gd name="T33" fmla="*/ 125 h 176"/>
                <a:gd name="T34" fmla="*/ 58 w 131"/>
                <a:gd name="T35" fmla="*/ 151 h 176"/>
                <a:gd name="T36" fmla="*/ 90 w 131"/>
                <a:gd name="T37" fmla="*/ 101 h 176"/>
                <a:gd name="T38" fmla="*/ 90 w 131"/>
                <a:gd name="T39" fmla="*/ 93 h 176"/>
                <a:gd name="T40" fmla="*/ 87 w 131"/>
                <a:gd name="T41" fmla="*/ 9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6" y="8"/>
                    <a:pt x="42" y="0"/>
                    <a:pt x="66" y="0"/>
                  </a:cubicBezTo>
                  <a:cubicBezTo>
                    <a:pt x="116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2" y="164"/>
                    <a:pt x="92" y="157"/>
                    <a:pt x="92" y="149"/>
                  </a:cubicBezTo>
                  <a:cubicBezTo>
                    <a:pt x="82" y="162"/>
                    <a:pt x="71" y="175"/>
                    <a:pt x="47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4" y="67"/>
                    <a:pt x="84" y="67"/>
                  </a:cubicBezTo>
                  <a:lnTo>
                    <a:pt x="92" y="67"/>
                  </a:lnTo>
                  <a:lnTo>
                    <a:pt x="92" y="61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40"/>
                    <a:pt x="18" y="45"/>
                  </a:cubicBezTo>
                  <a:lnTo>
                    <a:pt x="16" y="14"/>
                  </a:lnTo>
                  <a:close/>
                  <a:moveTo>
                    <a:pt x="87" y="93"/>
                  </a:moveTo>
                  <a:cubicBezTo>
                    <a:pt x="55" y="93"/>
                    <a:pt x="34" y="101"/>
                    <a:pt x="34" y="125"/>
                  </a:cubicBezTo>
                  <a:cubicBezTo>
                    <a:pt x="34" y="141"/>
                    <a:pt x="45" y="151"/>
                    <a:pt x="58" y="151"/>
                  </a:cubicBezTo>
                  <a:cubicBezTo>
                    <a:pt x="82" y="151"/>
                    <a:pt x="90" y="133"/>
                    <a:pt x="90" y="101"/>
                  </a:cubicBezTo>
                  <a:lnTo>
                    <a:pt x="90" y="93"/>
                  </a:lnTo>
                  <a:lnTo>
                    <a:pt x="87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63">
              <a:extLst>
                <a:ext uri="{FF2B5EF4-FFF2-40B4-BE49-F238E27FC236}">
                  <a16:creationId xmlns:a16="http://schemas.microsoft.com/office/drawing/2014/main" id="{69DE7FFB-46A4-0640-B108-0C74FEF86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3688" y="2052638"/>
              <a:ext cx="46037" cy="63500"/>
            </a:xfrm>
            <a:custGeom>
              <a:avLst/>
              <a:gdLst>
                <a:gd name="T0" fmla="*/ 0 w 128"/>
                <a:gd name="T1" fmla="*/ 32 h 176"/>
                <a:gd name="T2" fmla="*/ 0 w 128"/>
                <a:gd name="T3" fmla="*/ 3 h 176"/>
                <a:gd name="T4" fmla="*/ 37 w 128"/>
                <a:gd name="T5" fmla="*/ 3 h 176"/>
                <a:gd name="T6" fmla="*/ 37 w 128"/>
                <a:gd name="T7" fmla="*/ 29 h 176"/>
                <a:gd name="T8" fmla="*/ 37 w 128"/>
                <a:gd name="T9" fmla="*/ 29 h 176"/>
                <a:gd name="T10" fmla="*/ 37 w 128"/>
                <a:gd name="T11" fmla="*/ 29 h 176"/>
                <a:gd name="T12" fmla="*/ 79 w 128"/>
                <a:gd name="T13" fmla="*/ 0 h 176"/>
                <a:gd name="T14" fmla="*/ 127 w 128"/>
                <a:gd name="T15" fmla="*/ 64 h 176"/>
                <a:gd name="T16" fmla="*/ 127 w 128"/>
                <a:gd name="T17" fmla="*/ 175 h 176"/>
                <a:gd name="T18" fmla="*/ 87 w 128"/>
                <a:gd name="T19" fmla="*/ 175 h 176"/>
                <a:gd name="T20" fmla="*/ 87 w 128"/>
                <a:gd name="T21" fmla="*/ 72 h 176"/>
                <a:gd name="T22" fmla="*/ 66 w 128"/>
                <a:gd name="T23" fmla="*/ 35 h 176"/>
                <a:gd name="T24" fmla="*/ 39 w 128"/>
                <a:gd name="T25" fmla="*/ 74 h 176"/>
                <a:gd name="T26" fmla="*/ 39 w 128"/>
                <a:gd name="T27" fmla="*/ 175 h 176"/>
                <a:gd name="T28" fmla="*/ 0 w 128"/>
                <a:gd name="T29" fmla="*/ 175 h 176"/>
                <a:gd name="T30" fmla="*/ 0 w 128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lnTo>
                    <a:pt x="37" y="29"/>
                  </a:lnTo>
                  <a:lnTo>
                    <a:pt x="37" y="29"/>
                  </a:ln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87" y="175"/>
                  </a:lnTo>
                  <a:lnTo>
                    <a:pt x="87" y="72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45" y="35"/>
                    <a:pt x="39" y="53"/>
                    <a:pt x="39" y="74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64">
              <a:extLst>
                <a:ext uri="{FF2B5EF4-FFF2-40B4-BE49-F238E27FC236}">
                  <a16:creationId xmlns:a16="http://schemas.microsoft.com/office/drawing/2014/main" id="{59E2CE49-DCC6-8342-8567-5F0BD4D5C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9888" y="2032000"/>
              <a:ext cx="66675" cy="84138"/>
            </a:xfrm>
            <a:custGeom>
              <a:avLst/>
              <a:gdLst>
                <a:gd name="T0" fmla="*/ 132 w 186"/>
                <a:gd name="T1" fmla="*/ 177 h 234"/>
                <a:gd name="T2" fmla="*/ 56 w 186"/>
                <a:gd name="T3" fmla="*/ 177 h 234"/>
                <a:gd name="T4" fmla="*/ 40 w 186"/>
                <a:gd name="T5" fmla="*/ 233 h 234"/>
                <a:gd name="T6" fmla="*/ 0 w 186"/>
                <a:gd name="T7" fmla="*/ 233 h 234"/>
                <a:gd name="T8" fmla="*/ 74 w 186"/>
                <a:gd name="T9" fmla="*/ 0 h 234"/>
                <a:gd name="T10" fmla="*/ 117 w 186"/>
                <a:gd name="T11" fmla="*/ 0 h 234"/>
                <a:gd name="T12" fmla="*/ 185 w 186"/>
                <a:gd name="T13" fmla="*/ 233 h 234"/>
                <a:gd name="T14" fmla="*/ 143 w 186"/>
                <a:gd name="T15" fmla="*/ 233 h 234"/>
                <a:gd name="T16" fmla="*/ 132 w 186"/>
                <a:gd name="T17" fmla="*/ 177 h 234"/>
                <a:gd name="T18" fmla="*/ 125 w 186"/>
                <a:gd name="T19" fmla="*/ 146 h 234"/>
                <a:gd name="T20" fmla="*/ 98 w 186"/>
                <a:gd name="T21" fmla="*/ 37 h 234"/>
                <a:gd name="T22" fmla="*/ 98 w 186"/>
                <a:gd name="T23" fmla="*/ 37 h 234"/>
                <a:gd name="T24" fmla="*/ 69 w 186"/>
                <a:gd name="T25" fmla="*/ 146 h 234"/>
                <a:gd name="T26" fmla="*/ 125 w 186"/>
                <a:gd name="T27" fmla="*/ 14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6" h="234">
                  <a:moveTo>
                    <a:pt x="132" y="177"/>
                  </a:moveTo>
                  <a:lnTo>
                    <a:pt x="56" y="177"/>
                  </a:lnTo>
                  <a:lnTo>
                    <a:pt x="40" y="233"/>
                  </a:lnTo>
                  <a:lnTo>
                    <a:pt x="0" y="233"/>
                  </a:lnTo>
                  <a:lnTo>
                    <a:pt x="74" y="0"/>
                  </a:lnTo>
                  <a:lnTo>
                    <a:pt x="117" y="0"/>
                  </a:lnTo>
                  <a:lnTo>
                    <a:pt x="185" y="233"/>
                  </a:lnTo>
                  <a:lnTo>
                    <a:pt x="143" y="233"/>
                  </a:lnTo>
                  <a:lnTo>
                    <a:pt x="132" y="177"/>
                  </a:lnTo>
                  <a:close/>
                  <a:moveTo>
                    <a:pt x="125" y="146"/>
                  </a:moveTo>
                  <a:lnTo>
                    <a:pt x="98" y="37"/>
                  </a:lnTo>
                  <a:lnTo>
                    <a:pt x="98" y="37"/>
                  </a:lnTo>
                  <a:lnTo>
                    <a:pt x="69" y="146"/>
                  </a:lnTo>
                  <a:lnTo>
                    <a:pt x="125" y="14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65">
              <a:extLst>
                <a:ext uri="{FF2B5EF4-FFF2-40B4-BE49-F238E27FC236}">
                  <a16:creationId xmlns:a16="http://schemas.microsoft.com/office/drawing/2014/main" id="{6A6E8720-760B-D94C-A0C8-B01C8755E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4500" y="2052638"/>
              <a:ext cx="76200" cy="63500"/>
            </a:xfrm>
            <a:custGeom>
              <a:avLst/>
              <a:gdLst>
                <a:gd name="T0" fmla="*/ 2 w 210"/>
                <a:gd name="T1" fmla="*/ 32 h 176"/>
                <a:gd name="T2" fmla="*/ 2 w 210"/>
                <a:gd name="T3" fmla="*/ 3 h 176"/>
                <a:gd name="T4" fmla="*/ 42 w 210"/>
                <a:gd name="T5" fmla="*/ 3 h 176"/>
                <a:gd name="T6" fmla="*/ 42 w 210"/>
                <a:gd name="T7" fmla="*/ 29 h 176"/>
                <a:gd name="T8" fmla="*/ 42 w 210"/>
                <a:gd name="T9" fmla="*/ 29 h 176"/>
                <a:gd name="T10" fmla="*/ 82 w 210"/>
                <a:gd name="T11" fmla="*/ 0 h 176"/>
                <a:gd name="T12" fmla="*/ 121 w 210"/>
                <a:gd name="T13" fmla="*/ 27 h 176"/>
                <a:gd name="T14" fmla="*/ 164 w 210"/>
                <a:gd name="T15" fmla="*/ 0 h 176"/>
                <a:gd name="T16" fmla="*/ 209 w 210"/>
                <a:gd name="T17" fmla="*/ 69 h 176"/>
                <a:gd name="T18" fmla="*/ 209 w 210"/>
                <a:gd name="T19" fmla="*/ 175 h 176"/>
                <a:gd name="T20" fmla="*/ 169 w 210"/>
                <a:gd name="T21" fmla="*/ 175 h 176"/>
                <a:gd name="T22" fmla="*/ 169 w 210"/>
                <a:gd name="T23" fmla="*/ 67 h 176"/>
                <a:gd name="T24" fmla="*/ 148 w 210"/>
                <a:gd name="T25" fmla="*/ 35 h 176"/>
                <a:gd name="T26" fmla="*/ 121 w 210"/>
                <a:gd name="T27" fmla="*/ 72 h 176"/>
                <a:gd name="T28" fmla="*/ 121 w 210"/>
                <a:gd name="T29" fmla="*/ 175 h 176"/>
                <a:gd name="T30" fmla="*/ 87 w 210"/>
                <a:gd name="T31" fmla="*/ 175 h 176"/>
                <a:gd name="T32" fmla="*/ 87 w 210"/>
                <a:gd name="T33" fmla="*/ 67 h 176"/>
                <a:gd name="T34" fmla="*/ 66 w 210"/>
                <a:gd name="T35" fmla="*/ 35 h 176"/>
                <a:gd name="T36" fmla="*/ 39 w 210"/>
                <a:gd name="T37" fmla="*/ 72 h 176"/>
                <a:gd name="T38" fmla="*/ 39 w 210"/>
                <a:gd name="T39" fmla="*/ 175 h 176"/>
                <a:gd name="T40" fmla="*/ 0 w 210"/>
                <a:gd name="T41" fmla="*/ 175 h 176"/>
                <a:gd name="T42" fmla="*/ 2 w 210"/>
                <a:gd name="T43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0" h="176">
                  <a:moveTo>
                    <a:pt x="2" y="32"/>
                  </a:moveTo>
                  <a:cubicBezTo>
                    <a:pt x="2" y="19"/>
                    <a:pt x="2" y="11"/>
                    <a:pt x="2" y="3"/>
                  </a:cubicBezTo>
                  <a:lnTo>
                    <a:pt x="42" y="3"/>
                  </a:lnTo>
                  <a:cubicBezTo>
                    <a:pt x="42" y="11"/>
                    <a:pt x="42" y="21"/>
                    <a:pt x="42" y="29"/>
                  </a:cubicBezTo>
                  <a:lnTo>
                    <a:pt x="42" y="29"/>
                  </a:lnTo>
                  <a:cubicBezTo>
                    <a:pt x="47" y="16"/>
                    <a:pt x="61" y="0"/>
                    <a:pt x="82" y="0"/>
                  </a:cubicBezTo>
                  <a:cubicBezTo>
                    <a:pt x="108" y="0"/>
                    <a:pt x="119" y="19"/>
                    <a:pt x="121" y="27"/>
                  </a:cubicBezTo>
                  <a:cubicBezTo>
                    <a:pt x="129" y="14"/>
                    <a:pt x="140" y="0"/>
                    <a:pt x="164" y="0"/>
                  </a:cubicBezTo>
                  <a:cubicBezTo>
                    <a:pt x="198" y="0"/>
                    <a:pt x="209" y="27"/>
                    <a:pt x="209" y="69"/>
                  </a:cubicBezTo>
                  <a:lnTo>
                    <a:pt x="209" y="175"/>
                  </a:lnTo>
                  <a:lnTo>
                    <a:pt x="169" y="175"/>
                  </a:lnTo>
                  <a:lnTo>
                    <a:pt x="169" y="67"/>
                  </a:lnTo>
                  <a:cubicBezTo>
                    <a:pt x="169" y="45"/>
                    <a:pt x="164" y="35"/>
                    <a:pt x="148" y="35"/>
                  </a:cubicBezTo>
                  <a:cubicBezTo>
                    <a:pt x="132" y="35"/>
                    <a:pt x="121" y="53"/>
                    <a:pt x="121" y="72"/>
                  </a:cubicBezTo>
                  <a:lnTo>
                    <a:pt x="121" y="175"/>
                  </a:lnTo>
                  <a:lnTo>
                    <a:pt x="87" y="175"/>
                  </a:lnTo>
                  <a:lnTo>
                    <a:pt x="87" y="67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50" y="35"/>
                    <a:pt x="39" y="53"/>
                    <a:pt x="39" y="72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2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4" name="Freeform 66">
              <a:extLst>
                <a:ext uri="{FF2B5EF4-FFF2-40B4-BE49-F238E27FC236}">
                  <a16:creationId xmlns:a16="http://schemas.microsoft.com/office/drawing/2014/main" id="{452A92A7-7ADD-AC47-A0CC-033B3856E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3400" y="2052638"/>
              <a:ext cx="47625" cy="65087"/>
            </a:xfrm>
            <a:custGeom>
              <a:avLst/>
              <a:gdLst>
                <a:gd name="T0" fmla="*/ 122 w 131"/>
                <a:gd name="T1" fmla="*/ 167 h 179"/>
                <a:gd name="T2" fmla="*/ 74 w 131"/>
                <a:gd name="T3" fmla="*/ 178 h 179"/>
                <a:gd name="T4" fmla="*/ 0 w 131"/>
                <a:gd name="T5" fmla="*/ 90 h 179"/>
                <a:gd name="T6" fmla="*/ 66 w 131"/>
                <a:gd name="T7" fmla="*/ 0 h 179"/>
                <a:gd name="T8" fmla="*/ 130 w 131"/>
                <a:gd name="T9" fmla="*/ 93 h 179"/>
                <a:gd name="T10" fmla="*/ 130 w 131"/>
                <a:gd name="T11" fmla="*/ 101 h 179"/>
                <a:gd name="T12" fmla="*/ 37 w 131"/>
                <a:gd name="T13" fmla="*/ 101 h 179"/>
                <a:gd name="T14" fmla="*/ 77 w 131"/>
                <a:gd name="T15" fmla="*/ 149 h 179"/>
                <a:gd name="T16" fmla="*/ 119 w 131"/>
                <a:gd name="T17" fmla="*/ 135 h 179"/>
                <a:gd name="T18" fmla="*/ 122 w 131"/>
                <a:gd name="T19" fmla="*/ 167 h 179"/>
                <a:gd name="T20" fmla="*/ 93 w 131"/>
                <a:gd name="T21" fmla="*/ 74 h 179"/>
                <a:gd name="T22" fmla="*/ 66 w 131"/>
                <a:gd name="T23" fmla="*/ 29 h 179"/>
                <a:gd name="T24" fmla="*/ 37 w 131"/>
                <a:gd name="T25" fmla="*/ 74 h 179"/>
                <a:gd name="T26" fmla="*/ 93 w 131"/>
                <a:gd name="T27" fmla="*/ 7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179">
                  <a:moveTo>
                    <a:pt x="122" y="167"/>
                  </a:moveTo>
                  <a:cubicBezTo>
                    <a:pt x="114" y="170"/>
                    <a:pt x="98" y="178"/>
                    <a:pt x="74" y="178"/>
                  </a:cubicBezTo>
                  <a:cubicBezTo>
                    <a:pt x="21" y="178"/>
                    <a:pt x="0" y="138"/>
                    <a:pt x="0" y="90"/>
                  </a:cubicBezTo>
                  <a:cubicBezTo>
                    <a:pt x="0" y="40"/>
                    <a:pt x="26" y="0"/>
                    <a:pt x="66" y="0"/>
                  </a:cubicBezTo>
                  <a:cubicBezTo>
                    <a:pt x="100" y="0"/>
                    <a:pt x="130" y="21"/>
                    <a:pt x="130" y="93"/>
                  </a:cubicBezTo>
                  <a:lnTo>
                    <a:pt x="130" y="101"/>
                  </a:lnTo>
                  <a:lnTo>
                    <a:pt x="37" y="101"/>
                  </a:lnTo>
                  <a:cubicBezTo>
                    <a:pt x="37" y="130"/>
                    <a:pt x="48" y="149"/>
                    <a:pt x="77" y="149"/>
                  </a:cubicBezTo>
                  <a:cubicBezTo>
                    <a:pt x="100" y="149"/>
                    <a:pt x="111" y="141"/>
                    <a:pt x="119" y="135"/>
                  </a:cubicBezTo>
                  <a:lnTo>
                    <a:pt x="122" y="167"/>
                  </a:lnTo>
                  <a:close/>
                  <a:moveTo>
                    <a:pt x="93" y="74"/>
                  </a:moveTo>
                  <a:cubicBezTo>
                    <a:pt x="93" y="45"/>
                    <a:pt x="82" y="29"/>
                    <a:pt x="66" y="29"/>
                  </a:cubicBezTo>
                  <a:cubicBezTo>
                    <a:pt x="45" y="29"/>
                    <a:pt x="37" y="53"/>
                    <a:pt x="37" y="74"/>
                  </a:cubicBezTo>
                  <a:lnTo>
                    <a:pt x="93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5" name="Freeform 67">
              <a:extLst>
                <a:ext uri="{FF2B5EF4-FFF2-40B4-BE49-F238E27FC236}">
                  <a16:creationId xmlns:a16="http://schemas.microsoft.com/office/drawing/2014/main" id="{E2E990EC-9BC7-F941-B10F-B562795929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0550" y="2052638"/>
              <a:ext cx="30163" cy="63500"/>
            </a:xfrm>
            <a:custGeom>
              <a:avLst/>
              <a:gdLst>
                <a:gd name="T0" fmla="*/ 5 w 85"/>
                <a:gd name="T1" fmla="*/ 32 h 176"/>
                <a:gd name="T2" fmla="*/ 5 w 85"/>
                <a:gd name="T3" fmla="*/ 3 h 176"/>
                <a:gd name="T4" fmla="*/ 39 w 85"/>
                <a:gd name="T5" fmla="*/ 3 h 176"/>
                <a:gd name="T6" fmla="*/ 39 w 85"/>
                <a:gd name="T7" fmla="*/ 35 h 176"/>
                <a:gd name="T8" fmla="*/ 39 w 85"/>
                <a:gd name="T9" fmla="*/ 35 h 176"/>
                <a:gd name="T10" fmla="*/ 79 w 85"/>
                <a:gd name="T11" fmla="*/ 0 h 176"/>
                <a:gd name="T12" fmla="*/ 84 w 85"/>
                <a:gd name="T13" fmla="*/ 0 h 176"/>
                <a:gd name="T14" fmla="*/ 84 w 85"/>
                <a:gd name="T15" fmla="*/ 40 h 176"/>
                <a:gd name="T16" fmla="*/ 74 w 85"/>
                <a:gd name="T17" fmla="*/ 37 h 176"/>
                <a:gd name="T18" fmla="*/ 39 w 85"/>
                <a:gd name="T19" fmla="*/ 80 h 176"/>
                <a:gd name="T20" fmla="*/ 39 w 85"/>
                <a:gd name="T21" fmla="*/ 175 h 176"/>
                <a:gd name="T22" fmla="*/ 0 w 85"/>
                <a:gd name="T23" fmla="*/ 175 h 176"/>
                <a:gd name="T24" fmla="*/ 5 w 85"/>
                <a:gd name="T25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76">
                  <a:moveTo>
                    <a:pt x="5" y="32"/>
                  </a:moveTo>
                  <a:cubicBezTo>
                    <a:pt x="5" y="21"/>
                    <a:pt x="5" y="11"/>
                    <a:pt x="5" y="3"/>
                  </a:cubicBezTo>
                  <a:lnTo>
                    <a:pt x="39" y="3"/>
                  </a:lnTo>
                  <a:cubicBezTo>
                    <a:pt x="39" y="14"/>
                    <a:pt x="39" y="24"/>
                    <a:pt x="39" y="35"/>
                  </a:cubicBezTo>
                  <a:lnTo>
                    <a:pt x="39" y="35"/>
                  </a:lnTo>
                  <a:cubicBezTo>
                    <a:pt x="45" y="21"/>
                    <a:pt x="55" y="0"/>
                    <a:pt x="79" y="0"/>
                  </a:cubicBezTo>
                  <a:cubicBezTo>
                    <a:pt x="82" y="0"/>
                    <a:pt x="84" y="0"/>
                    <a:pt x="84" y="0"/>
                  </a:cubicBezTo>
                  <a:lnTo>
                    <a:pt x="84" y="40"/>
                  </a:lnTo>
                  <a:cubicBezTo>
                    <a:pt x="82" y="40"/>
                    <a:pt x="77" y="37"/>
                    <a:pt x="74" y="37"/>
                  </a:cubicBezTo>
                  <a:cubicBezTo>
                    <a:pt x="58" y="37"/>
                    <a:pt x="39" y="48"/>
                    <a:pt x="39" y="80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5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" name="Freeform 68">
              <a:extLst>
                <a:ext uri="{FF2B5EF4-FFF2-40B4-BE49-F238E27FC236}">
                  <a16:creationId xmlns:a16="http://schemas.microsoft.com/office/drawing/2014/main" id="{B863502A-5D3E-0540-8675-D5092C21A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3413" y="2027238"/>
              <a:ext cx="14287" cy="88900"/>
            </a:xfrm>
            <a:custGeom>
              <a:avLst/>
              <a:gdLst>
                <a:gd name="T0" fmla="*/ 0 w 41"/>
                <a:gd name="T1" fmla="*/ 0 h 245"/>
                <a:gd name="T2" fmla="*/ 40 w 41"/>
                <a:gd name="T3" fmla="*/ 0 h 245"/>
                <a:gd name="T4" fmla="*/ 40 w 41"/>
                <a:gd name="T5" fmla="*/ 40 h 245"/>
                <a:gd name="T6" fmla="*/ 0 w 41"/>
                <a:gd name="T7" fmla="*/ 40 h 245"/>
                <a:gd name="T8" fmla="*/ 0 w 41"/>
                <a:gd name="T9" fmla="*/ 0 h 245"/>
                <a:gd name="T10" fmla="*/ 0 w 41"/>
                <a:gd name="T11" fmla="*/ 72 h 245"/>
                <a:gd name="T12" fmla="*/ 40 w 41"/>
                <a:gd name="T13" fmla="*/ 72 h 245"/>
                <a:gd name="T14" fmla="*/ 40 w 41"/>
                <a:gd name="T15" fmla="*/ 244 h 245"/>
                <a:gd name="T16" fmla="*/ 0 w 41"/>
                <a:gd name="T17" fmla="*/ 244 h 245"/>
                <a:gd name="T18" fmla="*/ 0 w 41"/>
                <a:gd name="T19" fmla="*/ 7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45">
                  <a:moveTo>
                    <a:pt x="0" y="0"/>
                  </a:moveTo>
                  <a:lnTo>
                    <a:pt x="40" y="0"/>
                  </a:lnTo>
                  <a:lnTo>
                    <a:pt x="40" y="40"/>
                  </a:lnTo>
                  <a:lnTo>
                    <a:pt x="0" y="40"/>
                  </a:lnTo>
                  <a:lnTo>
                    <a:pt x="0" y="0"/>
                  </a:lnTo>
                  <a:close/>
                  <a:moveTo>
                    <a:pt x="0" y="72"/>
                  </a:moveTo>
                  <a:lnTo>
                    <a:pt x="40" y="72"/>
                  </a:lnTo>
                  <a:lnTo>
                    <a:pt x="40" y="244"/>
                  </a:lnTo>
                  <a:lnTo>
                    <a:pt x="0" y="244"/>
                  </a:lnTo>
                  <a:lnTo>
                    <a:pt x="0" y="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B3906449-A84A-A940-A29D-F4FF89AB5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1988" y="2054225"/>
              <a:ext cx="41275" cy="63500"/>
            </a:xfrm>
            <a:custGeom>
              <a:avLst/>
              <a:gdLst>
                <a:gd name="T0" fmla="*/ 112 w 113"/>
                <a:gd name="T1" fmla="*/ 169 h 178"/>
                <a:gd name="T2" fmla="*/ 74 w 113"/>
                <a:gd name="T3" fmla="*/ 177 h 178"/>
                <a:gd name="T4" fmla="*/ 0 w 113"/>
                <a:gd name="T5" fmla="*/ 90 h 178"/>
                <a:gd name="T6" fmla="*/ 77 w 113"/>
                <a:gd name="T7" fmla="*/ 0 h 178"/>
                <a:gd name="T8" fmla="*/ 112 w 113"/>
                <a:gd name="T9" fmla="*/ 8 h 178"/>
                <a:gd name="T10" fmla="*/ 109 w 113"/>
                <a:gd name="T11" fmla="*/ 40 h 178"/>
                <a:gd name="T12" fmla="*/ 82 w 113"/>
                <a:gd name="T13" fmla="*/ 32 h 178"/>
                <a:gd name="T14" fmla="*/ 40 w 113"/>
                <a:gd name="T15" fmla="*/ 90 h 178"/>
                <a:gd name="T16" fmla="*/ 85 w 113"/>
                <a:gd name="T17" fmla="*/ 146 h 178"/>
                <a:gd name="T18" fmla="*/ 112 w 113"/>
                <a:gd name="T19" fmla="*/ 138 h 178"/>
                <a:gd name="T20" fmla="*/ 112 w 113"/>
                <a:gd name="T21" fmla="*/ 1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78">
                  <a:moveTo>
                    <a:pt x="112" y="169"/>
                  </a:moveTo>
                  <a:cubicBezTo>
                    <a:pt x="104" y="172"/>
                    <a:pt x="90" y="177"/>
                    <a:pt x="74" y="177"/>
                  </a:cubicBezTo>
                  <a:cubicBezTo>
                    <a:pt x="22" y="177"/>
                    <a:pt x="0" y="138"/>
                    <a:pt x="0" y="90"/>
                  </a:cubicBezTo>
                  <a:cubicBezTo>
                    <a:pt x="0" y="40"/>
                    <a:pt x="24" y="0"/>
                    <a:pt x="77" y="0"/>
                  </a:cubicBezTo>
                  <a:cubicBezTo>
                    <a:pt x="90" y="0"/>
                    <a:pt x="104" y="5"/>
                    <a:pt x="112" y="8"/>
                  </a:cubicBezTo>
                  <a:lnTo>
                    <a:pt x="109" y="40"/>
                  </a:lnTo>
                  <a:cubicBezTo>
                    <a:pt x="101" y="37"/>
                    <a:pt x="93" y="32"/>
                    <a:pt x="82" y="32"/>
                  </a:cubicBezTo>
                  <a:cubicBezTo>
                    <a:pt x="53" y="32"/>
                    <a:pt x="40" y="53"/>
                    <a:pt x="40" y="90"/>
                  </a:cubicBezTo>
                  <a:cubicBezTo>
                    <a:pt x="40" y="122"/>
                    <a:pt x="53" y="146"/>
                    <a:pt x="85" y="146"/>
                  </a:cubicBezTo>
                  <a:cubicBezTo>
                    <a:pt x="96" y="146"/>
                    <a:pt x="106" y="140"/>
                    <a:pt x="112" y="138"/>
                  </a:cubicBezTo>
                  <a:lnTo>
                    <a:pt x="112" y="1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8" name="Freeform 70">
              <a:extLst>
                <a:ext uri="{FF2B5EF4-FFF2-40B4-BE49-F238E27FC236}">
                  <a16:creationId xmlns:a16="http://schemas.microsoft.com/office/drawing/2014/main" id="{DA875ADE-EAA3-D048-BE52-0F3C71CED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8025" y="2052638"/>
              <a:ext cx="47625" cy="63500"/>
            </a:xfrm>
            <a:custGeom>
              <a:avLst/>
              <a:gdLst>
                <a:gd name="T0" fmla="*/ 16 w 131"/>
                <a:gd name="T1" fmla="*/ 14 h 176"/>
                <a:gd name="T2" fmla="*/ 66 w 131"/>
                <a:gd name="T3" fmla="*/ 0 h 176"/>
                <a:gd name="T4" fmla="*/ 127 w 131"/>
                <a:gd name="T5" fmla="*/ 69 h 176"/>
                <a:gd name="T6" fmla="*/ 127 w 131"/>
                <a:gd name="T7" fmla="*/ 143 h 176"/>
                <a:gd name="T8" fmla="*/ 130 w 131"/>
                <a:gd name="T9" fmla="*/ 172 h 176"/>
                <a:gd name="T10" fmla="*/ 95 w 131"/>
                <a:gd name="T11" fmla="*/ 172 h 176"/>
                <a:gd name="T12" fmla="*/ 93 w 131"/>
                <a:gd name="T13" fmla="*/ 149 h 176"/>
                <a:gd name="T14" fmla="*/ 48 w 131"/>
                <a:gd name="T15" fmla="*/ 175 h 176"/>
                <a:gd name="T16" fmla="*/ 0 w 131"/>
                <a:gd name="T17" fmla="*/ 125 h 176"/>
                <a:gd name="T18" fmla="*/ 85 w 131"/>
                <a:gd name="T19" fmla="*/ 67 h 176"/>
                <a:gd name="T20" fmla="*/ 93 w 131"/>
                <a:gd name="T21" fmla="*/ 67 h 176"/>
                <a:gd name="T22" fmla="*/ 93 w 131"/>
                <a:gd name="T23" fmla="*/ 61 h 176"/>
                <a:gd name="T24" fmla="*/ 64 w 131"/>
                <a:gd name="T25" fmla="*/ 29 h 176"/>
                <a:gd name="T26" fmla="*/ 19 w 131"/>
                <a:gd name="T27" fmla="*/ 45 h 176"/>
                <a:gd name="T28" fmla="*/ 16 w 131"/>
                <a:gd name="T29" fmla="*/ 14 h 176"/>
                <a:gd name="T30" fmla="*/ 90 w 131"/>
                <a:gd name="T31" fmla="*/ 93 h 176"/>
                <a:gd name="T32" fmla="*/ 37 w 131"/>
                <a:gd name="T33" fmla="*/ 125 h 176"/>
                <a:gd name="T34" fmla="*/ 61 w 131"/>
                <a:gd name="T35" fmla="*/ 151 h 176"/>
                <a:gd name="T36" fmla="*/ 93 w 131"/>
                <a:gd name="T37" fmla="*/ 101 h 176"/>
                <a:gd name="T38" fmla="*/ 93 w 131"/>
                <a:gd name="T39" fmla="*/ 93 h 176"/>
                <a:gd name="T40" fmla="*/ 90 w 131"/>
                <a:gd name="T41" fmla="*/ 9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7"/>
                    <a:pt x="85" y="67"/>
                  </a:cubicBezTo>
                  <a:lnTo>
                    <a:pt x="93" y="67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19" y="45"/>
                  </a:cubicBezTo>
                  <a:lnTo>
                    <a:pt x="16" y="14"/>
                  </a:lnTo>
                  <a:close/>
                  <a:moveTo>
                    <a:pt x="90" y="93"/>
                  </a:moveTo>
                  <a:cubicBezTo>
                    <a:pt x="58" y="93"/>
                    <a:pt x="37" y="101"/>
                    <a:pt x="37" y="125"/>
                  </a:cubicBezTo>
                  <a:cubicBezTo>
                    <a:pt x="37" y="141"/>
                    <a:pt x="48" y="151"/>
                    <a:pt x="61" y="151"/>
                  </a:cubicBezTo>
                  <a:cubicBezTo>
                    <a:pt x="85" y="151"/>
                    <a:pt x="93" y="133"/>
                    <a:pt x="93" y="101"/>
                  </a:cubicBezTo>
                  <a:lnTo>
                    <a:pt x="93" y="93"/>
                  </a:lnTo>
                  <a:lnTo>
                    <a:pt x="90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9" name="Freeform 71">
              <a:extLst>
                <a:ext uri="{FF2B5EF4-FFF2-40B4-BE49-F238E27FC236}">
                  <a16:creationId xmlns:a16="http://schemas.microsoft.com/office/drawing/2014/main" id="{670AB4FB-CB25-8744-8BE6-7A54ACE91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8350" y="2052638"/>
              <a:ext cx="46038" cy="63500"/>
            </a:xfrm>
            <a:custGeom>
              <a:avLst/>
              <a:gdLst>
                <a:gd name="T0" fmla="*/ 0 w 128"/>
                <a:gd name="T1" fmla="*/ 32 h 176"/>
                <a:gd name="T2" fmla="*/ 0 w 128"/>
                <a:gd name="T3" fmla="*/ 3 h 176"/>
                <a:gd name="T4" fmla="*/ 37 w 128"/>
                <a:gd name="T5" fmla="*/ 3 h 176"/>
                <a:gd name="T6" fmla="*/ 37 w 128"/>
                <a:gd name="T7" fmla="*/ 29 h 176"/>
                <a:gd name="T8" fmla="*/ 37 w 128"/>
                <a:gd name="T9" fmla="*/ 29 h 176"/>
                <a:gd name="T10" fmla="*/ 37 w 128"/>
                <a:gd name="T11" fmla="*/ 29 h 176"/>
                <a:gd name="T12" fmla="*/ 79 w 128"/>
                <a:gd name="T13" fmla="*/ 0 h 176"/>
                <a:gd name="T14" fmla="*/ 127 w 128"/>
                <a:gd name="T15" fmla="*/ 64 h 176"/>
                <a:gd name="T16" fmla="*/ 127 w 128"/>
                <a:gd name="T17" fmla="*/ 175 h 176"/>
                <a:gd name="T18" fmla="*/ 87 w 128"/>
                <a:gd name="T19" fmla="*/ 175 h 176"/>
                <a:gd name="T20" fmla="*/ 87 w 128"/>
                <a:gd name="T21" fmla="*/ 72 h 176"/>
                <a:gd name="T22" fmla="*/ 66 w 128"/>
                <a:gd name="T23" fmla="*/ 35 h 176"/>
                <a:gd name="T24" fmla="*/ 40 w 128"/>
                <a:gd name="T25" fmla="*/ 74 h 176"/>
                <a:gd name="T26" fmla="*/ 40 w 128"/>
                <a:gd name="T27" fmla="*/ 175 h 176"/>
                <a:gd name="T28" fmla="*/ 0 w 128"/>
                <a:gd name="T29" fmla="*/ 175 h 176"/>
                <a:gd name="T30" fmla="*/ 0 w 128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lnTo>
                    <a:pt x="37" y="29"/>
                  </a:lnTo>
                  <a:lnTo>
                    <a:pt x="37" y="29"/>
                  </a:ln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87" y="175"/>
                  </a:lnTo>
                  <a:lnTo>
                    <a:pt x="87" y="72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45" y="35"/>
                    <a:pt x="40" y="53"/>
                    <a:pt x="40" y="74"/>
                  </a:cubicBezTo>
                  <a:lnTo>
                    <a:pt x="40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0" name="Freeform 72">
              <a:extLst>
                <a:ext uri="{FF2B5EF4-FFF2-40B4-BE49-F238E27FC236}">
                  <a16:creationId xmlns:a16="http://schemas.microsoft.com/office/drawing/2014/main" id="{9FCB3C3F-91F7-A142-952E-B246780554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4150" y="2136775"/>
              <a:ext cx="52388" cy="84138"/>
            </a:xfrm>
            <a:custGeom>
              <a:avLst/>
              <a:gdLst>
                <a:gd name="T0" fmla="*/ 0 w 146"/>
                <a:gd name="T1" fmla="*/ 0 h 234"/>
                <a:gd name="T2" fmla="*/ 39 w 146"/>
                <a:gd name="T3" fmla="*/ 0 h 234"/>
                <a:gd name="T4" fmla="*/ 39 w 146"/>
                <a:gd name="T5" fmla="*/ 95 h 234"/>
                <a:gd name="T6" fmla="*/ 103 w 146"/>
                <a:gd name="T7" fmla="*/ 95 h 234"/>
                <a:gd name="T8" fmla="*/ 103 w 146"/>
                <a:gd name="T9" fmla="*/ 0 h 234"/>
                <a:gd name="T10" fmla="*/ 145 w 146"/>
                <a:gd name="T11" fmla="*/ 0 h 234"/>
                <a:gd name="T12" fmla="*/ 145 w 146"/>
                <a:gd name="T13" fmla="*/ 233 h 234"/>
                <a:gd name="T14" fmla="*/ 103 w 146"/>
                <a:gd name="T15" fmla="*/ 233 h 234"/>
                <a:gd name="T16" fmla="*/ 103 w 146"/>
                <a:gd name="T17" fmla="*/ 130 h 234"/>
                <a:gd name="T18" fmla="*/ 39 w 146"/>
                <a:gd name="T19" fmla="*/ 130 h 234"/>
                <a:gd name="T20" fmla="*/ 39 w 146"/>
                <a:gd name="T21" fmla="*/ 233 h 234"/>
                <a:gd name="T22" fmla="*/ 0 w 146"/>
                <a:gd name="T23" fmla="*/ 233 h 234"/>
                <a:gd name="T24" fmla="*/ 0 w 146"/>
                <a:gd name="T25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" h="234">
                  <a:moveTo>
                    <a:pt x="0" y="0"/>
                  </a:moveTo>
                  <a:lnTo>
                    <a:pt x="39" y="0"/>
                  </a:lnTo>
                  <a:lnTo>
                    <a:pt x="39" y="95"/>
                  </a:lnTo>
                  <a:lnTo>
                    <a:pt x="103" y="95"/>
                  </a:lnTo>
                  <a:lnTo>
                    <a:pt x="103" y="0"/>
                  </a:lnTo>
                  <a:lnTo>
                    <a:pt x="145" y="0"/>
                  </a:lnTo>
                  <a:lnTo>
                    <a:pt x="145" y="233"/>
                  </a:lnTo>
                  <a:lnTo>
                    <a:pt x="103" y="233"/>
                  </a:lnTo>
                  <a:lnTo>
                    <a:pt x="103" y="130"/>
                  </a:lnTo>
                  <a:lnTo>
                    <a:pt x="39" y="130"/>
                  </a:lnTo>
                  <a:lnTo>
                    <a:pt x="39" y="233"/>
                  </a:lnTo>
                  <a:lnTo>
                    <a:pt x="0" y="233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1" name="Freeform 73">
              <a:extLst>
                <a:ext uri="{FF2B5EF4-FFF2-40B4-BE49-F238E27FC236}">
                  <a16:creationId xmlns:a16="http://schemas.microsoft.com/office/drawing/2014/main" id="{0839320D-7566-BE42-BAB3-83CC22A25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0825" y="2157413"/>
              <a:ext cx="47625" cy="65087"/>
            </a:xfrm>
            <a:custGeom>
              <a:avLst/>
              <a:gdLst>
                <a:gd name="T0" fmla="*/ 122 w 131"/>
                <a:gd name="T1" fmla="*/ 167 h 179"/>
                <a:gd name="T2" fmla="*/ 74 w 131"/>
                <a:gd name="T3" fmla="*/ 178 h 179"/>
                <a:gd name="T4" fmla="*/ 0 w 131"/>
                <a:gd name="T5" fmla="*/ 90 h 179"/>
                <a:gd name="T6" fmla="*/ 66 w 131"/>
                <a:gd name="T7" fmla="*/ 0 h 179"/>
                <a:gd name="T8" fmla="*/ 130 w 131"/>
                <a:gd name="T9" fmla="*/ 93 h 179"/>
                <a:gd name="T10" fmla="*/ 130 w 131"/>
                <a:gd name="T11" fmla="*/ 101 h 179"/>
                <a:gd name="T12" fmla="*/ 37 w 131"/>
                <a:gd name="T13" fmla="*/ 101 h 179"/>
                <a:gd name="T14" fmla="*/ 77 w 131"/>
                <a:gd name="T15" fmla="*/ 149 h 179"/>
                <a:gd name="T16" fmla="*/ 119 w 131"/>
                <a:gd name="T17" fmla="*/ 135 h 179"/>
                <a:gd name="T18" fmla="*/ 122 w 131"/>
                <a:gd name="T19" fmla="*/ 167 h 179"/>
                <a:gd name="T20" fmla="*/ 90 w 131"/>
                <a:gd name="T21" fmla="*/ 74 h 179"/>
                <a:gd name="T22" fmla="*/ 64 w 131"/>
                <a:gd name="T23" fmla="*/ 29 h 179"/>
                <a:gd name="T24" fmla="*/ 34 w 131"/>
                <a:gd name="T25" fmla="*/ 74 h 179"/>
                <a:gd name="T26" fmla="*/ 90 w 131"/>
                <a:gd name="T27" fmla="*/ 7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179">
                  <a:moveTo>
                    <a:pt x="122" y="167"/>
                  </a:moveTo>
                  <a:cubicBezTo>
                    <a:pt x="114" y="170"/>
                    <a:pt x="98" y="178"/>
                    <a:pt x="74" y="178"/>
                  </a:cubicBezTo>
                  <a:cubicBezTo>
                    <a:pt x="21" y="178"/>
                    <a:pt x="0" y="138"/>
                    <a:pt x="0" y="90"/>
                  </a:cubicBezTo>
                  <a:cubicBezTo>
                    <a:pt x="0" y="40"/>
                    <a:pt x="27" y="0"/>
                    <a:pt x="66" y="0"/>
                  </a:cubicBezTo>
                  <a:cubicBezTo>
                    <a:pt x="101" y="0"/>
                    <a:pt x="130" y="21"/>
                    <a:pt x="130" y="93"/>
                  </a:cubicBezTo>
                  <a:lnTo>
                    <a:pt x="130" y="101"/>
                  </a:lnTo>
                  <a:lnTo>
                    <a:pt x="37" y="101"/>
                  </a:lnTo>
                  <a:cubicBezTo>
                    <a:pt x="37" y="130"/>
                    <a:pt x="48" y="149"/>
                    <a:pt x="77" y="149"/>
                  </a:cubicBezTo>
                  <a:cubicBezTo>
                    <a:pt x="101" y="149"/>
                    <a:pt x="111" y="141"/>
                    <a:pt x="119" y="135"/>
                  </a:cubicBezTo>
                  <a:lnTo>
                    <a:pt x="122" y="167"/>
                  </a:lnTo>
                  <a:close/>
                  <a:moveTo>
                    <a:pt x="90" y="74"/>
                  </a:moveTo>
                  <a:cubicBezTo>
                    <a:pt x="90" y="45"/>
                    <a:pt x="80" y="29"/>
                    <a:pt x="64" y="29"/>
                  </a:cubicBezTo>
                  <a:cubicBezTo>
                    <a:pt x="42" y="29"/>
                    <a:pt x="34" y="53"/>
                    <a:pt x="34" y="74"/>
                  </a:cubicBezTo>
                  <a:lnTo>
                    <a:pt x="90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" name="Freeform 74">
              <a:extLst>
                <a:ext uri="{FF2B5EF4-FFF2-40B4-BE49-F238E27FC236}">
                  <a16:creationId xmlns:a16="http://schemas.microsoft.com/office/drawing/2014/main" id="{5D5EF389-EEE9-9545-BCE5-888C434ABA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6388" y="2157413"/>
              <a:ext cx="46037" cy="63500"/>
            </a:xfrm>
            <a:custGeom>
              <a:avLst/>
              <a:gdLst>
                <a:gd name="T0" fmla="*/ 16 w 130"/>
                <a:gd name="T1" fmla="*/ 13 h 176"/>
                <a:gd name="T2" fmla="*/ 66 w 130"/>
                <a:gd name="T3" fmla="*/ 0 h 176"/>
                <a:gd name="T4" fmla="*/ 127 w 130"/>
                <a:gd name="T5" fmla="*/ 69 h 176"/>
                <a:gd name="T6" fmla="*/ 127 w 130"/>
                <a:gd name="T7" fmla="*/ 143 h 176"/>
                <a:gd name="T8" fmla="*/ 129 w 130"/>
                <a:gd name="T9" fmla="*/ 172 h 176"/>
                <a:gd name="T10" fmla="*/ 95 w 130"/>
                <a:gd name="T11" fmla="*/ 172 h 176"/>
                <a:gd name="T12" fmla="*/ 92 w 130"/>
                <a:gd name="T13" fmla="*/ 149 h 176"/>
                <a:gd name="T14" fmla="*/ 47 w 130"/>
                <a:gd name="T15" fmla="*/ 175 h 176"/>
                <a:gd name="T16" fmla="*/ 0 w 130"/>
                <a:gd name="T17" fmla="*/ 125 h 176"/>
                <a:gd name="T18" fmla="*/ 84 w 130"/>
                <a:gd name="T19" fmla="*/ 66 h 176"/>
                <a:gd name="T20" fmla="*/ 92 w 130"/>
                <a:gd name="T21" fmla="*/ 66 h 176"/>
                <a:gd name="T22" fmla="*/ 92 w 130"/>
                <a:gd name="T23" fmla="*/ 61 h 176"/>
                <a:gd name="T24" fmla="*/ 63 w 130"/>
                <a:gd name="T25" fmla="*/ 29 h 176"/>
                <a:gd name="T26" fmla="*/ 18 w 130"/>
                <a:gd name="T27" fmla="*/ 45 h 176"/>
                <a:gd name="T28" fmla="*/ 16 w 130"/>
                <a:gd name="T29" fmla="*/ 13 h 176"/>
                <a:gd name="T30" fmla="*/ 90 w 130"/>
                <a:gd name="T31" fmla="*/ 90 h 176"/>
                <a:gd name="T32" fmla="*/ 37 w 130"/>
                <a:gd name="T33" fmla="*/ 122 h 176"/>
                <a:gd name="T34" fmla="*/ 61 w 130"/>
                <a:gd name="T35" fmla="*/ 149 h 176"/>
                <a:gd name="T36" fmla="*/ 92 w 130"/>
                <a:gd name="T37" fmla="*/ 98 h 176"/>
                <a:gd name="T38" fmla="*/ 92 w 130"/>
                <a:gd name="T39" fmla="*/ 90 h 176"/>
                <a:gd name="T40" fmla="*/ 90 w 130"/>
                <a:gd name="T41" fmla="*/ 9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6">
                  <a:moveTo>
                    <a:pt x="16" y="13"/>
                  </a:moveTo>
                  <a:cubicBezTo>
                    <a:pt x="26" y="8"/>
                    <a:pt x="42" y="0"/>
                    <a:pt x="66" y="0"/>
                  </a:cubicBezTo>
                  <a:cubicBezTo>
                    <a:pt x="116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6"/>
                    <a:pt x="127" y="167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6"/>
                    <a:pt x="92" y="149"/>
                  </a:cubicBezTo>
                  <a:cubicBezTo>
                    <a:pt x="82" y="162"/>
                    <a:pt x="71" y="175"/>
                    <a:pt x="47" y="175"/>
                  </a:cubicBezTo>
                  <a:cubicBezTo>
                    <a:pt x="23" y="175"/>
                    <a:pt x="0" y="156"/>
                    <a:pt x="0" y="125"/>
                  </a:cubicBezTo>
                  <a:cubicBezTo>
                    <a:pt x="0" y="77"/>
                    <a:pt x="34" y="66"/>
                    <a:pt x="84" y="66"/>
                  </a:cubicBezTo>
                  <a:lnTo>
                    <a:pt x="92" y="66"/>
                  </a:lnTo>
                  <a:lnTo>
                    <a:pt x="92" y="61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40"/>
                    <a:pt x="18" y="45"/>
                  </a:cubicBezTo>
                  <a:lnTo>
                    <a:pt x="16" y="13"/>
                  </a:lnTo>
                  <a:close/>
                  <a:moveTo>
                    <a:pt x="90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7" y="149"/>
                    <a:pt x="61" y="149"/>
                  </a:cubicBezTo>
                  <a:cubicBezTo>
                    <a:pt x="84" y="149"/>
                    <a:pt x="92" y="130"/>
                    <a:pt x="92" y="98"/>
                  </a:cubicBezTo>
                  <a:lnTo>
                    <a:pt x="92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" name="Freeform 75">
              <a:extLst>
                <a:ext uri="{FF2B5EF4-FFF2-40B4-BE49-F238E27FC236}">
                  <a16:creationId xmlns:a16="http://schemas.microsoft.com/office/drawing/2014/main" id="{79CABC2B-054F-7B4D-BDF0-2AEE76622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8300" y="2130425"/>
              <a:ext cx="14288" cy="90488"/>
            </a:xfrm>
            <a:custGeom>
              <a:avLst/>
              <a:gdLst>
                <a:gd name="T0" fmla="*/ 20 w 40"/>
                <a:gd name="T1" fmla="*/ 252 h 253"/>
                <a:gd name="T2" fmla="*/ 0 w 40"/>
                <a:gd name="T3" fmla="*/ 252 h 253"/>
                <a:gd name="T4" fmla="*/ 0 w 40"/>
                <a:gd name="T5" fmla="*/ 0 h 253"/>
                <a:gd name="T6" fmla="*/ 39 w 40"/>
                <a:gd name="T7" fmla="*/ 0 h 253"/>
                <a:gd name="T8" fmla="*/ 39 w 40"/>
                <a:gd name="T9" fmla="*/ 252 h 253"/>
                <a:gd name="T10" fmla="*/ 20 w 40"/>
                <a:gd name="T11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53">
                  <a:moveTo>
                    <a:pt x="20" y="252"/>
                  </a:moveTo>
                  <a:lnTo>
                    <a:pt x="0" y="252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252"/>
                  </a:lnTo>
                  <a:lnTo>
                    <a:pt x="20" y="25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" name="Freeform 76">
              <a:extLst>
                <a:ext uri="{FF2B5EF4-FFF2-40B4-BE49-F238E27FC236}">
                  <a16:creationId xmlns:a16="http://schemas.microsoft.com/office/drawing/2014/main" id="{FFDB7723-4C05-C444-9FBD-55BAAD773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3700" y="2141538"/>
              <a:ext cx="34925" cy="80962"/>
            </a:xfrm>
            <a:custGeom>
              <a:avLst/>
              <a:gdLst>
                <a:gd name="T0" fmla="*/ 23 w 99"/>
                <a:gd name="T1" fmla="*/ 13 h 224"/>
                <a:gd name="T2" fmla="*/ 63 w 99"/>
                <a:gd name="T3" fmla="*/ 0 h 224"/>
                <a:gd name="T4" fmla="*/ 63 w 99"/>
                <a:gd name="T5" fmla="*/ 48 h 224"/>
                <a:gd name="T6" fmla="*/ 95 w 99"/>
                <a:gd name="T7" fmla="*/ 48 h 224"/>
                <a:gd name="T8" fmla="*/ 95 w 99"/>
                <a:gd name="T9" fmla="*/ 77 h 224"/>
                <a:gd name="T10" fmla="*/ 63 w 99"/>
                <a:gd name="T11" fmla="*/ 77 h 224"/>
                <a:gd name="T12" fmla="*/ 63 w 99"/>
                <a:gd name="T13" fmla="*/ 167 h 224"/>
                <a:gd name="T14" fmla="*/ 82 w 99"/>
                <a:gd name="T15" fmla="*/ 191 h 224"/>
                <a:gd name="T16" fmla="*/ 98 w 99"/>
                <a:gd name="T17" fmla="*/ 188 h 224"/>
                <a:gd name="T18" fmla="*/ 98 w 99"/>
                <a:gd name="T19" fmla="*/ 217 h 224"/>
                <a:gd name="T20" fmla="*/ 71 w 99"/>
                <a:gd name="T21" fmla="*/ 223 h 224"/>
                <a:gd name="T22" fmla="*/ 26 w 99"/>
                <a:gd name="T23" fmla="*/ 172 h 224"/>
                <a:gd name="T24" fmla="*/ 26 w 99"/>
                <a:gd name="T25" fmla="*/ 77 h 224"/>
                <a:gd name="T26" fmla="*/ 0 w 99"/>
                <a:gd name="T27" fmla="*/ 77 h 224"/>
                <a:gd name="T28" fmla="*/ 0 w 99"/>
                <a:gd name="T29" fmla="*/ 48 h 224"/>
                <a:gd name="T30" fmla="*/ 26 w 99"/>
                <a:gd name="T31" fmla="*/ 48 h 224"/>
                <a:gd name="T32" fmla="*/ 23 w 99"/>
                <a:gd name="T33" fmla="*/ 1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224">
                  <a:moveTo>
                    <a:pt x="23" y="13"/>
                  </a:moveTo>
                  <a:lnTo>
                    <a:pt x="63" y="0"/>
                  </a:lnTo>
                  <a:lnTo>
                    <a:pt x="63" y="48"/>
                  </a:lnTo>
                  <a:lnTo>
                    <a:pt x="95" y="48"/>
                  </a:lnTo>
                  <a:lnTo>
                    <a:pt x="95" y="77"/>
                  </a:lnTo>
                  <a:lnTo>
                    <a:pt x="63" y="77"/>
                  </a:lnTo>
                  <a:lnTo>
                    <a:pt x="63" y="167"/>
                  </a:lnTo>
                  <a:cubicBezTo>
                    <a:pt x="63" y="186"/>
                    <a:pt x="68" y="191"/>
                    <a:pt x="82" y="191"/>
                  </a:cubicBezTo>
                  <a:cubicBezTo>
                    <a:pt x="90" y="191"/>
                    <a:pt x="92" y="188"/>
                    <a:pt x="98" y="188"/>
                  </a:cubicBezTo>
                  <a:lnTo>
                    <a:pt x="98" y="217"/>
                  </a:lnTo>
                  <a:cubicBezTo>
                    <a:pt x="92" y="220"/>
                    <a:pt x="84" y="223"/>
                    <a:pt x="71" y="223"/>
                  </a:cubicBezTo>
                  <a:cubicBezTo>
                    <a:pt x="42" y="223"/>
                    <a:pt x="26" y="209"/>
                    <a:pt x="26" y="172"/>
                  </a:cubicBezTo>
                  <a:lnTo>
                    <a:pt x="26" y="77"/>
                  </a:lnTo>
                  <a:lnTo>
                    <a:pt x="0" y="77"/>
                  </a:lnTo>
                  <a:lnTo>
                    <a:pt x="0" y="48"/>
                  </a:lnTo>
                  <a:lnTo>
                    <a:pt x="26" y="48"/>
                  </a:lnTo>
                  <a:lnTo>
                    <a:pt x="23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5" name="Freeform 77">
              <a:extLst>
                <a:ext uri="{FF2B5EF4-FFF2-40B4-BE49-F238E27FC236}">
                  <a16:creationId xmlns:a16="http://schemas.microsoft.com/office/drawing/2014/main" id="{8049039A-8450-C549-A4FA-084BDFE973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8150" y="2130425"/>
              <a:ext cx="46038" cy="90488"/>
            </a:xfrm>
            <a:custGeom>
              <a:avLst/>
              <a:gdLst>
                <a:gd name="T0" fmla="*/ 0 w 128"/>
                <a:gd name="T1" fmla="*/ 0 h 253"/>
                <a:gd name="T2" fmla="*/ 40 w 128"/>
                <a:gd name="T3" fmla="*/ 0 h 253"/>
                <a:gd name="T4" fmla="*/ 40 w 128"/>
                <a:gd name="T5" fmla="*/ 101 h 253"/>
                <a:gd name="T6" fmla="*/ 40 w 128"/>
                <a:gd name="T7" fmla="*/ 101 h 253"/>
                <a:gd name="T8" fmla="*/ 80 w 128"/>
                <a:gd name="T9" fmla="*/ 77 h 253"/>
                <a:gd name="T10" fmla="*/ 127 w 128"/>
                <a:gd name="T11" fmla="*/ 141 h 253"/>
                <a:gd name="T12" fmla="*/ 127 w 128"/>
                <a:gd name="T13" fmla="*/ 252 h 253"/>
                <a:gd name="T14" fmla="*/ 87 w 128"/>
                <a:gd name="T15" fmla="*/ 252 h 253"/>
                <a:gd name="T16" fmla="*/ 87 w 128"/>
                <a:gd name="T17" fmla="*/ 149 h 253"/>
                <a:gd name="T18" fmla="*/ 66 w 128"/>
                <a:gd name="T19" fmla="*/ 112 h 253"/>
                <a:gd name="T20" fmla="*/ 40 w 128"/>
                <a:gd name="T21" fmla="*/ 151 h 253"/>
                <a:gd name="T22" fmla="*/ 40 w 128"/>
                <a:gd name="T23" fmla="*/ 252 h 253"/>
                <a:gd name="T24" fmla="*/ 0 w 128"/>
                <a:gd name="T25" fmla="*/ 252 h 253"/>
                <a:gd name="T26" fmla="*/ 0 w 128"/>
                <a:gd name="T2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253">
                  <a:moveTo>
                    <a:pt x="0" y="0"/>
                  </a:moveTo>
                  <a:lnTo>
                    <a:pt x="40" y="0"/>
                  </a:lnTo>
                  <a:lnTo>
                    <a:pt x="40" y="101"/>
                  </a:lnTo>
                  <a:lnTo>
                    <a:pt x="40" y="101"/>
                  </a:lnTo>
                  <a:cubicBezTo>
                    <a:pt x="48" y="90"/>
                    <a:pt x="56" y="77"/>
                    <a:pt x="80" y="77"/>
                  </a:cubicBezTo>
                  <a:cubicBezTo>
                    <a:pt x="117" y="77"/>
                    <a:pt x="127" y="106"/>
                    <a:pt x="127" y="141"/>
                  </a:cubicBezTo>
                  <a:lnTo>
                    <a:pt x="127" y="252"/>
                  </a:lnTo>
                  <a:lnTo>
                    <a:pt x="87" y="252"/>
                  </a:lnTo>
                  <a:lnTo>
                    <a:pt x="87" y="149"/>
                  </a:lnTo>
                  <a:cubicBezTo>
                    <a:pt x="87" y="122"/>
                    <a:pt x="82" y="112"/>
                    <a:pt x="66" y="112"/>
                  </a:cubicBezTo>
                  <a:cubicBezTo>
                    <a:pt x="45" y="112"/>
                    <a:pt x="40" y="130"/>
                    <a:pt x="40" y="151"/>
                  </a:cubicBezTo>
                  <a:lnTo>
                    <a:pt x="40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" name="Freeform 78">
              <a:extLst>
                <a:ext uri="{FF2B5EF4-FFF2-40B4-BE49-F238E27FC236}">
                  <a16:creationId xmlns:a16="http://schemas.microsoft.com/office/drawing/2014/main" id="{E78802B9-51D9-6742-80E2-AA09870581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0975" y="2241550"/>
              <a:ext cx="63500" cy="85725"/>
            </a:xfrm>
            <a:custGeom>
              <a:avLst/>
              <a:gdLst>
                <a:gd name="T0" fmla="*/ 175 w 176"/>
                <a:gd name="T1" fmla="*/ 119 h 239"/>
                <a:gd name="T2" fmla="*/ 87 w 176"/>
                <a:gd name="T3" fmla="*/ 238 h 239"/>
                <a:gd name="T4" fmla="*/ 0 w 176"/>
                <a:gd name="T5" fmla="*/ 119 h 239"/>
                <a:gd name="T6" fmla="*/ 87 w 176"/>
                <a:gd name="T7" fmla="*/ 0 h 239"/>
                <a:gd name="T8" fmla="*/ 175 w 176"/>
                <a:gd name="T9" fmla="*/ 119 h 239"/>
                <a:gd name="T10" fmla="*/ 133 w 176"/>
                <a:gd name="T11" fmla="*/ 119 h 239"/>
                <a:gd name="T12" fmla="*/ 87 w 176"/>
                <a:gd name="T13" fmla="*/ 31 h 239"/>
                <a:gd name="T14" fmla="*/ 42 w 176"/>
                <a:gd name="T15" fmla="*/ 119 h 239"/>
                <a:gd name="T16" fmla="*/ 87 w 176"/>
                <a:gd name="T17" fmla="*/ 206 h 239"/>
                <a:gd name="T18" fmla="*/ 133 w 176"/>
                <a:gd name="T19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6" h="239">
                  <a:moveTo>
                    <a:pt x="175" y="119"/>
                  </a:moveTo>
                  <a:cubicBezTo>
                    <a:pt x="175" y="204"/>
                    <a:pt x="133" y="238"/>
                    <a:pt x="87" y="238"/>
                  </a:cubicBezTo>
                  <a:cubicBezTo>
                    <a:pt x="42" y="238"/>
                    <a:pt x="0" y="201"/>
                    <a:pt x="0" y="119"/>
                  </a:cubicBezTo>
                  <a:cubicBezTo>
                    <a:pt x="3" y="37"/>
                    <a:pt x="42" y="0"/>
                    <a:pt x="87" y="0"/>
                  </a:cubicBezTo>
                  <a:cubicBezTo>
                    <a:pt x="133" y="0"/>
                    <a:pt x="175" y="37"/>
                    <a:pt x="175" y="119"/>
                  </a:cubicBezTo>
                  <a:close/>
                  <a:moveTo>
                    <a:pt x="133" y="119"/>
                  </a:moveTo>
                  <a:cubicBezTo>
                    <a:pt x="133" y="55"/>
                    <a:pt x="111" y="31"/>
                    <a:pt x="87" y="31"/>
                  </a:cubicBezTo>
                  <a:cubicBezTo>
                    <a:pt x="61" y="31"/>
                    <a:pt x="42" y="55"/>
                    <a:pt x="42" y="119"/>
                  </a:cubicBezTo>
                  <a:cubicBezTo>
                    <a:pt x="42" y="185"/>
                    <a:pt x="64" y="206"/>
                    <a:pt x="87" y="206"/>
                  </a:cubicBezTo>
                  <a:cubicBezTo>
                    <a:pt x="114" y="206"/>
                    <a:pt x="133" y="182"/>
                    <a:pt x="133" y="11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" name="Freeform 79">
              <a:extLst>
                <a:ext uri="{FF2B5EF4-FFF2-40B4-BE49-F238E27FC236}">
                  <a16:creationId xmlns:a16="http://schemas.microsoft.com/office/drawing/2014/main" id="{9ED7B6C8-1AA4-5848-B6DC-A539ABD86A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175" y="2263775"/>
              <a:ext cx="28575" cy="63500"/>
            </a:xfrm>
            <a:custGeom>
              <a:avLst/>
              <a:gdLst>
                <a:gd name="T0" fmla="*/ 0 w 80"/>
                <a:gd name="T1" fmla="*/ 31 h 175"/>
                <a:gd name="T2" fmla="*/ 0 w 80"/>
                <a:gd name="T3" fmla="*/ 2 h 175"/>
                <a:gd name="T4" fmla="*/ 34 w 80"/>
                <a:gd name="T5" fmla="*/ 2 h 175"/>
                <a:gd name="T6" fmla="*/ 34 w 80"/>
                <a:gd name="T7" fmla="*/ 34 h 175"/>
                <a:gd name="T8" fmla="*/ 34 w 80"/>
                <a:gd name="T9" fmla="*/ 34 h 175"/>
                <a:gd name="T10" fmla="*/ 74 w 80"/>
                <a:gd name="T11" fmla="*/ 0 h 175"/>
                <a:gd name="T12" fmla="*/ 79 w 80"/>
                <a:gd name="T13" fmla="*/ 0 h 175"/>
                <a:gd name="T14" fmla="*/ 79 w 80"/>
                <a:gd name="T15" fmla="*/ 39 h 175"/>
                <a:gd name="T16" fmla="*/ 69 w 80"/>
                <a:gd name="T17" fmla="*/ 37 h 175"/>
                <a:gd name="T18" fmla="*/ 34 w 80"/>
                <a:gd name="T19" fmla="*/ 79 h 175"/>
                <a:gd name="T20" fmla="*/ 34 w 80"/>
                <a:gd name="T21" fmla="*/ 174 h 175"/>
                <a:gd name="T22" fmla="*/ 0 w 80"/>
                <a:gd name="T23" fmla="*/ 174 h 175"/>
                <a:gd name="T24" fmla="*/ 0 w 80"/>
                <a:gd name="T25" fmla="*/ 3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175">
                  <a:moveTo>
                    <a:pt x="0" y="31"/>
                  </a:moveTo>
                  <a:cubicBezTo>
                    <a:pt x="0" y="21"/>
                    <a:pt x="0" y="10"/>
                    <a:pt x="0" y="2"/>
                  </a:cubicBezTo>
                  <a:lnTo>
                    <a:pt x="34" y="2"/>
                  </a:lnTo>
                  <a:cubicBezTo>
                    <a:pt x="34" y="13"/>
                    <a:pt x="34" y="23"/>
                    <a:pt x="34" y="34"/>
                  </a:cubicBezTo>
                  <a:lnTo>
                    <a:pt x="34" y="34"/>
                  </a:lnTo>
                  <a:cubicBezTo>
                    <a:pt x="40" y="21"/>
                    <a:pt x="50" y="0"/>
                    <a:pt x="74" y="0"/>
                  </a:cubicBezTo>
                  <a:cubicBezTo>
                    <a:pt x="77" y="0"/>
                    <a:pt x="79" y="0"/>
                    <a:pt x="79" y="0"/>
                  </a:cubicBezTo>
                  <a:lnTo>
                    <a:pt x="79" y="39"/>
                  </a:lnTo>
                  <a:cubicBezTo>
                    <a:pt x="77" y="39"/>
                    <a:pt x="71" y="37"/>
                    <a:pt x="69" y="37"/>
                  </a:cubicBezTo>
                  <a:cubicBezTo>
                    <a:pt x="53" y="37"/>
                    <a:pt x="34" y="47"/>
                    <a:pt x="34" y="79"/>
                  </a:cubicBezTo>
                  <a:lnTo>
                    <a:pt x="34" y="174"/>
                  </a:lnTo>
                  <a:lnTo>
                    <a:pt x="0" y="174"/>
                  </a:lnTo>
                  <a:lnTo>
                    <a:pt x="0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" name="Freeform 80">
              <a:extLst>
                <a:ext uri="{FF2B5EF4-FFF2-40B4-BE49-F238E27FC236}">
                  <a16:creationId xmlns:a16="http://schemas.microsoft.com/office/drawing/2014/main" id="{DB9FFAE5-285A-5940-ABD8-87DD7E3A5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5275" y="2265363"/>
              <a:ext cx="49213" cy="90487"/>
            </a:xfrm>
            <a:custGeom>
              <a:avLst/>
              <a:gdLst>
                <a:gd name="T0" fmla="*/ 8 w 136"/>
                <a:gd name="T1" fmla="*/ 198 h 250"/>
                <a:gd name="T2" fmla="*/ 55 w 136"/>
                <a:gd name="T3" fmla="*/ 214 h 250"/>
                <a:gd name="T4" fmla="*/ 98 w 136"/>
                <a:gd name="T5" fmla="*/ 161 h 250"/>
                <a:gd name="T6" fmla="*/ 98 w 136"/>
                <a:gd name="T7" fmla="*/ 145 h 250"/>
                <a:gd name="T8" fmla="*/ 55 w 136"/>
                <a:gd name="T9" fmla="*/ 175 h 250"/>
                <a:gd name="T10" fmla="*/ 0 w 136"/>
                <a:gd name="T11" fmla="*/ 90 h 250"/>
                <a:gd name="T12" fmla="*/ 58 w 136"/>
                <a:gd name="T13" fmla="*/ 0 h 250"/>
                <a:gd name="T14" fmla="*/ 100 w 136"/>
                <a:gd name="T15" fmla="*/ 29 h 250"/>
                <a:gd name="T16" fmla="*/ 100 w 136"/>
                <a:gd name="T17" fmla="*/ 2 h 250"/>
                <a:gd name="T18" fmla="*/ 135 w 136"/>
                <a:gd name="T19" fmla="*/ 2 h 250"/>
                <a:gd name="T20" fmla="*/ 135 w 136"/>
                <a:gd name="T21" fmla="*/ 29 h 250"/>
                <a:gd name="T22" fmla="*/ 135 w 136"/>
                <a:gd name="T23" fmla="*/ 156 h 250"/>
                <a:gd name="T24" fmla="*/ 61 w 136"/>
                <a:gd name="T25" fmla="*/ 249 h 250"/>
                <a:gd name="T26" fmla="*/ 5 w 136"/>
                <a:gd name="T27" fmla="*/ 238 h 250"/>
                <a:gd name="T28" fmla="*/ 8 w 136"/>
                <a:gd name="T29" fmla="*/ 198 h 250"/>
                <a:gd name="T30" fmla="*/ 98 w 136"/>
                <a:gd name="T31" fmla="*/ 82 h 250"/>
                <a:gd name="T32" fmla="*/ 66 w 136"/>
                <a:gd name="T33" fmla="*/ 26 h 250"/>
                <a:gd name="T34" fmla="*/ 37 w 136"/>
                <a:gd name="T35" fmla="*/ 82 h 250"/>
                <a:gd name="T36" fmla="*/ 63 w 136"/>
                <a:gd name="T37" fmla="*/ 140 h 250"/>
                <a:gd name="T38" fmla="*/ 98 w 136"/>
                <a:gd name="T39" fmla="*/ 8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" h="250">
                  <a:moveTo>
                    <a:pt x="8" y="198"/>
                  </a:moveTo>
                  <a:cubicBezTo>
                    <a:pt x="16" y="204"/>
                    <a:pt x="34" y="214"/>
                    <a:pt x="55" y="214"/>
                  </a:cubicBezTo>
                  <a:cubicBezTo>
                    <a:pt x="93" y="214"/>
                    <a:pt x="98" y="188"/>
                    <a:pt x="98" y="161"/>
                  </a:cubicBezTo>
                  <a:lnTo>
                    <a:pt x="98" y="145"/>
                  </a:lnTo>
                  <a:cubicBezTo>
                    <a:pt x="93" y="159"/>
                    <a:pt x="82" y="175"/>
                    <a:pt x="55" y="175"/>
                  </a:cubicBezTo>
                  <a:cubicBezTo>
                    <a:pt x="34" y="175"/>
                    <a:pt x="0" y="159"/>
                    <a:pt x="0" y="90"/>
                  </a:cubicBezTo>
                  <a:cubicBezTo>
                    <a:pt x="0" y="42"/>
                    <a:pt x="16" y="0"/>
                    <a:pt x="58" y="0"/>
                  </a:cubicBezTo>
                  <a:cubicBezTo>
                    <a:pt x="82" y="0"/>
                    <a:pt x="93" y="13"/>
                    <a:pt x="100" y="29"/>
                  </a:cubicBezTo>
                  <a:lnTo>
                    <a:pt x="100" y="2"/>
                  </a:lnTo>
                  <a:lnTo>
                    <a:pt x="135" y="2"/>
                  </a:lnTo>
                  <a:lnTo>
                    <a:pt x="135" y="29"/>
                  </a:lnTo>
                  <a:lnTo>
                    <a:pt x="135" y="156"/>
                  </a:lnTo>
                  <a:cubicBezTo>
                    <a:pt x="135" y="209"/>
                    <a:pt x="119" y="249"/>
                    <a:pt x="61" y="249"/>
                  </a:cubicBezTo>
                  <a:cubicBezTo>
                    <a:pt x="34" y="249"/>
                    <a:pt x="16" y="241"/>
                    <a:pt x="5" y="238"/>
                  </a:cubicBezTo>
                  <a:lnTo>
                    <a:pt x="8" y="198"/>
                  </a:lnTo>
                  <a:close/>
                  <a:moveTo>
                    <a:pt x="98" y="82"/>
                  </a:moveTo>
                  <a:cubicBezTo>
                    <a:pt x="98" y="45"/>
                    <a:pt x="85" y="26"/>
                    <a:pt x="66" y="26"/>
                  </a:cubicBezTo>
                  <a:cubicBezTo>
                    <a:pt x="45" y="26"/>
                    <a:pt x="37" y="47"/>
                    <a:pt x="37" y="82"/>
                  </a:cubicBezTo>
                  <a:cubicBezTo>
                    <a:pt x="37" y="124"/>
                    <a:pt x="50" y="140"/>
                    <a:pt x="63" y="140"/>
                  </a:cubicBezTo>
                  <a:cubicBezTo>
                    <a:pt x="87" y="140"/>
                    <a:pt x="98" y="122"/>
                    <a:pt x="98" y="8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" name="Freeform 81">
              <a:extLst>
                <a:ext uri="{FF2B5EF4-FFF2-40B4-BE49-F238E27FC236}">
                  <a16:creationId xmlns:a16="http://schemas.microsoft.com/office/drawing/2014/main" id="{04EFCBAC-4F38-E549-92BB-13509ED3C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4013" y="2263775"/>
              <a:ext cx="47625" cy="63500"/>
            </a:xfrm>
            <a:custGeom>
              <a:avLst/>
              <a:gdLst>
                <a:gd name="T0" fmla="*/ 16 w 131"/>
                <a:gd name="T1" fmla="*/ 13 h 175"/>
                <a:gd name="T2" fmla="*/ 66 w 131"/>
                <a:gd name="T3" fmla="*/ 0 h 175"/>
                <a:gd name="T4" fmla="*/ 127 w 131"/>
                <a:gd name="T5" fmla="*/ 68 h 175"/>
                <a:gd name="T6" fmla="*/ 127 w 131"/>
                <a:gd name="T7" fmla="*/ 143 h 175"/>
                <a:gd name="T8" fmla="*/ 130 w 131"/>
                <a:gd name="T9" fmla="*/ 172 h 175"/>
                <a:gd name="T10" fmla="*/ 95 w 131"/>
                <a:gd name="T11" fmla="*/ 172 h 175"/>
                <a:gd name="T12" fmla="*/ 93 w 131"/>
                <a:gd name="T13" fmla="*/ 148 h 175"/>
                <a:gd name="T14" fmla="*/ 48 w 131"/>
                <a:gd name="T15" fmla="*/ 174 h 175"/>
                <a:gd name="T16" fmla="*/ 0 w 131"/>
                <a:gd name="T17" fmla="*/ 124 h 175"/>
                <a:gd name="T18" fmla="*/ 85 w 131"/>
                <a:gd name="T19" fmla="*/ 66 h 175"/>
                <a:gd name="T20" fmla="*/ 93 w 131"/>
                <a:gd name="T21" fmla="*/ 66 h 175"/>
                <a:gd name="T22" fmla="*/ 93 w 131"/>
                <a:gd name="T23" fmla="*/ 60 h 175"/>
                <a:gd name="T24" fmla="*/ 64 w 131"/>
                <a:gd name="T25" fmla="*/ 29 h 175"/>
                <a:gd name="T26" fmla="*/ 19 w 131"/>
                <a:gd name="T27" fmla="*/ 45 h 175"/>
                <a:gd name="T28" fmla="*/ 16 w 131"/>
                <a:gd name="T29" fmla="*/ 13 h 175"/>
                <a:gd name="T30" fmla="*/ 90 w 131"/>
                <a:gd name="T31" fmla="*/ 92 h 175"/>
                <a:gd name="T32" fmla="*/ 37 w 131"/>
                <a:gd name="T33" fmla="*/ 124 h 175"/>
                <a:gd name="T34" fmla="*/ 61 w 131"/>
                <a:gd name="T35" fmla="*/ 150 h 175"/>
                <a:gd name="T36" fmla="*/ 93 w 131"/>
                <a:gd name="T37" fmla="*/ 100 h 175"/>
                <a:gd name="T38" fmla="*/ 93 w 131"/>
                <a:gd name="T39" fmla="*/ 92 h 175"/>
                <a:gd name="T40" fmla="*/ 90 w 131"/>
                <a:gd name="T41" fmla="*/ 9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75">
                  <a:moveTo>
                    <a:pt x="16" y="13"/>
                  </a:moveTo>
                  <a:cubicBezTo>
                    <a:pt x="27" y="7"/>
                    <a:pt x="42" y="0"/>
                    <a:pt x="66" y="0"/>
                  </a:cubicBezTo>
                  <a:cubicBezTo>
                    <a:pt x="117" y="0"/>
                    <a:pt x="127" y="26"/>
                    <a:pt x="127" y="68"/>
                  </a:cubicBezTo>
                  <a:lnTo>
                    <a:pt x="127" y="143"/>
                  </a:lnTo>
                  <a:cubicBezTo>
                    <a:pt x="127" y="156"/>
                    <a:pt x="127" y="166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6"/>
                    <a:pt x="93" y="148"/>
                  </a:cubicBezTo>
                  <a:cubicBezTo>
                    <a:pt x="82" y="161"/>
                    <a:pt x="72" y="174"/>
                    <a:pt x="48" y="174"/>
                  </a:cubicBezTo>
                  <a:cubicBezTo>
                    <a:pt x="24" y="174"/>
                    <a:pt x="0" y="156"/>
                    <a:pt x="0" y="124"/>
                  </a:cubicBezTo>
                  <a:cubicBezTo>
                    <a:pt x="0" y="76"/>
                    <a:pt x="34" y="66"/>
                    <a:pt x="85" y="66"/>
                  </a:cubicBezTo>
                  <a:lnTo>
                    <a:pt x="93" y="66"/>
                  </a:lnTo>
                  <a:lnTo>
                    <a:pt x="93" y="60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39"/>
                    <a:pt x="19" y="45"/>
                  </a:cubicBezTo>
                  <a:lnTo>
                    <a:pt x="16" y="13"/>
                  </a:lnTo>
                  <a:close/>
                  <a:moveTo>
                    <a:pt x="90" y="92"/>
                  </a:moveTo>
                  <a:cubicBezTo>
                    <a:pt x="58" y="92"/>
                    <a:pt x="37" y="100"/>
                    <a:pt x="37" y="124"/>
                  </a:cubicBezTo>
                  <a:cubicBezTo>
                    <a:pt x="37" y="140"/>
                    <a:pt x="48" y="150"/>
                    <a:pt x="61" y="150"/>
                  </a:cubicBezTo>
                  <a:cubicBezTo>
                    <a:pt x="85" y="150"/>
                    <a:pt x="93" y="132"/>
                    <a:pt x="93" y="100"/>
                  </a:cubicBezTo>
                  <a:lnTo>
                    <a:pt x="93" y="92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" name="Freeform 82">
              <a:extLst>
                <a:ext uri="{FF2B5EF4-FFF2-40B4-BE49-F238E27FC236}">
                  <a16:creationId xmlns:a16="http://schemas.microsoft.com/office/drawing/2014/main" id="{60E73C21-6A21-B74B-9D7F-A430DE940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4338" y="2263775"/>
              <a:ext cx="46037" cy="63500"/>
            </a:xfrm>
            <a:custGeom>
              <a:avLst/>
              <a:gdLst>
                <a:gd name="T0" fmla="*/ 0 w 128"/>
                <a:gd name="T1" fmla="*/ 31 h 178"/>
                <a:gd name="T2" fmla="*/ 0 w 128"/>
                <a:gd name="T3" fmla="*/ 2 h 178"/>
                <a:gd name="T4" fmla="*/ 37 w 128"/>
                <a:gd name="T5" fmla="*/ 2 h 178"/>
                <a:gd name="T6" fmla="*/ 37 w 128"/>
                <a:gd name="T7" fmla="*/ 29 h 178"/>
                <a:gd name="T8" fmla="*/ 37 w 128"/>
                <a:gd name="T9" fmla="*/ 29 h 178"/>
                <a:gd name="T10" fmla="*/ 37 w 128"/>
                <a:gd name="T11" fmla="*/ 29 h 178"/>
                <a:gd name="T12" fmla="*/ 79 w 128"/>
                <a:gd name="T13" fmla="*/ 0 h 178"/>
                <a:gd name="T14" fmla="*/ 127 w 128"/>
                <a:gd name="T15" fmla="*/ 63 h 178"/>
                <a:gd name="T16" fmla="*/ 127 w 128"/>
                <a:gd name="T17" fmla="*/ 174 h 178"/>
                <a:gd name="T18" fmla="*/ 87 w 128"/>
                <a:gd name="T19" fmla="*/ 174 h 178"/>
                <a:gd name="T20" fmla="*/ 87 w 128"/>
                <a:gd name="T21" fmla="*/ 74 h 178"/>
                <a:gd name="T22" fmla="*/ 66 w 128"/>
                <a:gd name="T23" fmla="*/ 37 h 178"/>
                <a:gd name="T24" fmla="*/ 40 w 128"/>
                <a:gd name="T25" fmla="*/ 76 h 178"/>
                <a:gd name="T26" fmla="*/ 40 w 128"/>
                <a:gd name="T27" fmla="*/ 177 h 178"/>
                <a:gd name="T28" fmla="*/ 0 w 128"/>
                <a:gd name="T29" fmla="*/ 177 h 178"/>
                <a:gd name="T30" fmla="*/ 0 w 128"/>
                <a:gd name="T31" fmla="*/ 3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78">
                  <a:moveTo>
                    <a:pt x="0" y="31"/>
                  </a:moveTo>
                  <a:cubicBezTo>
                    <a:pt x="0" y="21"/>
                    <a:pt x="0" y="10"/>
                    <a:pt x="0" y="2"/>
                  </a:cubicBezTo>
                  <a:lnTo>
                    <a:pt x="37" y="2"/>
                  </a:lnTo>
                  <a:cubicBezTo>
                    <a:pt x="37" y="10"/>
                    <a:pt x="37" y="21"/>
                    <a:pt x="37" y="29"/>
                  </a:cubicBezTo>
                  <a:lnTo>
                    <a:pt x="37" y="29"/>
                  </a:lnTo>
                  <a:lnTo>
                    <a:pt x="37" y="29"/>
                  </a:lnTo>
                  <a:cubicBezTo>
                    <a:pt x="42" y="18"/>
                    <a:pt x="53" y="0"/>
                    <a:pt x="79" y="0"/>
                  </a:cubicBezTo>
                  <a:cubicBezTo>
                    <a:pt x="116" y="0"/>
                    <a:pt x="127" y="29"/>
                    <a:pt x="127" y="63"/>
                  </a:cubicBezTo>
                  <a:lnTo>
                    <a:pt x="127" y="174"/>
                  </a:lnTo>
                  <a:lnTo>
                    <a:pt x="87" y="174"/>
                  </a:lnTo>
                  <a:lnTo>
                    <a:pt x="87" y="74"/>
                  </a:lnTo>
                  <a:cubicBezTo>
                    <a:pt x="87" y="47"/>
                    <a:pt x="82" y="37"/>
                    <a:pt x="66" y="37"/>
                  </a:cubicBezTo>
                  <a:cubicBezTo>
                    <a:pt x="45" y="37"/>
                    <a:pt x="40" y="55"/>
                    <a:pt x="40" y="76"/>
                  </a:cubicBezTo>
                  <a:lnTo>
                    <a:pt x="40" y="177"/>
                  </a:lnTo>
                  <a:lnTo>
                    <a:pt x="0" y="177"/>
                  </a:lnTo>
                  <a:lnTo>
                    <a:pt x="0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1" name="Freeform 83">
              <a:extLst>
                <a:ext uri="{FF2B5EF4-FFF2-40B4-BE49-F238E27FC236}">
                  <a16:creationId xmlns:a16="http://schemas.microsoft.com/office/drawing/2014/main" id="{0EBFA1AB-B24A-F246-A609-27B73A270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4663" y="2238375"/>
              <a:ext cx="14287" cy="88900"/>
            </a:xfrm>
            <a:custGeom>
              <a:avLst/>
              <a:gdLst>
                <a:gd name="T0" fmla="*/ 0 w 41"/>
                <a:gd name="T1" fmla="*/ 0 h 247"/>
                <a:gd name="T2" fmla="*/ 40 w 41"/>
                <a:gd name="T3" fmla="*/ 0 h 247"/>
                <a:gd name="T4" fmla="*/ 40 w 41"/>
                <a:gd name="T5" fmla="*/ 39 h 247"/>
                <a:gd name="T6" fmla="*/ 0 w 41"/>
                <a:gd name="T7" fmla="*/ 39 h 247"/>
                <a:gd name="T8" fmla="*/ 0 w 41"/>
                <a:gd name="T9" fmla="*/ 0 h 247"/>
                <a:gd name="T10" fmla="*/ 0 w 41"/>
                <a:gd name="T11" fmla="*/ 74 h 247"/>
                <a:gd name="T12" fmla="*/ 40 w 41"/>
                <a:gd name="T13" fmla="*/ 74 h 247"/>
                <a:gd name="T14" fmla="*/ 40 w 41"/>
                <a:gd name="T15" fmla="*/ 246 h 247"/>
                <a:gd name="T16" fmla="*/ 0 w 41"/>
                <a:gd name="T17" fmla="*/ 246 h 247"/>
                <a:gd name="T18" fmla="*/ 0 w 41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47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0" y="74"/>
                  </a:moveTo>
                  <a:lnTo>
                    <a:pt x="40" y="74"/>
                  </a:lnTo>
                  <a:lnTo>
                    <a:pt x="40" y="246"/>
                  </a:lnTo>
                  <a:lnTo>
                    <a:pt x="0" y="246"/>
                  </a:lnTo>
                  <a:lnTo>
                    <a:pt x="0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" name="Freeform 84">
              <a:extLst>
                <a:ext uri="{FF2B5EF4-FFF2-40B4-BE49-F238E27FC236}">
                  <a16:creationId xmlns:a16="http://schemas.microsoft.com/office/drawing/2014/main" id="{26AF0B99-8FD4-D64E-9350-E9B7A95DE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1650" y="2265363"/>
              <a:ext cx="39688" cy="61912"/>
            </a:xfrm>
            <a:custGeom>
              <a:avLst/>
              <a:gdLst>
                <a:gd name="T0" fmla="*/ 0 w 109"/>
                <a:gd name="T1" fmla="*/ 135 h 173"/>
                <a:gd name="T2" fmla="*/ 69 w 109"/>
                <a:gd name="T3" fmla="*/ 29 h 173"/>
                <a:gd name="T4" fmla="*/ 2 w 109"/>
                <a:gd name="T5" fmla="*/ 29 h 173"/>
                <a:gd name="T6" fmla="*/ 2 w 109"/>
                <a:gd name="T7" fmla="*/ 0 h 173"/>
                <a:gd name="T8" fmla="*/ 108 w 109"/>
                <a:gd name="T9" fmla="*/ 0 h 173"/>
                <a:gd name="T10" fmla="*/ 108 w 109"/>
                <a:gd name="T11" fmla="*/ 34 h 173"/>
                <a:gd name="T12" fmla="*/ 40 w 109"/>
                <a:gd name="T13" fmla="*/ 140 h 173"/>
                <a:gd name="T14" fmla="*/ 108 w 109"/>
                <a:gd name="T15" fmla="*/ 140 h 173"/>
                <a:gd name="T16" fmla="*/ 108 w 109"/>
                <a:gd name="T17" fmla="*/ 172 h 173"/>
                <a:gd name="T18" fmla="*/ 0 w 109"/>
                <a:gd name="T19" fmla="*/ 172 h 173"/>
                <a:gd name="T20" fmla="*/ 0 w 109"/>
                <a:gd name="T2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73">
                  <a:moveTo>
                    <a:pt x="0" y="135"/>
                  </a:moveTo>
                  <a:lnTo>
                    <a:pt x="69" y="29"/>
                  </a:lnTo>
                  <a:lnTo>
                    <a:pt x="2" y="29"/>
                  </a:lnTo>
                  <a:lnTo>
                    <a:pt x="2" y="0"/>
                  </a:lnTo>
                  <a:lnTo>
                    <a:pt x="108" y="0"/>
                  </a:lnTo>
                  <a:lnTo>
                    <a:pt x="108" y="34"/>
                  </a:lnTo>
                  <a:lnTo>
                    <a:pt x="40" y="140"/>
                  </a:lnTo>
                  <a:lnTo>
                    <a:pt x="108" y="140"/>
                  </a:lnTo>
                  <a:lnTo>
                    <a:pt x="108" y="172"/>
                  </a:lnTo>
                  <a:lnTo>
                    <a:pt x="0" y="172"/>
                  </a:lnTo>
                  <a:lnTo>
                    <a:pt x="0" y="13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" name="Freeform 85">
              <a:extLst>
                <a:ext uri="{FF2B5EF4-FFF2-40B4-BE49-F238E27FC236}">
                  <a16:creationId xmlns:a16="http://schemas.microsoft.com/office/drawing/2014/main" id="{5DB86966-4E35-0744-A03B-230763DA1D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7688" y="2263775"/>
              <a:ext cx="46037" cy="63500"/>
            </a:xfrm>
            <a:custGeom>
              <a:avLst/>
              <a:gdLst>
                <a:gd name="T0" fmla="*/ 15 w 130"/>
                <a:gd name="T1" fmla="*/ 13 h 175"/>
                <a:gd name="T2" fmla="*/ 66 w 130"/>
                <a:gd name="T3" fmla="*/ 0 h 175"/>
                <a:gd name="T4" fmla="*/ 127 w 130"/>
                <a:gd name="T5" fmla="*/ 68 h 175"/>
                <a:gd name="T6" fmla="*/ 127 w 130"/>
                <a:gd name="T7" fmla="*/ 143 h 175"/>
                <a:gd name="T8" fmla="*/ 129 w 130"/>
                <a:gd name="T9" fmla="*/ 172 h 175"/>
                <a:gd name="T10" fmla="*/ 95 w 130"/>
                <a:gd name="T11" fmla="*/ 172 h 175"/>
                <a:gd name="T12" fmla="*/ 92 w 130"/>
                <a:gd name="T13" fmla="*/ 148 h 175"/>
                <a:gd name="T14" fmla="*/ 47 w 130"/>
                <a:gd name="T15" fmla="*/ 174 h 175"/>
                <a:gd name="T16" fmla="*/ 0 w 130"/>
                <a:gd name="T17" fmla="*/ 124 h 175"/>
                <a:gd name="T18" fmla="*/ 84 w 130"/>
                <a:gd name="T19" fmla="*/ 66 h 175"/>
                <a:gd name="T20" fmla="*/ 92 w 130"/>
                <a:gd name="T21" fmla="*/ 66 h 175"/>
                <a:gd name="T22" fmla="*/ 92 w 130"/>
                <a:gd name="T23" fmla="*/ 60 h 175"/>
                <a:gd name="T24" fmla="*/ 63 w 130"/>
                <a:gd name="T25" fmla="*/ 29 h 175"/>
                <a:gd name="T26" fmla="*/ 18 w 130"/>
                <a:gd name="T27" fmla="*/ 45 h 175"/>
                <a:gd name="T28" fmla="*/ 15 w 130"/>
                <a:gd name="T29" fmla="*/ 13 h 175"/>
                <a:gd name="T30" fmla="*/ 90 w 130"/>
                <a:gd name="T31" fmla="*/ 92 h 175"/>
                <a:gd name="T32" fmla="*/ 37 w 130"/>
                <a:gd name="T33" fmla="*/ 124 h 175"/>
                <a:gd name="T34" fmla="*/ 60 w 130"/>
                <a:gd name="T35" fmla="*/ 150 h 175"/>
                <a:gd name="T36" fmla="*/ 92 w 130"/>
                <a:gd name="T37" fmla="*/ 100 h 175"/>
                <a:gd name="T38" fmla="*/ 92 w 130"/>
                <a:gd name="T39" fmla="*/ 92 h 175"/>
                <a:gd name="T40" fmla="*/ 90 w 130"/>
                <a:gd name="T41" fmla="*/ 9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5">
                  <a:moveTo>
                    <a:pt x="15" y="13"/>
                  </a:moveTo>
                  <a:cubicBezTo>
                    <a:pt x="26" y="7"/>
                    <a:pt x="42" y="0"/>
                    <a:pt x="66" y="0"/>
                  </a:cubicBezTo>
                  <a:cubicBezTo>
                    <a:pt x="116" y="0"/>
                    <a:pt x="127" y="26"/>
                    <a:pt x="127" y="68"/>
                  </a:cubicBezTo>
                  <a:lnTo>
                    <a:pt x="127" y="143"/>
                  </a:lnTo>
                  <a:cubicBezTo>
                    <a:pt x="127" y="156"/>
                    <a:pt x="127" y="166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6"/>
                    <a:pt x="92" y="148"/>
                  </a:cubicBezTo>
                  <a:cubicBezTo>
                    <a:pt x="82" y="161"/>
                    <a:pt x="71" y="174"/>
                    <a:pt x="47" y="174"/>
                  </a:cubicBezTo>
                  <a:cubicBezTo>
                    <a:pt x="23" y="174"/>
                    <a:pt x="0" y="156"/>
                    <a:pt x="0" y="124"/>
                  </a:cubicBezTo>
                  <a:cubicBezTo>
                    <a:pt x="0" y="76"/>
                    <a:pt x="34" y="66"/>
                    <a:pt x="84" y="66"/>
                  </a:cubicBezTo>
                  <a:lnTo>
                    <a:pt x="92" y="66"/>
                  </a:lnTo>
                  <a:lnTo>
                    <a:pt x="92" y="60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39"/>
                    <a:pt x="18" y="45"/>
                  </a:cubicBezTo>
                  <a:lnTo>
                    <a:pt x="15" y="13"/>
                  </a:lnTo>
                  <a:close/>
                  <a:moveTo>
                    <a:pt x="90" y="92"/>
                  </a:moveTo>
                  <a:cubicBezTo>
                    <a:pt x="58" y="92"/>
                    <a:pt x="37" y="100"/>
                    <a:pt x="37" y="124"/>
                  </a:cubicBezTo>
                  <a:cubicBezTo>
                    <a:pt x="37" y="140"/>
                    <a:pt x="47" y="150"/>
                    <a:pt x="60" y="150"/>
                  </a:cubicBezTo>
                  <a:cubicBezTo>
                    <a:pt x="84" y="150"/>
                    <a:pt x="92" y="132"/>
                    <a:pt x="92" y="100"/>
                  </a:cubicBezTo>
                  <a:lnTo>
                    <a:pt x="92" y="92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" name="Freeform 86">
              <a:extLst>
                <a:ext uri="{FF2B5EF4-FFF2-40B4-BE49-F238E27FC236}">
                  <a16:creationId xmlns:a16="http://schemas.microsoft.com/office/drawing/2014/main" id="{7574680B-1D26-4841-8C53-A4D841B78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38" y="2247900"/>
              <a:ext cx="34925" cy="80963"/>
            </a:xfrm>
            <a:custGeom>
              <a:avLst/>
              <a:gdLst>
                <a:gd name="T0" fmla="*/ 24 w 99"/>
                <a:gd name="T1" fmla="*/ 13 h 223"/>
                <a:gd name="T2" fmla="*/ 64 w 99"/>
                <a:gd name="T3" fmla="*/ 0 h 223"/>
                <a:gd name="T4" fmla="*/ 64 w 99"/>
                <a:gd name="T5" fmla="*/ 47 h 223"/>
                <a:gd name="T6" fmla="*/ 96 w 99"/>
                <a:gd name="T7" fmla="*/ 47 h 223"/>
                <a:gd name="T8" fmla="*/ 96 w 99"/>
                <a:gd name="T9" fmla="*/ 76 h 223"/>
                <a:gd name="T10" fmla="*/ 64 w 99"/>
                <a:gd name="T11" fmla="*/ 76 h 223"/>
                <a:gd name="T12" fmla="*/ 64 w 99"/>
                <a:gd name="T13" fmla="*/ 166 h 223"/>
                <a:gd name="T14" fmla="*/ 83 w 99"/>
                <a:gd name="T15" fmla="*/ 190 h 223"/>
                <a:gd name="T16" fmla="*/ 98 w 99"/>
                <a:gd name="T17" fmla="*/ 188 h 223"/>
                <a:gd name="T18" fmla="*/ 98 w 99"/>
                <a:gd name="T19" fmla="*/ 217 h 223"/>
                <a:gd name="T20" fmla="*/ 72 w 99"/>
                <a:gd name="T21" fmla="*/ 222 h 223"/>
                <a:gd name="T22" fmla="*/ 27 w 99"/>
                <a:gd name="T23" fmla="*/ 172 h 223"/>
                <a:gd name="T24" fmla="*/ 27 w 99"/>
                <a:gd name="T25" fmla="*/ 76 h 223"/>
                <a:gd name="T26" fmla="*/ 0 w 99"/>
                <a:gd name="T27" fmla="*/ 76 h 223"/>
                <a:gd name="T28" fmla="*/ 0 w 99"/>
                <a:gd name="T29" fmla="*/ 47 h 223"/>
                <a:gd name="T30" fmla="*/ 27 w 99"/>
                <a:gd name="T31" fmla="*/ 47 h 223"/>
                <a:gd name="T32" fmla="*/ 24 w 99"/>
                <a:gd name="T33" fmla="*/ 1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223">
                  <a:moveTo>
                    <a:pt x="24" y="13"/>
                  </a:moveTo>
                  <a:lnTo>
                    <a:pt x="64" y="0"/>
                  </a:lnTo>
                  <a:lnTo>
                    <a:pt x="64" y="47"/>
                  </a:lnTo>
                  <a:lnTo>
                    <a:pt x="96" y="47"/>
                  </a:lnTo>
                  <a:lnTo>
                    <a:pt x="96" y="76"/>
                  </a:lnTo>
                  <a:lnTo>
                    <a:pt x="64" y="76"/>
                  </a:lnTo>
                  <a:lnTo>
                    <a:pt x="64" y="166"/>
                  </a:lnTo>
                  <a:cubicBezTo>
                    <a:pt x="64" y="185"/>
                    <a:pt x="69" y="190"/>
                    <a:pt x="83" y="190"/>
                  </a:cubicBezTo>
                  <a:cubicBezTo>
                    <a:pt x="90" y="190"/>
                    <a:pt x="93" y="188"/>
                    <a:pt x="98" y="188"/>
                  </a:cubicBezTo>
                  <a:lnTo>
                    <a:pt x="98" y="217"/>
                  </a:lnTo>
                  <a:cubicBezTo>
                    <a:pt x="93" y="219"/>
                    <a:pt x="85" y="222"/>
                    <a:pt x="72" y="222"/>
                  </a:cubicBezTo>
                  <a:cubicBezTo>
                    <a:pt x="43" y="222"/>
                    <a:pt x="27" y="209"/>
                    <a:pt x="27" y="172"/>
                  </a:cubicBezTo>
                  <a:lnTo>
                    <a:pt x="27" y="76"/>
                  </a:lnTo>
                  <a:lnTo>
                    <a:pt x="0" y="76"/>
                  </a:lnTo>
                  <a:lnTo>
                    <a:pt x="0" y="47"/>
                  </a:lnTo>
                  <a:lnTo>
                    <a:pt x="27" y="47"/>
                  </a:lnTo>
                  <a:lnTo>
                    <a:pt x="24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" name="Freeform 87">
              <a:extLst>
                <a:ext uri="{FF2B5EF4-FFF2-40B4-BE49-F238E27FC236}">
                  <a16:creationId xmlns:a16="http://schemas.microsoft.com/office/drawing/2014/main" id="{7B9AC328-0524-8F4A-B5FB-D298C70E2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288" y="2238375"/>
              <a:ext cx="15875" cy="88900"/>
            </a:xfrm>
            <a:custGeom>
              <a:avLst/>
              <a:gdLst>
                <a:gd name="T0" fmla="*/ 0 w 43"/>
                <a:gd name="T1" fmla="*/ 0 h 247"/>
                <a:gd name="T2" fmla="*/ 40 w 43"/>
                <a:gd name="T3" fmla="*/ 0 h 247"/>
                <a:gd name="T4" fmla="*/ 40 w 43"/>
                <a:gd name="T5" fmla="*/ 39 h 247"/>
                <a:gd name="T6" fmla="*/ 0 w 43"/>
                <a:gd name="T7" fmla="*/ 39 h 247"/>
                <a:gd name="T8" fmla="*/ 0 w 43"/>
                <a:gd name="T9" fmla="*/ 0 h 247"/>
                <a:gd name="T10" fmla="*/ 3 w 43"/>
                <a:gd name="T11" fmla="*/ 74 h 247"/>
                <a:gd name="T12" fmla="*/ 42 w 43"/>
                <a:gd name="T13" fmla="*/ 74 h 247"/>
                <a:gd name="T14" fmla="*/ 42 w 43"/>
                <a:gd name="T15" fmla="*/ 246 h 247"/>
                <a:gd name="T16" fmla="*/ 3 w 43"/>
                <a:gd name="T17" fmla="*/ 246 h 247"/>
                <a:gd name="T18" fmla="*/ 3 w 43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47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3" y="74"/>
                  </a:moveTo>
                  <a:lnTo>
                    <a:pt x="42" y="74"/>
                  </a:lnTo>
                  <a:lnTo>
                    <a:pt x="42" y="246"/>
                  </a:lnTo>
                  <a:lnTo>
                    <a:pt x="3" y="246"/>
                  </a:lnTo>
                  <a:lnTo>
                    <a:pt x="3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" name="Freeform 88">
              <a:extLst>
                <a:ext uri="{FF2B5EF4-FFF2-40B4-BE49-F238E27FC236}">
                  <a16:creationId xmlns:a16="http://schemas.microsoft.com/office/drawing/2014/main" id="{068C3626-ED1E-6B4D-935A-6A57FCB16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7863" y="2263775"/>
              <a:ext cx="52387" cy="65088"/>
            </a:xfrm>
            <a:custGeom>
              <a:avLst/>
              <a:gdLst>
                <a:gd name="T0" fmla="*/ 143 w 144"/>
                <a:gd name="T1" fmla="*/ 88 h 179"/>
                <a:gd name="T2" fmla="*/ 71 w 144"/>
                <a:gd name="T3" fmla="*/ 178 h 179"/>
                <a:gd name="T4" fmla="*/ 0 w 144"/>
                <a:gd name="T5" fmla="*/ 88 h 179"/>
                <a:gd name="T6" fmla="*/ 71 w 144"/>
                <a:gd name="T7" fmla="*/ 0 h 179"/>
                <a:gd name="T8" fmla="*/ 143 w 144"/>
                <a:gd name="T9" fmla="*/ 88 h 179"/>
                <a:gd name="T10" fmla="*/ 103 w 144"/>
                <a:gd name="T11" fmla="*/ 88 h 179"/>
                <a:gd name="T12" fmla="*/ 71 w 144"/>
                <a:gd name="T13" fmla="*/ 29 h 179"/>
                <a:gd name="T14" fmla="*/ 39 w 144"/>
                <a:gd name="T15" fmla="*/ 88 h 179"/>
                <a:gd name="T16" fmla="*/ 71 w 144"/>
                <a:gd name="T17" fmla="*/ 146 h 179"/>
                <a:gd name="T18" fmla="*/ 103 w 144"/>
                <a:gd name="T19" fmla="*/ 8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79">
                  <a:moveTo>
                    <a:pt x="143" y="88"/>
                  </a:moveTo>
                  <a:cubicBezTo>
                    <a:pt x="143" y="159"/>
                    <a:pt x="106" y="178"/>
                    <a:pt x="71" y="178"/>
                  </a:cubicBezTo>
                  <a:cubicBezTo>
                    <a:pt x="39" y="178"/>
                    <a:pt x="0" y="162"/>
                    <a:pt x="0" y="88"/>
                  </a:cubicBezTo>
                  <a:cubicBezTo>
                    <a:pt x="0" y="19"/>
                    <a:pt x="39" y="0"/>
                    <a:pt x="71" y="0"/>
                  </a:cubicBezTo>
                  <a:cubicBezTo>
                    <a:pt x="103" y="0"/>
                    <a:pt x="143" y="19"/>
                    <a:pt x="143" y="88"/>
                  </a:cubicBezTo>
                  <a:close/>
                  <a:moveTo>
                    <a:pt x="103" y="88"/>
                  </a:moveTo>
                  <a:cubicBezTo>
                    <a:pt x="103" y="58"/>
                    <a:pt x="98" y="29"/>
                    <a:pt x="71" y="29"/>
                  </a:cubicBezTo>
                  <a:cubicBezTo>
                    <a:pt x="47" y="29"/>
                    <a:pt x="39" y="58"/>
                    <a:pt x="39" y="88"/>
                  </a:cubicBezTo>
                  <a:cubicBezTo>
                    <a:pt x="39" y="117"/>
                    <a:pt x="47" y="146"/>
                    <a:pt x="71" y="146"/>
                  </a:cubicBezTo>
                  <a:cubicBezTo>
                    <a:pt x="95" y="146"/>
                    <a:pt x="103" y="114"/>
                    <a:pt x="103" y="8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" name="Freeform 89">
              <a:extLst>
                <a:ext uri="{FF2B5EF4-FFF2-40B4-BE49-F238E27FC236}">
                  <a16:creationId xmlns:a16="http://schemas.microsoft.com/office/drawing/2014/main" id="{6D72052E-5FDE-FF40-B3FA-1AF20F73E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9775" y="2263775"/>
              <a:ext cx="46038" cy="63500"/>
            </a:xfrm>
            <a:custGeom>
              <a:avLst/>
              <a:gdLst>
                <a:gd name="T0" fmla="*/ 0 w 129"/>
                <a:gd name="T1" fmla="*/ 31 h 178"/>
                <a:gd name="T2" fmla="*/ 0 w 129"/>
                <a:gd name="T3" fmla="*/ 2 h 178"/>
                <a:gd name="T4" fmla="*/ 38 w 129"/>
                <a:gd name="T5" fmla="*/ 2 h 178"/>
                <a:gd name="T6" fmla="*/ 38 w 129"/>
                <a:gd name="T7" fmla="*/ 29 h 178"/>
                <a:gd name="T8" fmla="*/ 38 w 129"/>
                <a:gd name="T9" fmla="*/ 29 h 178"/>
                <a:gd name="T10" fmla="*/ 38 w 129"/>
                <a:gd name="T11" fmla="*/ 29 h 178"/>
                <a:gd name="T12" fmla="*/ 80 w 129"/>
                <a:gd name="T13" fmla="*/ 0 h 178"/>
                <a:gd name="T14" fmla="*/ 128 w 129"/>
                <a:gd name="T15" fmla="*/ 63 h 178"/>
                <a:gd name="T16" fmla="*/ 128 w 129"/>
                <a:gd name="T17" fmla="*/ 174 h 178"/>
                <a:gd name="T18" fmla="*/ 88 w 129"/>
                <a:gd name="T19" fmla="*/ 174 h 178"/>
                <a:gd name="T20" fmla="*/ 88 w 129"/>
                <a:gd name="T21" fmla="*/ 74 h 178"/>
                <a:gd name="T22" fmla="*/ 67 w 129"/>
                <a:gd name="T23" fmla="*/ 37 h 178"/>
                <a:gd name="T24" fmla="*/ 40 w 129"/>
                <a:gd name="T25" fmla="*/ 76 h 178"/>
                <a:gd name="T26" fmla="*/ 40 w 129"/>
                <a:gd name="T27" fmla="*/ 177 h 178"/>
                <a:gd name="T28" fmla="*/ 0 w 129"/>
                <a:gd name="T29" fmla="*/ 177 h 178"/>
                <a:gd name="T30" fmla="*/ 0 w 129"/>
                <a:gd name="T31" fmla="*/ 3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9" h="178">
                  <a:moveTo>
                    <a:pt x="0" y="31"/>
                  </a:moveTo>
                  <a:cubicBezTo>
                    <a:pt x="0" y="21"/>
                    <a:pt x="0" y="10"/>
                    <a:pt x="0" y="2"/>
                  </a:cubicBezTo>
                  <a:lnTo>
                    <a:pt x="38" y="2"/>
                  </a:lnTo>
                  <a:cubicBezTo>
                    <a:pt x="38" y="10"/>
                    <a:pt x="38" y="21"/>
                    <a:pt x="38" y="29"/>
                  </a:cubicBezTo>
                  <a:lnTo>
                    <a:pt x="38" y="29"/>
                  </a:lnTo>
                  <a:lnTo>
                    <a:pt x="38" y="29"/>
                  </a:lnTo>
                  <a:cubicBezTo>
                    <a:pt x="43" y="18"/>
                    <a:pt x="53" y="0"/>
                    <a:pt x="80" y="0"/>
                  </a:cubicBezTo>
                  <a:cubicBezTo>
                    <a:pt x="117" y="0"/>
                    <a:pt x="128" y="29"/>
                    <a:pt x="128" y="63"/>
                  </a:cubicBezTo>
                  <a:lnTo>
                    <a:pt x="128" y="174"/>
                  </a:lnTo>
                  <a:lnTo>
                    <a:pt x="88" y="174"/>
                  </a:lnTo>
                  <a:lnTo>
                    <a:pt x="88" y="74"/>
                  </a:lnTo>
                  <a:cubicBezTo>
                    <a:pt x="88" y="47"/>
                    <a:pt x="83" y="37"/>
                    <a:pt x="67" y="37"/>
                  </a:cubicBezTo>
                  <a:cubicBezTo>
                    <a:pt x="45" y="37"/>
                    <a:pt x="40" y="55"/>
                    <a:pt x="40" y="76"/>
                  </a:cubicBezTo>
                  <a:lnTo>
                    <a:pt x="40" y="177"/>
                  </a:lnTo>
                  <a:lnTo>
                    <a:pt x="0" y="177"/>
                  </a:lnTo>
                  <a:lnTo>
                    <a:pt x="0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8" name="Freeform 90">
              <a:extLst>
                <a:ext uri="{FF2B5EF4-FFF2-40B4-BE49-F238E27FC236}">
                  <a16:creationId xmlns:a16="http://schemas.microsoft.com/office/drawing/2014/main" id="{0B41AE1E-4E4E-1345-A2AB-A1D842AD6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5850" y="2014538"/>
              <a:ext cx="339725" cy="336550"/>
            </a:xfrm>
            <a:custGeom>
              <a:avLst/>
              <a:gdLst>
                <a:gd name="T0" fmla="*/ 0 w 943"/>
                <a:gd name="T1" fmla="*/ 466 h 933"/>
                <a:gd name="T2" fmla="*/ 471 w 943"/>
                <a:gd name="T3" fmla="*/ 0 h 933"/>
                <a:gd name="T4" fmla="*/ 942 w 943"/>
                <a:gd name="T5" fmla="*/ 466 h 933"/>
                <a:gd name="T6" fmla="*/ 471 w 943"/>
                <a:gd name="T7" fmla="*/ 932 h 933"/>
                <a:gd name="T8" fmla="*/ 0 w 943"/>
                <a:gd name="T9" fmla="*/ 466 h 933"/>
                <a:gd name="T10" fmla="*/ 21 w 943"/>
                <a:gd name="T11" fmla="*/ 466 h 933"/>
                <a:gd name="T12" fmla="*/ 471 w 943"/>
                <a:gd name="T13" fmla="*/ 911 h 933"/>
                <a:gd name="T14" fmla="*/ 920 w 943"/>
                <a:gd name="T15" fmla="*/ 466 h 933"/>
                <a:gd name="T16" fmla="*/ 471 w 943"/>
                <a:gd name="T17" fmla="*/ 22 h 933"/>
                <a:gd name="T18" fmla="*/ 21 w 943"/>
                <a:gd name="T19" fmla="*/ 466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3" h="933">
                  <a:moveTo>
                    <a:pt x="0" y="466"/>
                  </a:moveTo>
                  <a:cubicBezTo>
                    <a:pt x="0" y="209"/>
                    <a:pt x="211" y="0"/>
                    <a:pt x="471" y="0"/>
                  </a:cubicBezTo>
                  <a:cubicBezTo>
                    <a:pt x="730" y="0"/>
                    <a:pt x="942" y="209"/>
                    <a:pt x="942" y="466"/>
                  </a:cubicBezTo>
                  <a:cubicBezTo>
                    <a:pt x="942" y="722"/>
                    <a:pt x="730" y="932"/>
                    <a:pt x="471" y="932"/>
                  </a:cubicBezTo>
                  <a:cubicBezTo>
                    <a:pt x="211" y="932"/>
                    <a:pt x="0" y="722"/>
                    <a:pt x="0" y="466"/>
                  </a:cubicBezTo>
                  <a:close/>
                  <a:moveTo>
                    <a:pt x="21" y="466"/>
                  </a:moveTo>
                  <a:cubicBezTo>
                    <a:pt x="21" y="710"/>
                    <a:pt x="222" y="911"/>
                    <a:pt x="471" y="911"/>
                  </a:cubicBezTo>
                  <a:cubicBezTo>
                    <a:pt x="719" y="911"/>
                    <a:pt x="920" y="713"/>
                    <a:pt x="920" y="466"/>
                  </a:cubicBezTo>
                  <a:cubicBezTo>
                    <a:pt x="920" y="223"/>
                    <a:pt x="719" y="22"/>
                    <a:pt x="471" y="22"/>
                  </a:cubicBezTo>
                  <a:cubicBezTo>
                    <a:pt x="222" y="22"/>
                    <a:pt x="21" y="220"/>
                    <a:pt x="21" y="46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9" name="Freeform 91">
              <a:extLst>
                <a:ext uri="{FF2B5EF4-FFF2-40B4-BE49-F238E27FC236}">
                  <a16:creationId xmlns:a16="http://schemas.microsoft.com/office/drawing/2014/main" id="{93679C08-D89F-4344-B142-55DB6CCDD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0300" y="2060575"/>
              <a:ext cx="252413" cy="242888"/>
            </a:xfrm>
            <a:custGeom>
              <a:avLst/>
              <a:gdLst>
                <a:gd name="T0" fmla="*/ 0 w 701"/>
                <a:gd name="T1" fmla="*/ 336 h 674"/>
                <a:gd name="T2" fmla="*/ 349 w 701"/>
                <a:gd name="T3" fmla="*/ 0 h 674"/>
                <a:gd name="T4" fmla="*/ 698 w 701"/>
                <a:gd name="T5" fmla="*/ 336 h 674"/>
                <a:gd name="T6" fmla="*/ 349 w 701"/>
                <a:gd name="T7" fmla="*/ 673 h 674"/>
                <a:gd name="T8" fmla="*/ 0 w 701"/>
                <a:gd name="T9" fmla="*/ 336 h 674"/>
                <a:gd name="T10" fmla="*/ 24 w 701"/>
                <a:gd name="T11" fmla="*/ 336 h 674"/>
                <a:gd name="T12" fmla="*/ 349 w 701"/>
                <a:gd name="T13" fmla="*/ 649 h 674"/>
                <a:gd name="T14" fmla="*/ 674 w 701"/>
                <a:gd name="T15" fmla="*/ 336 h 674"/>
                <a:gd name="T16" fmla="*/ 349 w 701"/>
                <a:gd name="T17" fmla="*/ 24 h 674"/>
                <a:gd name="T18" fmla="*/ 24 w 701"/>
                <a:gd name="T19" fmla="*/ 336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1" h="674">
                  <a:moveTo>
                    <a:pt x="0" y="336"/>
                  </a:moveTo>
                  <a:cubicBezTo>
                    <a:pt x="0" y="150"/>
                    <a:pt x="155" y="0"/>
                    <a:pt x="349" y="0"/>
                  </a:cubicBezTo>
                  <a:cubicBezTo>
                    <a:pt x="542" y="0"/>
                    <a:pt x="698" y="151"/>
                    <a:pt x="698" y="336"/>
                  </a:cubicBezTo>
                  <a:cubicBezTo>
                    <a:pt x="700" y="522"/>
                    <a:pt x="542" y="673"/>
                    <a:pt x="349" y="673"/>
                  </a:cubicBezTo>
                  <a:cubicBezTo>
                    <a:pt x="155" y="673"/>
                    <a:pt x="0" y="521"/>
                    <a:pt x="0" y="336"/>
                  </a:cubicBezTo>
                  <a:close/>
                  <a:moveTo>
                    <a:pt x="24" y="336"/>
                  </a:moveTo>
                  <a:cubicBezTo>
                    <a:pt x="24" y="508"/>
                    <a:pt x="169" y="649"/>
                    <a:pt x="349" y="649"/>
                  </a:cubicBezTo>
                  <a:cubicBezTo>
                    <a:pt x="528" y="649"/>
                    <a:pt x="674" y="509"/>
                    <a:pt x="674" y="336"/>
                  </a:cubicBezTo>
                  <a:cubicBezTo>
                    <a:pt x="674" y="164"/>
                    <a:pt x="528" y="24"/>
                    <a:pt x="349" y="24"/>
                  </a:cubicBezTo>
                  <a:cubicBezTo>
                    <a:pt x="169" y="24"/>
                    <a:pt x="24" y="163"/>
                    <a:pt x="24" y="33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0" name="Freeform 92">
              <a:extLst>
                <a:ext uri="{FF2B5EF4-FFF2-40B4-BE49-F238E27FC236}">
                  <a16:creationId xmlns:a16="http://schemas.microsoft.com/office/drawing/2014/main" id="{9DB75B92-66D1-0E41-97A5-EA4032A1A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2124075"/>
              <a:ext cx="20638" cy="20638"/>
            </a:xfrm>
            <a:custGeom>
              <a:avLst/>
              <a:gdLst>
                <a:gd name="T0" fmla="*/ 32 w 59"/>
                <a:gd name="T1" fmla="*/ 0 h 57"/>
                <a:gd name="T2" fmla="*/ 37 w 59"/>
                <a:gd name="T3" fmla="*/ 24 h 57"/>
                <a:gd name="T4" fmla="*/ 58 w 59"/>
                <a:gd name="T5" fmla="*/ 24 h 57"/>
                <a:gd name="T6" fmla="*/ 42 w 59"/>
                <a:gd name="T7" fmla="*/ 34 h 57"/>
                <a:gd name="T8" fmla="*/ 50 w 59"/>
                <a:gd name="T9" fmla="*/ 56 h 57"/>
                <a:gd name="T10" fmla="*/ 29 w 59"/>
                <a:gd name="T11" fmla="*/ 40 h 57"/>
                <a:gd name="T12" fmla="*/ 10 w 59"/>
                <a:gd name="T13" fmla="*/ 56 h 57"/>
                <a:gd name="T14" fmla="*/ 18 w 59"/>
                <a:gd name="T15" fmla="*/ 34 h 57"/>
                <a:gd name="T16" fmla="*/ 0 w 59"/>
                <a:gd name="T17" fmla="*/ 24 h 57"/>
                <a:gd name="T18" fmla="*/ 21 w 59"/>
                <a:gd name="T19" fmla="*/ 24 h 57"/>
                <a:gd name="T20" fmla="*/ 32 w 59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7">
                  <a:moveTo>
                    <a:pt x="32" y="0"/>
                  </a:moveTo>
                  <a:lnTo>
                    <a:pt x="37" y="24"/>
                  </a:lnTo>
                  <a:lnTo>
                    <a:pt x="58" y="24"/>
                  </a:lnTo>
                  <a:lnTo>
                    <a:pt x="42" y="34"/>
                  </a:lnTo>
                  <a:lnTo>
                    <a:pt x="50" y="56"/>
                  </a:lnTo>
                  <a:lnTo>
                    <a:pt x="29" y="40"/>
                  </a:lnTo>
                  <a:lnTo>
                    <a:pt x="10" y="56"/>
                  </a:lnTo>
                  <a:lnTo>
                    <a:pt x="18" y="34"/>
                  </a:lnTo>
                  <a:lnTo>
                    <a:pt x="0" y="24"/>
                  </a:lnTo>
                  <a:lnTo>
                    <a:pt x="21" y="2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1" name="Freeform 93">
              <a:extLst>
                <a:ext uri="{FF2B5EF4-FFF2-40B4-BE49-F238E27FC236}">
                  <a16:creationId xmlns:a16="http://schemas.microsoft.com/office/drawing/2014/main" id="{A5AD1D0E-CBB7-4247-B09D-05ED2D378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8075" y="2122488"/>
              <a:ext cx="25400" cy="23812"/>
            </a:xfrm>
            <a:custGeom>
              <a:avLst/>
              <a:gdLst>
                <a:gd name="T0" fmla="*/ 56 w 70"/>
                <a:gd name="T1" fmla="*/ 63 h 64"/>
                <a:gd name="T2" fmla="*/ 35 w 70"/>
                <a:gd name="T3" fmla="*/ 45 h 64"/>
                <a:gd name="T4" fmla="*/ 16 w 70"/>
                <a:gd name="T5" fmla="*/ 61 h 64"/>
                <a:gd name="T6" fmla="*/ 14 w 70"/>
                <a:gd name="T7" fmla="*/ 61 h 64"/>
                <a:gd name="T8" fmla="*/ 22 w 70"/>
                <a:gd name="T9" fmla="*/ 39 h 64"/>
                <a:gd name="T10" fmla="*/ 0 w 70"/>
                <a:gd name="T11" fmla="*/ 26 h 64"/>
                <a:gd name="T12" fmla="*/ 25 w 70"/>
                <a:gd name="T13" fmla="*/ 26 h 64"/>
                <a:gd name="T14" fmla="*/ 24 w 70"/>
                <a:gd name="T15" fmla="*/ 29 h 64"/>
                <a:gd name="T16" fmla="*/ 8 w 70"/>
                <a:gd name="T17" fmla="*/ 29 h 64"/>
                <a:gd name="T18" fmla="*/ 24 w 70"/>
                <a:gd name="T19" fmla="*/ 39 h 64"/>
                <a:gd name="T20" fmla="*/ 19 w 70"/>
                <a:gd name="T21" fmla="*/ 58 h 64"/>
                <a:gd name="T22" fmla="*/ 35 w 70"/>
                <a:gd name="T23" fmla="*/ 42 h 64"/>
                <a:gd name="T24" fmla="*/ 51 w 70"/>
                <a:gd name="T25" fmla="*/ 55 h 64"/>
                <a:gd name="T26" fmla="*/ 46 w 70"/>
                <a:gd name="T27" fmla="*/ 39 h 64"/>
                <a:gd name="T28" fmla="*/ 59 w 70"/>
                <a:gd name="T29" fmla="*/ 29 h 64"/>
                <a:gd name="T30" fmla="*/ 38 w 70"/>
                <a:gd name="T31" fmla="*/ 29 h 64"/>
                <a:gd name="T32" fmla="*/ 33 w 70"/>
                <a:gd name="T33" fmla="*/ 11 h 64"/>
                <a:gd name="T34" fmla="*/ 38 w 70"/>
                <a:gd name="T35" fmla="*/ 0 h 64"/>
                <a:gd name="T36" fmla="*/ 46 w 70"/>
                <a:gd name="T37" fmla="*/ 26 h 64"/>
                <a:gd name="T38" fmla="*/ 69 w 70"/>
                <a:gd name="T39" fmla="*/ 26 h 64"/>
                <a:gd name="T40" fmla="*/ 51 w 70"/>
                <a:gd name="T41" fmla="*/ 42 h 64"/>
                <a:gd name="T42" fmla="*/ 56 w 70"/>
                <a:gd name="T43" fmla="*/ 63 h 64"/>
                <a:gd name="T44" fmla="*/ 27 w 70"/>
                <a:gd name="T45" fmla="*/ 26 h 64"/>
                <a:gd name="T46" fmla="*/ 33 w 70"/>
                <a:gd name="T47" fmla="*/ 11 h 64"/>
                <a:gd name="T48" fmla="*/ 32 w 70"/>
                <a:gd name="T49" fmla="*/ 8 h 64"/>
                <a:gd name="T50" fmla="*/ 25 w 70"/>
                <a:gd name="T51" fmla="*/ 26 h 64"/>
                <a:gd name="T52" fmla="*/ 27 w 70"/>
                <a:gd name="T53" fmla="*/ 2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4">
                  <a:moveTo>
                    <a:pt x="56" y="63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22" y="39"/>
                  </a:lnTo>
                  <a:lnTo>
                    <a:pt x="0" y="26"/>
                  </a:lnTo>
                  <a:lnTo>
                    <a:pt x="25" y="26"/>
                  </a:lnTo>
                  <a:lnTo>
                    <a:pt x="24" y="29"/>
                  </a:lnTo>
                  <a:lnTo>
                    <a:pt x="8" y="29"/>
                  </a:lnTo>
                  <a:lnTo>
                    <a:pt x="24" y="39"/>
                  </a:lnTo>
                  <a:lnTo>
                    <a:pt x="19" y="58"/>
                  </a:lnTo>
                  <a:lnTo>
                    <a:pt x="35" y="42"/>
                  </a:lnTo>
                  <a:lnTo>
                    <a:pt x="51" y="55"/>
                  </a:lnTo>
                  <a:lnTo>
                    <a:pt x="46" y="39"/>
                  </a:lnTo>
                  <a:lnTo>
                    <a:pt x="59" y="29"/>
                  </a:lnTo>
                  <a:lnTo>
                    <a:pt x="38" y="29"/>
                  </a:lnTo>
                  <a:lnTo>
                    <a:pt x="33" y="11"/>
                  </a:lnTo>
                  <a:lnTo>
                    <a:pt x="38" y="0"/>
                  </a:lnTo>
                  <a:lnTo>
                    <a:pt x="46" y="26"/>
                  </a:lnTo>
                  <a:lnTo>
                    <a:pt x="69" y="26"/>
                  </a:lnTo>
                  <a:lnTo>
                    <a:pt x="51" y="42"/>
                  </a:lnTo>
                  <a:lnTo>
                    <a:pt x="56" y="63"/>
                  </a:lnTo>
                  <a:close/>
                  <a:moveTo>
                    <a:pt x="27" y="26"/>
                  </a:moveTo>
                  <a:lnTo>
                    <a:pt x="33" y="11"/>
                  </a:lnTo>
                  <a:lnTo>
                    <a:pt x="32" y="8"/>
                  </a:lnTo>
                  <a:lnTo>
                    <a:pt x="25" y="26"/>
                  </a:ln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" name="Freeform 94">
              <a:extLst>
                <a:ext uri="{FF2B5EF4-FFF2-40B4-BE49-F238E27FC236}">
                  <a16:creationId xmlns:a16="http://schemas.microsoft.com/office/drawing/2014/main" id="{B2A03268-2FB3-064B-944E-DAA0F1416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2239963"/>
              <a:ext cx="22225" cy="20637"/>
            </a:xfrm>
            <a:custGeom>
              <a:avLst/>
              <a:gdLst>
                <a:gd name="T0" fmla="*/ 32 w 62"/>
                <a:gd name="T1" fmla="*/ 0 h 57"/>
                <a:gd name="T2" fmla="*/ 37 w 62"/>
                <a:gd name="T3" fmla="*/ 21 h 57"/>
                <a:gd name="T4" fmla="*/ 61 w 62"/>
                <a:gd name="T5" fmla="*/ 21 h 57"/>
                <a:gd name="T6" fmla="*/ 45 w 62"/>
                <a:gd name="T7" fmla="*/ 34 h 57"/>
                <a:gd name="T8" fmla="*/ 51 w 62"/>
                <a:gd name="T9" fmla="*/ 56 h 57"/>
                <a:gd name="T10" fmla="*/ 32 w 62"/>
                <a:gd name="T11" fmla="*/ 40 h 57"/>
                <a:gd name="T12" fmla="*/ 11 w 62"/>
                <a:gd name="T13" fmla="*/ 56 h 57"/>
                <a:gd name="T14" fmla="*/ 19 w 62"/>
                <a:gd name="T15" fmla="*/ 34 h 57"/>
                <a:gd name="T16" fmla="*/ 0 w 62"/>
                <a:gd name="T17" fmla="*/ 21 h 57"/>
                <a:gd name="T18" fmla="*/ 22 w 62"/>
                <a:gd name="T19" fmla="*/ 24 h 57"/>
                <a:gd name="T20" fmla="*/ 32 w 62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57">
                  <a:moveTo>
                    <a:pt x="32" y="0"/>
                  </a:moveTo>
                  <a:lnTo>
                    <a:pt x="37" y="21"/>
                  </a:lnTo>
                  <a:lnTo>
                    <a:pt x="61" y="21"/>
                  </a:lnTo>
                  <a:lnTo>
                    <a:pt x="45" y="34"/>
                  </a:lnTo>
                  <a:lnTo>
                    <a:pt x="51" y="56"/>
                  </a:lnTo>
                  <a:lnTo>
                    <a:pt x="32" y="40"/>
                  </a:lnTo>
                  <a:lnTo>
                    <a:pt x="11" y="56"/>
                  </a:lnTo>
                  <a:lnTo>
                    <a:pt x="19" y="34"/>
                  </a:lnTo>
                  <a:lnTo>
                    <a:pt x="0" y="21"/>
                  </a:lnTo>
                  <a:lnTo>
                    <a:pt x="22" y="2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" name="Freeform 95">
              <a:extLst>
                <a:ext uri="{FF2B5EF4-FFF2-40B4-BE49-F238E27FC236}">
                  <a16:creationId xmlns:a16="http://schemas.microsoft.com/office/drawing/2014/main" id="{A9893445-5887-F242-BB71-BDC1684625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2238375"/>
              <a:ext cx="25400" cy="23813"/>
            </a:xfrm>
            <a:custGeom>
              <a:avLst/>
              <a:gdLst>
                <a:gd name="T0" fmla="*/ 55 w 70"/>
                <a:gd name="T1" fmla="*/ 63 h 64"/>
                <a:gd name="T2" fmla="*/ 34 w 70"/>
                <a:gd name="T3" fmla="*/ 45 h 64"/>
                <a:gd name="T4" fmla="*/ 16 w 70"/>
                <a:gd name="T5" fmla="*/ 61 h 64"/>
                <a:gd name="T6" fmla="*/ 13 w 70"/>
                <a:gd name="T7" fmla="*/ 61 h 64"/>
                <a:gd name="T8" fmla="*/ 21 w 70"/>
                <a:gd name="T9" fmla="*/ 39 h 64"/>
                <a:gd name="T10" fmla="*/ 0 w 70"/>
                <a:gd name="T11" fmla="*/ 26 h 64"/>
                <a:gd name="T12" fmla="*/ 22 w 70"/>
                <a:gd name="T13" fmla="*/ 26 h 64"/>
                <a:gd name="T14" fmla="*/ 21 w 70"/>
                <a:gd name="T15" fmla="*/ 29 h 64"/>
                <a:gd name="T16" fmla="*/ 5 w 70"/>
                <a:gd name="T17" fmla="*/ 29 h 64"/>
                <a:gd name="T18" fmla="*/ 21 w 70"/>
                <a:gd name="T19" fmla="*/ 39 h 64"/>
                <a:gd name="T20" fmla="*/ 16 w 70"/>
                <a:gd name="T21" fmla="*/ 58 h 64"/>
                <a:gd name="T22" fmla="*/ 32 w 70"/>
                <a:gd name="T23" fmla="*/ 42 h 64"/>
                <a:gd name="T24" fmla="*/ 47 w 70"/>
                <a:gd name="T25" fmla="*/ 55 h 64"/>
                <a:gd name="T26" fmla="*/ 42 w 70"/>
                <a:gd name="T27" fmla="*/ 39 h 64"/>
                <a:gd name="T28" fmla="*/ 55 w 70"/>
                <a:gd name="T29" fmla="*/ 29 h 64"/>
                <a:gd name="T30" fmla="*/ 34 w 70"/>
                <a:gd name="T31" fmla="*/ 29 h 64"/>
                <a:gd name="T32" fmla="*/ 31 w 70"/>
                <a:gd name="T33" fmla="*/ 15 h 64"/>
                <a:gd name="T34" fmla="*/ 37 w 70"/>
                <a:gd name="T35" fmla="*/ 0 h 64"/>
                <a:gd name="T36" fmla="*/ 45 w 70"/>
                <a:gd name="T37" fmla="*/ 26 h 64"/>
                <a:gd name="T38" fmla="*/ 69 w 70"/>
                <a:gd name="T39" fmla="*/ 26 h 64"/>
                <a:gd name="T40" fmla="*/ 50 w 70"/>
                <a:gd name="T41" fmla="*/ 39 h 64"/>
                <a:gd name="T42" fmla="*/ 55 w 70"/>
                <a:gd name="T43" fmla="*/ 63 h 64"/>
                <a:gd name="T44" fmla="*/ 26 w 70"/>
                <a:gd name="T45" fmla="*/ 26 h 64"/>
                <a:gd name="T46" fmla="*/ 31 w 70"/>
                <a:gd name="T47" fmla="*/ 15 h 64"/>
                <a:gd name="T48" fmla="*/ 29 w 70"/>
                <a:gd name="T49" fmla="*/ 8 h 64"/>
                <a:gd name="T50" fmla="*/ 22 w 70"/>
                <a:gd name="T51" fmla="*/ 26 h 64"/>
                <a:gd name="T52" fmla="*/ 26 w 70"/>
                <a:gd name="T53" fmla="*/ 2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4">
                  <a:moveTo>
                    <a:pt x="55" y="63"/>
                  </a:moveTo>
                  <a:lnTo>
                    <a:pt x="34" y="45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39"/>
                  </a:lnTo>
                  <a:lnTo>
                    <a:pt x="0" y="26"/>
                  </a:lnTo>
                  <a:lnTo>
                    <a:pt x="22" y="26"/>
                  </a:lnTo>
                  <a:lnTo>
                    <a:pt x="21" y="29"/>
                  </a:lnTo>
                  <a:lnTo>
                    <a:pt x="5" y="29"/>
                  </a:lnTo>
                  <a:lnTo>
                    <a:pt x="21" y="39"/>
                  </a:lnTo>
                  <a:lnTo>
                    <a:pt x="16" y="58"/>
                  </a:lnTo>
                  <a:lnTo>
                    <a:pt x="32" y="42"/>
                  </a:lnTo>
                  <a:lnTo>
                    <a:pt x="47" y="55"/>
                  </a:lnTo>
                  <a:lnTo>
                    <a:pt x="42" y="39"/>
                  </a:lnTo>
                  <a:lnTo>
                    <a:pt x="55" y="29"/>
                  </a:lnTo>
                  <a:lnTo>
                    <a:pt x="34" y="29"/>
                  </a:lnTo>
                  <a:lnTo>
                    <a:pt x="31" y="15"/>
                  </a:lnTo>
                  <a:lnTo>
                    <a:pt x="37" y="0"/>
                  </a:lnTo>
                  <a:lnTo>
                    <a:pt x="45" y="26"/>
                  </a:lnTo>
                  <a:lnTo>
                    <a:pt x="69" y="26"/>
                  </a:lnTo>
                  <a:lnTo>
                    <a:pt x="50" y="39"/>
                  </a:lnTo>
                  <a:lnTo>
                    <a:pt x="55" y="63"/>
                  </a:lnTo>
                  <a:close/>
                  <a:moveTo>
                    <a:pt x="26" y="26"/>
                  </a:moveTo>
                  <a:lnTo>
                    <a:pt x="31" y="15"/>
                  </a:lnTo>
                  <a:lnTo>
                    <a:pt x="29" y="8"/>
                  </a:lnTo>
                  <a:lnTo>
                    <a:pt x="22" y="26"/>
                  </a:ln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" name="Freeform 96">
              <a:extLst>
                <a:ext uri="{FF2B5EF4-FFF2-40B4-BE49-F238E27FC236}">
                  <a16:creationId xmlns:a16="http://schemas.microsoft.com/office/drawing/2014/main" id="{F9C01000-D98B-9543-88A7-3070BAD36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9188" y="2238375"/>
              <a:ext cx="20637" cy="20638"/>
            </a:xfrm>
            <a:custGeom>
              <a:avLst/>
              <a:gdLst>
                <a:gd name="T0" fmla="*/ 31 w 59"/>
                <a:gd name="T1" fmla="*/ 0 h 56"/>
                <a:gd name="T2" fmla="*/ 37 w 59"/>
                <a:gd name="T3" fmla="*/ 21 h 56"/>
                <a:gd name="T4" fmla="*/ 58 w 59"/>
                <a:gd name="T5" fmla="*/ 21 h 56"/>
                <a:gd name="T6" fmla="*/ 42 w 59"/>
                <a:gd name="T7" fmla="*/ 34 h 56"/>
                <a:gd name="T8" fmla="*/ 50 w 59"/>
                <a:gd name="T9" fmla="*/ 55 h 56"/>
                <a:gd name="T10" fmla="*/ 29 w 59"/>
                <a:gd name="T11" fmla="*/ 39 h 56"/>
                <a:gd name="T12" fmla="*/ 10 w 59"/>
                <a:gd name="T13" fmla="*/ 55 h 56"/>
                <a:gd name="T14" fmla="*/ 18 w 59"/>
                <a:gd name="T15" fmla="*/ 34 h 56"/>
                <a:gd name="T16" fmla="*/ 0 w 59"/>
                <a:gd name="T17" fmla="*/ 21 h 56"/>
                <a:gd name="T18" fmla="*/ 21 w 59"/>
                <a:gd name="T19" fmla="*/ 24 h 56"/>
                <a:gd name="T20" fmla="*/ 31 w 59"/>
                <a:gd name="T2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6">
                  <a:moveTo>
                    <a:pt x="31" y="0"/>
                  </a:moveTo>
                  <a:lnTo>
                    <a:pt x="37" y="21"/>
                  </a:lnTo>
                  <a:lnTo>
                    <a:pt x="58" y="21"/>
                  </a:lnTo>
                  <a:lnTo>
                    <a:pt x="42" y="34"/>
                  </a:lnTo>
                  <a:lnTo>
                    <a:pt x="50" y="55"/>
                  </a:lnTo>
                  <a:lnTo>
                    <a:pt x="29" y="39"/>
                  </a:lnTo>
                  <a:lnTo>
                    <a:pt x="10" y="55"/>
                  </a:lnTo>
                  <a:lnTo>
                    <a:pt x="18" y="34"/>
                  </a:lnTo>
                  <a:lnTo>
                    <a:pt x="0" y="21"/>
                  </a:lnTo>
                  <a:lnTo>
                    <a:pt x="21" y="24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" name="Freeform 97">
              <a:extLst>
                <a:ext uri="{FF2B5EF4-FFF2-40B4-BE49-F238E27FC236}">
                  <a16:creationId xmlns:a16="http://schemas.microsoft.com/office/drawing/2014/main" id="{AEF3AE28-75F6-B34C-A3F0-9919B9008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7600" y="2236788"/>
              <a:ext cx="25400" cy="23812"/>
            </a:xfrm>
            <a:custGeom>
              <a:avLst/>
              <a:gdLst>
                <a:gd name="T0" fmla="*/ 56 w 70"/>
                <a:gd name="T1" fmla="*/ 64 h 65"/>
                <a:gd name="T2" fmla="*/ 35 w 70"/>
                <a:gd name="T3" fmla="*/ 45 h 65"/>
                <a:gd name="T4" fmla="*/ 16 w 70"/>
                <a:gd name="T5" fmla="*/ 61 h 65"/>
                <a:gd name="T6" fmla="*/ 14 w 70"/>
                <a:gd name="T7" fmla="*/ 61 h 65"/>
                <a:gd name="T8" fmla="*/ 22 w 70"/>
                <a:gd name="T9" fmla="*/ 40 h 65"/>
                <a:gd name="T10" fmla="*/ 0 w 70"/>
                <a:gd name="T11" fmla="*/ 27 h 65"/>
                <a:gd name="T12" fmla="*/ 25 w 70"/>
                <a:gd name="T13" fmla="*/ 27 h 65"/>
                <a:gd name="T14" fmla="*/ 24 w 70"/>
                <a:gd name="T15" fmla="*/ 30 h 65"/>
                <a:gd name="T16" fmla="*/ 8 w 70"/>
                <a:gd name="T17" fmla="*/ 30 h 65"/>
                <a:gd name="T18" fmla="*/ 24 w 70"/>
                <a:gd name="T19" fmla="*/ 40 h 65"/>
                <a:gd name="T20" fmla="*/ 19 w 70"/>
                <a:gd name="T21" fmla="*/ 59 h 65"/>
                <a:gd name="T22" fmla="*/ 35 w 70"/>
                <a:gd name="T23" fmla="*/ 43 h 65"/>
                <a:gd name="T24" fmla="*/ 51 w 70"/>
                <a:gd name="T25" fmla="*/ 56 h 65"/>
                <a:gd name="T26" fmla="*/ 45 w 70"/>
                <a:gd name="T27" fmla="*/ 40 h 65"/>
                <a:gd name="T28" fmla="*/ 59 w 70"/>
                <a:gd name="T29" fmla="*/ 30 h 65"/>
                <a:gd name="T30" fmla="*/ 37 w 70"/>
                <a:gd name="T31" fmla="*/ 30 h 65"/>
                <a:gd name="T32" fmla="*/ 33 w 70"/>
                <a:gd name="T33" fmla="*/ 12 h 65"/>
                <a:gd name="T34" fmla="*/ 37 w 70"/>
                <a:gd name="T35" fmla="*/ 0 h 65"/>
                <a:gd name="T36" fmla="*/ 45 w 70"/>
                <a:gd name="T37" fmla="*/ 27 h 65"/>
                <a:gd name="T38" fmla="*/ 69 w 70"/>
                <a:gd name="T39" fmla="*/ 27 h 65"/>
                <a:gd name="T40" fmla="*/ 51 w 70"/>
                <a:gd name="T41" fmla="*/ 40 h 65"/>
                <a:gd name="T42" fmla="*/ 56 w 70"/>
                <a:gd name="T43" fmla="*/ 64 h 65"/>
                <a:gd name="T44" fmla="*/ 27 w 70"/>
                <a:gd name="T45" fmla="*/ 27 h 65"/>
                <a:gd name="T46" fmla="*/ 33 w 70"/>
                <a:gd name="T47" fmla="*/ 12 h 65"/>
                <a:gd name="T48" fmla="*/ 32 w 70"/>
                <a:gd name="T49" fmla="*/ 8 h 65"/>
                <a:gd name="T50" fmla="*/ 25 w 70"/>
                <a:gd name="T51" fmla="*/ 27 h 65"/>
                <a:gd name="T52" fmla="*/ 27 w 70"/>
                <a:gd name="T53" fmla="*/ 2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5">
                  <a:moveTo>
                    <a:pt x="56" y="64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22" y="40"/>
                  </a:lnTo>
                  <a:lnTo>
                    <a:pt x="0" y="27"/>
                  </a:lnTo>
                  <a:lnTo>
                    <a:pt x="25" y="27"/>
                  </a:lnTo>
                  <a:lnTo>
                    <a:pt x="24" y="30"/>
                  </a:lnTo>
                  <a:lnTo>
                    <a:pt x="8" y="30"/>
                  </a:lnTo>
                  <a:lnTo>
                    <a:pt x="24" y="40"/>
                  </a:lnTo>
                  <a:lnTo>
                    <a:pt x="19" y="59"/>
                  </a:lnTo>
                  <a:lnTo>
                    <a:pt x="35" y="43"/>
                  </a:lnTo>
                  <a:lnTo>
                    <a:pt x="51" y="56"/>
                  </a:lnTo>
                  <a:lnTo>
                    <a:pt x="45" y="40"/>
                  </a:lnTo>
                  <a:lnTo>
                    <a:pt x="59" y="30"/>
                  </a:lnTo>
                  <a:lnTo>
                    <a:pt x="37" y="30"/>
                  </a:lnTo>
                  <a:lnTo>
                    <a:pt x="33" y="12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9" y="27"/>
                  </a:lnTo>
                  <a:lnTo>
                    <a:pt x="51" y="40"/>
                  </a:lnTo>
                  <a:lnTo>
                    <a:pt x="56" y="64"/>
                  </a:lnTo>
                  <a:close/>
                  <a:moveTo>
                    <a:pt x="27" y="27"/>
                  </a:moveTo>
                  <a:lnTo>
                    <a:pt x="33" y="12"/>
                  </a:lnTo>
                  <a:lnTo>
                    <a:pt x="32" y="8"/>
                  </a:lnTo>
                  <a:lnTo>
                    <a:pt x="25" y="27"/>
                  </a:lnTo>
                  <a:lnTo>
                    <a:pt x="27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6" name="Freeform 98">
              <a:extLst>
                <a:ext uri="{FF2B5EF4-FFF2-40B4-BE49-F238E27FC236}">
                  <a16:creationId xmlns:a16="http://schemas.microsoft.com/office/drawing/2014/main" id="{A7397A60-B627-D444-82EC-24E5B54059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7950" y="2117725"/>
              <a:ext cx="22225" cy="20638"/>
            </a:xfrm>
            <a:custGeom>
              <a:avLst/>
              <a:gdLst>
                <a:gd name="T0" fmla="*/ 32 w 62"/>
                <a:gd name="T1" fmla="*/ 0 h 57"/>
                <a:gd name="T2" fmla="*/ 42 w 62"/>
                <a:gd name="T3" fmla="*/ 21 h 57"/>
                <a:gd name="T4" fmla="*/ 61 w 62"/>
                <a:gd name="T5" fmla="*/ 21 h 57"/>
                <a:gd name="T6" fmla="*/ 45 w 62"/>
                <a:gd name="T7" fmla="*/ 34 h 57"/>
                <a:gd name="T8" fmla="*/ 50 w 62"/>
                <a:gd name="T9" fmla="*/ 56 h 57"/>
                <a:gd name="T10" fmla="*/ 32 w 62"/>
                <a:gd name="T11" fmla="*/ 37 h 57"/>
                <a:gd name="T12" fmla="*/ 13 w 62"/>
                <a:gd name="T13" fmla="*/ 56 h 57"/>
                <a:gd name="T14" fmla="*/ 21 w 62"/>
                <a:gd name="T15" fmla="*/ 34 h 57"/>
                <a:gd name="T16" fmla="*/ 0 w 62"/>
                <a:gd name="T17" fmla="*/ 21 h 57"/>
                <a:gd name="T18" fmla="*/ 24 w 62"/>
                <a:gd name="T19" fmla="*/ 24 h 57"/>
                <a:gd name="T20" fmla="*/ 32 w 62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57">
                  <a:moveTo>
                    <a:pt x="32" y="0"/>
                  </a:moveTo>
                  <a:lnTo>
                    <a:pt x="42" y="21"/>
                  </a:lnTo>
                  <a:lnTo>
                    <a:pt x="61" y="21"/>
                  </a:lnTo>
                  <a:lnTo>
                    <a:pt x="45" y="34"/>
                  </a:lnTo>
                  <a:lnTo>
                    <a:pt x="50" y="56"/>
                  </a:lnTo>
                  <a:lnTo>
                    <a:pt x="32" y="37"/>
                  </a:lnTo>
                  <a:lnTo>
                    <a:pt x="13" y="56"/>
                  </a:lnTo>
                  <a:lnTo>
                    <a:pt x="21" y="34"/>
                  </a:lnTo>
                  <a:lnTo>
                    <a:pt x="0" y="21"/>
                  </a:lnTo>
                  <a:lnTo>
                    <a:pt x="24" y="2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7" name="Freeform 99">
              <a:extLst>
                <a:ext uri="{FF2B5EF4-FFF2-40B4-BE49-F238E27FC236}">
                  <a16:creationId xmlns:a16="http://schemas.microsoft.com/office/drawing/2014/main" id="{CC2871CC-69BD-2E4C-8327-52E634B53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7950" y="2117725"/>
              <a:ext cx="25400" cy="22225"/>
            </a:xfrm>
            <a:custGeom>
              <a:avLst/>
              <a:gdLst>
                <a:gd name="T0" fmla="*/ 56 w 70"/>
                <a:gd name="T1" fmla="*/ 61 h 62"/>
                <a:gd name="T2" fmla="*/ 35 w 70"/>
                <a:gd name="T3" fmla="*/ 43 h 62"/>
                <a:gd name="T4" fmla="*/ 16 w 70"/>
                <a:gd name="T5" fmla="*/ 61 h 62"/>
                <a:gd name="T6" fmla="*/ 13 w 70"/>
                <a:gd name="T7" fmla="*/ 61 h 62"/>
                <a:gd name="T8" fmla="*/ 21 w 70"/>
                <a:gd name="T9" fmla="*/ 40 h 62"/>
                <a:gd name="T10" fmla="*/ 0 w 70"/>
                <a:gd name="T11" fmla="*/ 27 h 62"/>
                <a:gd name="T12" fmla="*/ 25 w 70"/>
                <a:gd name="T13" fmla="*/ 27 h 62"/>
                <a:gd name="T14" fmla="*/ 24 w 70"/>
                <a:gd name="T15" fmla="*/ 29 h 62"/>
                <a:gd name="T16" fmla="*/ 8 w 70"/>
                <a:gd name="T17" fmla="*/ 27 h 62"/>
                <a:gd name="T18" fmla="*/ 24 w 70"/>
                <a:gd name="T19" fmla="*/ 37 h 62"/>
                <a:gd name="T20" fmla="*/ 19 w 70"/>
                <a:gd name="T21" fmla="*/ 56 h 62"/>
                <a:gd name="T22" fmla="*/ 35 w 70"/>
                <a:gd name="T23" fmla="*/ 40 h 62"/>
                <a:gd name="T24" fmla="*/ 51 w 70"/>
                <a:gd name="T25" fmla="*/ 56 h 62"/>
                <a:gd name="T26" fmla="*/ 45 w 70"/>
                <a:gd name="T27" fmla="*/ 40 h 62"/>
                <a:gd name="T28" fmla="*/ 58 w 70"/>
                <a:gd name="T29" fmla="*/ 29 h 62"/>
                <a:gd name="T30" fmla="*/ 40 w 70"/>
                <a:gd name="T31" fmla="*/ 29 h 62"/>
                <a:gd name="T32" fmla="*/ 33 w 70"/>
                <a:gd name="T33" fmla="*/ 11 h 62"/>
                <a:gd name="T34" fmla="*/ 37 w 70"/>
                <a:gd name="T35" fmla="*/ 0 h 62"/>
                <a:gd name="T36" fmla="*/ 45 w 70"/>
                <a:gd name="T37" fmla="*/ 24 h 62"/>
                <a:gd name="T38" fmla="*/ 69 w 70"/>
                <a:gd name="T39" fmla="*/ 24 h 62"/>
                <a:gd name="T40" fmla="*/ 51 w 70"/>
                <a:gd name="T41" fmla="*/ 37 h 62"/>
                <a:gd name="T42" fmla="*/ 56 w 70"/>
                <a:gd name="T43" fmla="*/ 61 h 62"/>
                <a:gd name="T44" fmla="*/ 27 w 70"/>
                <a:gd name="T45" fmla="*/ 27 h 62"/>
                <a:gd name="T46" fmla="*/ 33 w 70"/>
                <a:gd name="T47" fmla="*/ 11 h 62"/>
                <a:gd name="T48" fmla="*/ 32 w 70"/>
                <a:gd name="T49" fmla="*/ 8 h 62"/>
                <a:gd name="T50" fmla="*/ 25 w 70"/>
                <a:gd name="T51" fmla="*/ 27 h 62"/>
                <a:gd name="T52" fmla="*/ 27 w 70"/>
                <a:gd name="T53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2">
                  <a:moveTo>
                    <a:pt x="56" y="61"/>
                  </a:moveTo>
                  <a:lnTo>
                    <a:pt x="35" y="43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5" y="27"/>
                  </a:lnTo>
                  <a:lnTo>
                    <a:pt x="24" y="29"/>
                  </a:lnTo>
                  <a:lnTo>
                    <a:pt x="8" y="27"/>
                  </a:lnTo>
                  <a:lnTo>
                    <a:pt x="24" y="37"/>
                  </a:lnTo>
                  <a:lnTo>
                    <a:pt x="19" y="56"/>
                  </a:lnTo>
                  <a:lnTo>
                    <a:pt x="35" y="40"/>
                  </a:lnTo>
                  <a:lnTo>
                    <a:pt x="51" y="56"/>
                  </a:lnTo>
                  <a:lnTo>
                    <a:pt x="45" y="40"/>
                  </a:lnTo>
                  <a:lnTo>
                    <a:pt x="58" y="29"/>
                  </a:lnTo>
                  <a:lnTo>
                    <a:pt x="40" y="29"/>
                  </a:lnTo>
                  <a:lnTo>
                    <a:pt x="33" y="11"/>
                  </a:lnTo>
                  <a:lnTo>
                    <a:pt x="37" y="0"/>
                  </a:lnTo>
                  <a:lnTo>
                    <a:pt x="45" y="24"/>
                  </a:lnTo>
                  <a:lnTo>
                    <a:pt x="69" y="24"/>
                  </a:lnTo>
                  <a:lnTo>
                    <a:pt x="51" y="37"/>
                  </a:lnTo>
                  <a:lnTo>
                    <a:pt x="56" y="61"/>
                  </a:lnTo>
                  <a:close/>
                  <a:moveTo>
                    <a:pt x="27" y="27"/>
                  </a:moveTo>
                  <a:lnTo>
                    <a:pt x="33" y="11"/>
                  </a:lnTo>
                  <a:lnTo>
                    <a:pt x="32" y="8"/>
                  </a:lnTo>
                  <a:lnTo>
                    <a:pt x="25" y="27"/>
                  </a:lnTo>
                  <a:lnTo>
                    <a:pt x="27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8" name="Freeform 100">
              <a:extLst>
                <a:ext uri="{FF2B5EF4-FFF2-40B4-BE49-F238E27FC236}">
                  <a16:creationId xmlns:a16="http://schemas.microsoft.com/office/drawing/2014/main" id="{C78A1ED5-B308-304D-BA70-38C700301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1413" y="2266950"/>
              <a:ext cx="33337" cy="31750"/>
            </a:xfrm>
            <a:custGeom>
              <a:avLst/>
              <a:gdLst>
                <a:gd name="T0" fmla="*/ 79 w 91"/>
                <a:gd name="T1" fmla="*/ 29 h 88"/>
                <a:gd name="T2" fmla="*/ 90 w 91"/>
                <a:gd name="T3" fmla="*/ 37 h 88"/>
                <a:gd name="T4" fmla="*/ 42 w 91"/>
                <a:gd name="T5" fmla="*/ 87 h 88"/>
                <a:gd name="T6" fmla="*/ 31 w 91"/>
                <a:gd name="T7" fmla="*/ 77 h 88"/>
                <a:gd name="T8" fmla="*/ 45 w 91"/>
                <a:gd name="T9" fmla="*/ 24 h 88"/>
                <a:gd name="T10" fmla="*/ 45 w 91"/>
                <a:gd name="T11" fmla="*/ 24 h 88"/>
                <a:gd name="T12" fmla="*/ 10 w 91"/>
                <a:gd name="T13" fmla="*/ 58 h 88"/>
                <a:gd name="T14" fmla="*/ 0 w 91"/>
                <a:gd name="T15" fmla="*/ 50 h 88"/>
                <a:gd name="T16" fmla="*/ 47 w 91"/>
                <a:gd name="T17" fmla="*/ 0 h 88"/>
                <a:gd name="T18" fmla="*/ 58 w 91"/>
                <a:gd name="T19" fmla="*/ 11 h 88"/>
                <a:gd name="T20" fmla="*/ 47 w 91"/>
                <a:gd name="T21" fmla="*/ 64 h 88"/>
                <a:gd name="T22" fmla="*/ 47 w 91"/>
                <a:gd name="T23" fmla="*/ 64 h 88"/>
                <a:gd name="T24" fmla="*/ 79 w 91"/>
                <a:gd name="T25" fmla="*/ 2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88">
                  <a:moveTo>
                    <a:pt x="79" y="29"/>
                  </a:moveTo>
                  <a:lnTo>
                    <a:pt x="90" y="37"/>
                  </a:lnTo>
                  <a:lnTo>
                    <a:pt x="42" y="87"/>
                  </a:lnTo>
                  <a:lnTo>
                    <a:pt x="31" y="77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10" y="58"/>
                  </a:lnTo>
                  <a:lnTo>
                    <a:pt x="0" y="50"/>
                  </a:lnTo>
                  <a:lnTo>
                    <a:pt x="47" y="0"/>
                  </a:lnTo>
                  <a:lnTo>
                    <a:pt x="58" y="11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79" y="2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9" name="Freeform 101">
              <a:extLst>
                <a:ext uri="{FF2B5EF4-FFF2-40B4-BE49-F238E27FC236}">
                  <a16:creationId xmlns:a16="http://schemas.microsoft.com/office/drawing/2014/main" id="{1E948274-F663-A04C-98A9-41709BC47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300" y="2030413"/>
              <a:ext cx="23813" cy="26987"/>
            </a:xfrm>
            <a:custGeom>
              <a:avLst/>
              <a:gdLst>
                <a:gd name="T0" fmla="*/ 16 w 66"/>
                <a:gd name="T1" fmla="*/ 67 h 73"/>
                <a:gd name="T2" fmla="*/ 0 w 66"/>
                <a:gd name="T3" fmla="*/ 64 h 73"/>
                <a:gd name="T4" fmla="*/ 32 w 66"/>
                <a:gd name="T5" fmla="*/ 0 h 73"/>
                <a:gd name="T6" fmla="*/ 47 w 66"/>
                <a:gd name="T7" fmla="*/ 3 h 73"/>
                <a:gd name="T8" fmla="*/ 65 w 66"/>
                <a:gd name="T9" fmla="*/ 72 h 73"/>
                <a:gd name="T10" fmla="*/ 49 w 66"/>
                <a:gd name="T11" fmla="*/ 69 h 73"/>
                <a:gd name="T12" fmla="*/ 47 w 66"/>
                <a:gd name="T13" fmla="*/ 56 h 73"/>
                <a:gd name="T14" fmla="*/ 21 w 66"/>
                <a:gd name="T15" fmla="*/ 53 h 73"/>
                <a:gd name="T16" fmla="*/ 16 w 66"/>
                <a:gd name="T17" fmla="*/ 67 h 73"/>
                <a:gd name="T18" fmla="*/ 26 w 66"/>
                <a:gd name="T19" fmla="*/ 40 h 73"/>
                <a:gd name="T20" fmla="*/ 44 w 66"/>
                <a:gd name="T21" fmla="*/ 43 h 73"/>
                <a:gd name="T22" fmla="*/ 39 w 66"/>
                <a:gd name="T23" fmla="*/ 16 h 73"/>
                <a:gd name="T24" fmla="*/ 39 w 66"/>
                <a:gd name="T25" fmla="*/ 16 h 73"/>
                <a:gd name="T26" fmla="*/ 26 w 66"/>
                <a:gd name="T27" fmla="*/ 4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73">
                  <a:moveTo>
                    <a:pt x="16" y="67"/>
                  </a:moveTo>
                  <a:lnTo>
                    <a:pt x="0" y="64"/>
                  </a:lnTo>
                  <a:lnTo>
                    <a:pt x="32" y="0"/>
                  </a:lnTo>
                  <a:lnTo>
                    <a:pt x="47" y="3"/>
                  </a:lnTo>
                  <a:lnTo>
                    <a:pt x="65" y="72"/>
                  </a:lnTo>
                  <a:lnTo>
                    <a:pt x="49" y="69"/>
                  </a:lnTo>
                  <a:lnTo>
                    <a:pt x="47" y="56"/>
                  </a:lnTo>
                  <a:lnTo>
                    <a:pt x="21" y="53"/>
                  </a:lnTo>
                  <a:lnTo>
                    <a:pt x="16" y="67"/>
                  </a:lnTo>
                  <a:close/>
                  <a:moveTo>
                    <a:pt x="26" y="40"/>
                  </a:moveTo>
                  <a:lnTo>
                    <a:pt x="44" y="43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26" y="4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0" name="Freeform 102">
              <a:extLst>
                <a:ext uri="{FF2B5EF4-FFF2-40B4-BE49-F238E27FC236}">
                  <a16:creationId xmlns:a16="http://schemas.microsoft.com/office/drawing/2014/main" id="{36BE240E-D9A5-1A48-9E69-F5D85BBFA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050" y="2033588"/>
              <a:ext cx="19050" cy="28575"/>
            </a:xfrm>
            <a:custGeom>
              <a:avLst/>
              <a:gdLst>
                <a:gd name="T0" fmla="*/ 18 w 54"/>
                <a:gd name="T1" fmla="*/ 58 h 80"/>
                <a:gd name="T2" fmla="*/ 53 w 54"/>
                <a:gd name="T3" fmla="*/ 69 h 80"/>
                <a:gd name="T4" fmla="*/ 48 w 54"/>
                <a:gd name="T5" fmla="*/ 79 h 80"/>
                <a:gd name="T6" fmla="*/ 0 w 54"/>
                <a:gd name="T7" fmla="*/ 66 h 80"/>
                <a:gd name="T8" fmla="*/ 24 w 54"/>
                <a:gd name="T9" fmla="*/ 0 h 80"/>
                <a:gd name="T10" fmla="*/ 37 w 54"/>
                <a:gd name="T11" fmla="*/ 5 h 80"/>
                <a:gd name="T12" fmla="*/ 18 w 54"/>
                <a:gd name="T13" fmla="*/ 5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80">
                  <a:moveTo>
                    <a:pt x="18" y="58"/>
                  </a:moveTo>
                  <a:lnTo>
                    <a:pt x="53" y="69"/>
                  </a:lnTo>
                  <a:lnTo>
                    <a:pt x="48" y="79"/>
                  </a:lnTo>
                  <a:lnTo>
                    <a:pt x="0" y="66"/>
                  </a:lnTo>
                  <a:lnTo>
                    <a:pt x="24" y="0"/>
                  </a:lnTo>
                  <a:lnTo>
                    <a:pt x="37" y="5"/>
                  </a:lnTo>
                  <a:lnTo>
                    <a:pt x="18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1" name="Freeform 103">
              <a:extLst>
                <a:ext uri="{FF2B5EF4-FFF2-40B4-BE49-F238E27FC236}">
                  <a16:creationId xmlns:a16="http://schemas.microsoft.com/office/drawing/2014/main" id="{9A4E1E94-E468-844A-8033-0C043B4627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6038" y="2046288"/>
              <a:ext cx="28575" cy="30162"/>
            </a:xfrm>
            <a:custGeom>
              <a:avLst/>
              <a:gdLst>
                <a:gd name="T0" fmla="*/ 50 w 81"/>
                <a:gd name="T1" fmla="*/ 66 h 83"/>
                <a:gd name="T2" fmla="*/ 13 w 81"/>
                <a:gd name="T3" fmla="*/ 71 h 83"/>
                <a:gd name="T4" fmla="*/ 0 w 81"/>
                <a:gd name="T5" fmla="*/ 53 h 83"/>
                <a:gd name="T6" fmla="*/ 5 w 81"/>
                <a:gd name="T7" fmla="*/ 37 h 83"/>
                <a:gd name="T8" fmla="*/ 32 w 81"/>
                <a:gd name="T9" fmla="*/ 0 h 83"/>
                <a:gd name="T10" fmla="*/ 45 w 81"/>
                <a:gd name="T11" fmla="*/ 8 h 83"/>
                <a:gd name="T12" fmla="*/ 21 w 81"/>
                <a:gd name="T13" fmla="*/ 45 h 83"/>
                <a:gd name="T14" fmla="*/ 24 w 81"/>
                <a:gd name="T15" fmla="*/ 63 h 83"/>
                <a:gd name="T16" fmla="*/ 42 w 81"/>
                <a:gd name="T17" fmla="*/ 61 h 83"/>
                <a:gd name="T18" fmla="*/ 66 w 81"/>
                <a:gd name="T19" fmla="*/ 24 h 83"/>
                <a:gd name="T20" fmla="*/ 80 w 81"/>
                <a:gd name="T21" fmla="*/ 32 h 83"/>
                <a:gd name="T22" fmla="*/ 50 w 81"/>
                <a:gd name="T23" fmla="*/ 6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83">
                  <a:moveTo>
                    <a:pt x="50" y="66"/>
                  </a:moveTo>
                  <a:cubicBezTo>
                    <a:pt x="40" y="82"/>
                    <a:pt x="27" y="82"/>
                    <a:pt x="13" y="71"/>
                  </a:cubicBezTo>
                  <a:cubicBezTo>
                    <a:pt x="8" y="69"/>
                    <a:pt x="0" y="61"/>
                    <a:pt x="0" y="53"/>
                  </a:cubicBezTo>
                  <a:cubicBezTo>
                    <a:pt x="0" y="47"/>
                    <a:pt x="0" y="42"/>
                    <a:pt x="5" y="37"/>
                  </a:cubicBezTo>
                  <a:lnTo>
                    <a:pt x="32" y="0"/>
                  </a:lnTo>
                  <a:lnTo>
                    <a:pt x="45" y="8"/>
                  </a:lnTo>
                  <a:lnTo>
                    <a:pt x="21" y="45"/>
                  </a:lnTo>
                  <a:cubicBezTo>
                    <a:pt x="16" y="53"/>
                    <a:pt x="19" y="58"/>
                    <a:pt x="24" y="63"/>
                  </a:cubicBezTo>
                  <a:cubicBezTo>
                    <a:pt x="32" y="69"/>
                    <a:pt x="37" y="66"/>
                    <a:pt x="42" y="61"/>
                  </a:cubicBezTo>
                  <a:lnTo>
                    <a:pt x="66" y="24"/>
                  </a:lnTo>
                  <a:lnTo>
                    <a:pt x="80" y="32"/>
                  </a:lnTo>
                  <a:lnTo>
                    <a:pt x="50" y="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2" name="Freeform 104">
              <a:extLst>
                <a:ext uri="{FF2B5EF4-FFF2-40B4-BE49-F238E27FC236}">
                  <a16:creationId xmlns:a16="http://schemas.microsoft.com/office/drawing/2014/main" id="{D7C8FB0F-E0E6-E04F-82B2-ED6248C1FD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1438" y="2062163"/>
              <a:ext cx="25400" cy="26987"/>
            </a:xfrm>
            <a:custGeom>
              <a:avLst/>
              <a:gdLst>
                <a:gd name="T0" fmla="*/ 10 w 72"/>
                <a:gd name="T1" fmla="*/ 75 h 76"/>
                <a:gd name="T2" fmla="*/ 0 w 72"/>
                <a:gd name="T3" fmla="*/ 64 h 76"/>
                <a:gd name="T4" fmla="*/ 37 w 72"/>
                <a:gd name="T5" fmla="*/ 22 h 76"/>
                <a:gd name="T6" fmla="*/ 21 w 72"/>
                <a:gd name="T7" fmla="*/ 8 h 76"/>
                <a:gd name="T8" fmla="*/ 29 w 72"/>
                <a:gd name="T9" fmla="*/ 0 h 76"/>
                <a:gd name="T10" fmla="*/ 71 w 72"/>
                <a:gd name="T11" fmla="*/ 35 h 76"/>
                <a:gd name="T12" fmla="*/ 63 w 72"/>
                <a:gd name="T13" fmla="*/ 43 h 76"/>
                <a:gd name="T14" fmla="*/ 47 w 72"/>
                <a:gd name="T15" fmla="*/ 32 h 76"/>
                <a:gd name="T16" fmla="*/ 10 w 72"/>
                <a:gd name="T17" fmla="*/ 7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6">
                  <a:moveTo>
                    <a:pt x="10" y="75"/>
                  </a:moveTo>
                  <a:lnTo>
                    <a:pt x="0" y="64"/>
                  </a:lnTo>
                  <a:lnTo>
                    <a:pt x="37" y="22"/>
                  </a:lnTo>
                  <a:lnTo>
                    <a:pt x="21" y="8"/>
                  </a:lnTo>
                  <a:lnTo>
                    <a:pt x="29" y="0"/>
                  </a:lnTo>
                  <a:lnTo>
                    <a:pt x="71" y="35"/>
                  </a:lnTo>
                  <a:lnTo>
                    <a:pt x="63" y="43"/>
                  </a:lnTo>
                  <a:lnTo>
                    <a:pt x="47" y="32"/>
                  </a:lnTo>
                  <a:lnTo>
                    <a:pt x="10" y="7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3" name="Freeform 105">
              <a:extLst>
                <a:ext uri="{FF2B5EF4-FFF2-40B4-BE49-F238E27FC236}">
                  <a16:creationId xmlns:a16="http://schemas.microsoft.com/office/drawing/2014/main" id="{720E8EE9-A22F-844E-B40C-5B69FABF40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725" y="2030413"/>
              <a:ext cx="23813" cy="28575"/>
            </a:xfrm>
            <a:custGeom>
              <a:avLst/>
              <a:gdLst>
                <a:gd name="T0" fmla="*/ 16 w 65"/>
                <a:gd name="T1" fmla="*/ 51 h 81"/>
                <a:gd name="T2" fmla="*/ 32 w 65"/>
                <a:gd name="T3" fmla="*/ 59 h 81"/>
                <a:gd name="T4" fmla="*/ 45 w 65"/>
                <a:gd name="T5" fmla="*/ 48 h 81"/>
                <a:gd name="T6" fmla="*/ 32 w 65"/>
                <a:gd name="T7" fmla="*/ 43 h 81"/>
                <a:gd name="T8" fmla="*/ 24 w 65"/>
                <a:gd name="T9" fmla="*/ 43 h 81"/>
                <a:gd name="T10" fmla="*/ 0 w 65"/>
                <a:gd name="T11" fmla="*/ 27 h 81"/>
                <a:gd name="T12" fmla="*/ 24 w 65"/>
                <a:gd name="T13" fmla="*/ 3 h 81"/>
                <a:gd name="T14" fmla="*/ 53 w 65"/>
                <a:gd name="T15" fmla="*/ 22 h 81"/>
                <a:gd name="T16" fmla="*/ 40 w 65"/>
                <a:gd name="T17" fmla="*/ 24 h 81"/>
                <a:gd name="T18" fmla="*/ 24 w 65"/>
                <a:gd name="T19" fmla="*/ 16 h 81"/>
                <a:gd name="T20" fmla="*/ 13 w 65"/>
                <a:gd name="T21" fmla="*/ 27 h 81"/>
                <a:gd name="T22" fmla="*/ 21 w 65"/>
                <a:gd name="T23" fmla="*/ 32 h 81"/>
                <a:gd name="T24" fmla="*/ 40 w 65"/>
                <a:gd name="T25" fmla="*/ 35 h 81"/>
                <a:gd name="T26" fmla="*/ 61 w 65"/>
                <a:gd name="T27" fmla="*/ 51 h 81"/>
                <a:gd name="T28" fmla="*/ 37 w 65"/>
                <a:gd name="T29" fmla="*/ 77 h 81"/>
                <a:gd name="T30" fmla="*/ 3 w 65"/>
                <a:gd name="T31" fmla="*/ 59 h 81"/>
                <a:gd name="T32" fmla="*/ 16 w 65"/>
                <a:gd name="T33" fmla="*/ 5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81">
                  <a:moveTo>
                    <a:pt x="16" y="51"/>
                  </a:moveTo>
                  <a:cubicBezTo>
                    <a:pt x="16" y="53"/>
                    <a:pt x="19" y="61"/>
                    <a:pt x="32" y="59"/>
                  </a:cubicBezTo>
                  <a:cubicBezTo>
                    <a:pt x="40" y="59"/>
                    <a:pt x="45" y="56"/>
                    <a:pt x="45" y="48"/>
                  </a:cubicBezTo>
                  <a:cubicBezTo>
                    <a:pt x="45" y="43"/>
                    <a:pt x="40" y="43"/>
                    <a:pt x="32" y="43"/>
                  </a:cubicBezTo>
                  <a:lnTo>
                    <a:pt x="24" y="43"/>
                  </a:lnTo>
                  <a:cubicBezTo>
                    <a:pt x="13" y="43"/>
                    <a:pt x="0" y="40"/>
                    <a:pt x="0" y="27"/>
                  </a:cubicBezTo>
                  <a:cubicBezTo>
                    <a:pt x="0" y="19"/>
                    <a:pt x="0" y="6"/>
                    <a:pt x="24" y="3"/>
                  </a:cubicBezTo>
                  <a:cubicBezTo>
                    <a:pt x="45" y="0"/>
                    <a:pt x="53" y="14"/>
                    <a:pt x="53" y="22"/>
                  </a:cubicBezTo>
                  <a:lnTo>
                    <a:pt x="40" y="24"/>
                  </a:lnTo>
                  <a:cubicBezTo>
                    <a:pt x="40" y="22"/>
                    <a:pt x="37" y="14"/>
                    <a:pt x="24" y="16"/>
                  </a:cubicBezTo>
                  <a:cubicBezTo>
                    <a:pt x="19" y="16"/>
                    <a:pt x="13" y="19"/>
                    <a:pt x="13" y="27"/>
                  </a:cubicBezTo>
                  <a:cubicBezTo>
                    <a:pt x="13" y="32"/>
                    <a:pt x="19" y="32"/>
                    <a:pt x="21" y="32"/>
                  </a:cubicBezTo>
                  <a:lnTo>
                    <a:pt x="40" y="35"/>
                  </a:lnTo>
                  <a:cubicBezTo>
                    <a:pt x="50" y="35"/>
                    <a:pt x="58" y="37"/>
                    <a:pt x="61" y="51"/>
                  </a:cubicBezTo>
                  <a:cubicBezTo>
                    <a:pt x="64" y="72"/>
                    <a:pt x="43" y="75"/>
                    <a:pt x="37" y="77"/>
                  </a:cubicBezTo>
                  <a:cubicBezTo>
                    <a:pt x="13" y="80"/>
                    <a:pt x="5" y="67"/>
                    <a:pt x="3" y="59"/>
                  </a:cubicBezTo>
                  <a:lnTo>
                    <a:pt x="16" y="5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4" name="Freeform 106">
              <a:extLst>
                <a:ext uri="{FF2B5EF4-FFF2-40B4-BE49-F238E27FC236}">
                  <a16:creationId xmlns:a16="http://schemas.microsoft.com/office/drawing/2014/main" id="{726CBDFD-625D-F74D-B911-6319E4123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8400" y="2044700"/>
              <a:ext cx="33338" cy="31750"/>
            </a:xfrm>
            <a:custGeom>
              <a:avLst/>
              <a:gdLst>
                <a:gd name="T0" fmla="*/ 74 w 91"/>
                <a:gd name="T1" fmla="*/ 27 h 86"/>
                <a:gd name="T2" fmla="*/ 61 w 91"/>
                <a:gd name="T3" fmla="*/ 74 h 86"/>
                <a:gd name="T4" fmla="*/ 13 w 91"/>
                <a:gd name="T5" fmla="*/ 58 h 86"/>
                <a:gd name="T6" fmla="*/ 26 w 91"/>
                <a:gd name="T7" fmla="*/ 11 h 86"/>
                <a:gd name="T8" fmla="*/ 74 w 91"/>
                <a:gd name="T9" fmla="*/ 27 h 86"/>
                <a:gd name="T10" fmla="*/ 61 w 91"/>
                <a:gd name="T11" fmla="*/ 35 h 86"/>
                <a:gd name="T12" fmla="*/ 31 w 91"/>
                <a:gd name="T13" fmla="*/ 21 h 86"/>
                <a:gd name="T14" fmla="*/ 26 w 91"/>
                <a:gd name="T15" fmla="*/ 50 h 86"/>
                <a:gd name="T16" fmla="*/ 55 w 91"/>
                <a:gd name="T17" fmla="*/ 64 h 86"/>
                <a:gd name="T18" fmla="*/ 61 w 91"/>
                <a:gd name="T19" fmla="*/ 3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86">
                  <a:moveTo>
                    <a:pt x="74" y="27"/>
                  </a:moveTo>
                  <a:cubicBezTo>
                    <a:pt x="90" y="56"/>
                    <a:pt x="69" y="69"/>
                    <a:pt x="61" y="74"/>
                  </a:cubicBezTo>
                  <a:cubicBezTo>
                    <a:pt x="53" y="80"/>
                    <a:pt x="29" y="85"/>
                    <a:pt x="13" y="58"/>
                  </a:cubicBezTo>
                  <a:cubicBezTo>
                    <a:pt x="0" y="29"/>
                    <a:pt x="18" y="16"/>
                    <a:pt x="26" y="11"/>
                  </a:cubicBezTo>
                  <a:cubicBezTo>
                    <a:pt x="34" y="5"/>
                    <a:pt x="58" y="0"/>
                    <a:pt x="74" y="27"/>
                  </a:cubicBezTo>
                  <a:close/>
                  <a:moveTo>
                    <a:pt x="61" y="35"/>
                  </a:moveTo>
                  <a:cubicBezTo>
                    <a:pt x="53" y="19"/>
                    <a:pt x="39" y="18"/>
                    <a:pt x="31" y="21"/>
                  </a:cubicBezTo>
                  <a:cubicBezTo>
                    <a:pt x="23" y="23"/>
                    <a:pt x="18" y="35"/>
                    <a:pt x="26" y="50"/>
                  </a:cubicBezTo>
                  <a:cubicBezTo>
                    <a:pt x="34" y="69"/>
                    <a:pt x="47" y="69"/>
                    <a:pt x="55" y="64"/>
                  </a:cubicBezTo>
                  <a:cubicBezTo>
                    <a:pt x="63" y="61"/>
                    <a:pt x="69" y="50"/>
                    <a:pt x="61" y="3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5" name="Freeform 107">
              <a:extLst>
                <a:ext uri="{FF2B5EF4-FFF2-40B4-BE49-F238E27FC236}">
                  <a16:creationId xmlns:a16="http://schemas.microsoft.com/office/drawing/2014/main" id="{14122C83-9785-4D4B-930B-812D4C7C8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1413" y="2065338"/>
              <a:ext cx="33337" cy="30162"/>
            </a:xfrm>
            <a:custGeom>
              <a:avLst/>
              <a:gdLst>
                <a:gd name="T0" fmla="*/ 0 w 91"/>
                <a:gd name="T1" fmla="*/ 37 h 85"/>
                <a:gd name="T2" fmla="*/ 23 w 91"/>
                <a:gd name="T3" fmla="*/ 13 h 85"/>
                <a:gd name="T4" fmla="*/ 52 w 91"/>
                <a:gd name="T5" fmla="*/ 10 h 85"/>
                <a:gd name="T6" fmla="*/ 58 w 91"/>
                <a:gd name="T7" fmla="*/ 29 h 85"/>
                <a:gd name="T8" fmla="*/ 76 w 91"/>
                <a:gd name="T9" fmla="*/ 34 h 85"/>
                <a:gd name="T10" fmla="*/ 90 w 91"/>
                <a:gd name="T11" fmla="*/ 42 h 85"/>
                <a:gd name="T12" fmla="*/ 90 w 91"/>
                <a:gd name="T13" fmla="*/ 42 h 85"/>
                <a:gd name="T14" fmla="*/ 79 w 91"/>
                <a:gd name="T15" fmla="*/ 53 h 85"/>
                <a:gd name="T16" fmla="*/ 68 w 91"/>
                <a:gd name="T17" fmla="*/ 45 h 85"/>
                <a:gd name="T18" fmla="*/ 52 w 91"/>
                <a:gd name="T19" fmla="*/ 45 h 85"/>
                <a:gd name="T20" fmla="*/ 42 w 91"/>
                <a:gd name="T21" fmla="*/ 55 h 85"/>
                <a:gd name="T22" fmla="*/ 60 w 91"/>
                <a:gd name="T23" fmla="*/ 74 h 85"/>
                <a:gd name="T24" fmla="*/ 50 w 91"/>
                <a:gd name="T25" fmla="*/ 84 h 85"/>
                <a:gd name="T26" fmla="*/ 0 w 91"/>
                <a:gd name="T27" fmla="*/ 37 h 85"/>
                <a:gd name="T28" fmla="*/ 42 w 91"/>
                <a:gd name="T29" fmla="*/ 34 h 85"/>
                <a:gd name="T30" fmla="*/ 42 w 91"/>
                <a:gd name="T31" fmla="*/ 21 h 85"/>
                <a:gd name="T32" fmla="*/ 29 w 91"/>
                <a:gd name="T33" fmla="*/ 21 h 85"/>
                <a:gd name="T34" fmla="*/ 15 w 91"/>
                <a:gd name="T35" fmla="*/ 34 h 85"/>
                <a:gd name="T36" fmla="*/ 29 w 91"/>
                <a:gd name="T37" fmla="*/ 47 h 85"/>
                <a:gd name="T38" fmla="*/ 42 w 91"/>
                <a:gd name="T39" fmla="*/ 3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1" h="85">
                  <a:moveTo>
                    <a:pt x="0" y="37"/>
                  </a:moveTo>
                  <a:lnTo>
                    <a:pt x="23" y="13"/>
                  </a:lnTo>
                  <a:cubicBezTo>
                    <a:pt x="37" y="0"/>
                    <a:pt x="47" y="8"/>
                    <a:pt x="52" y="10"/>
                  </a:cubicBezTo>
                  <a:cubicBezTo>
                    <a:pt x="58" y="16"/>
                    <a:pt x="60" y="24"/>
                    <a:pt x="58" y="29"/>
                  </a:cubicBezTo>
                  <a:cubicBezTo>
                    <a:pt x="63" y="26"/>
                    <a:pt x="68" y="26"/>
                    <a:pt x="76" y="34"/>
                  </a:cubicBezTo>
                  <a:cubicBezTo>
                    <a:pt x="84" y="42"/>
                    <a:pt x="84" y="42"/>
                    <a:pt x="90" y="42"/>
                  </a:cubicBezTo>
                  <a:lnTo>
                    <a:pt x="90" y="42"/>
                  </a:lnTo>
                  <a:lnTo>
                    <a:pt x="79" y="53"/>
                  </a:lnTo>
                  <a:cubicBezTo>
                    <a:pt x="76" y="50"/>
                    <a:pt x="74" y="50"/>
                    <a:pt x="68" y="45"/>
                  </a:cubicBezTo>
                  <a:cubicBezTo>
                    <a:pt x="60" y="39"/>
                    <a:pt x="58" y="37"/>
                    <a:pt x="52" y="45"/>
                  </a:cubicBezTo>
                  <a:lnTo>
                    <a:pt x="42" y="55"/>
                  </a:lnTo>
                  <a:lnTo>
                    <a:pt x="60" y="74"/>
                  </a:lnTo>
                  <a:lnTo>
                    <a:pt x="50" y="84"/>
                  </a:lnTo>
                  <a:lnTo>
                    <a:pt x="0" y="37"/>
                  </a:lnTo>
                  <a:close/>
                  <a:moveTo>
                    <a:pt x="42" y="34"/>
                  </a:moveTo>
                  <a:cubicBezTo>
                    <a:pt x="47" y="29"/>
                    <a:pt x="47" y="24"/>
                    <a:pt x="42" y="21"/>
                  </a:cubicBezTo>
                  <a:cubicBezTo>
                    <a:pt x="39" y="18"/>
                    <a:pt x="34" y="16"/>
                    <a:pt x="29" y="21"/>
                  </a:cubicBezTo>
                  <a:lnTo>
                    <a:pt x="15" y="34"/>
                  </a:lnTo>
                  <a:lnTo>
                    <a:pt x="29" y="47"/>
                  </a:lnTo>
                  <a:lnTo>
                    <a:pt x="42" y="3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6" name="Freeform 108">
              <a:extLst>
                <a:ext uri="{FF2B5EF4-FFF2-40B4-BE49-F238E27FC236}">
                  <a16:creationId xmlns:a16="http://schemas.microsoft.com/office/drawing/2014/main" id="{EB3A5737-EC31-CB43-9F1D-122969DA0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688" y="2289175"/>
              <a:ext cx="31750" cy="31750"/>
            </a:xfrm>
            <a:custGeom>
              <a:avLst/>
              <a:gdLst>
                <a:gd name="T0" fmla="*/ 37 w 86"/>
                <a:gd name="T1" fmla="*/ 8 h 88"/>
                <a:gd name="T2" fmla="*/ 51 w 86"/>
                <a:gd name="T3" fmla="*/ 0 h 88"/>
                <a:gd name="T4" fmla="*/ 85 w 86"/>
                <a:gd name="T5" fmla="*/ 58 h 88"/>
                <a:gd name="T6" fmla="*/ 72 w 86"/>
                <a:gd name="T7" fmla="*/ 66 h 88"/>
                <a:gd name="T8" fmla="*/ 21 w 86"/>
                <a:gd name="T9" fmla="*/ 37 h 88"/>
                <a:gd name="T10" fmla="*/ 21 w 86"/>
                <a:gd name="T11" fmla="*/ 37 h 88"/>
                <a:gd name="T12" fmla="*/ 45 w 86"/>
                <a:gd name="T13" fmla="*/ 79 h 88"/>
                <a:gd name="T14" fmla="*/ 35 w 86"/>
                <a:gd name="T15" fmla="*/ 87 h 88"/>
                <a:gd name="T16" fmla="*/ 0 w 86"/>
                <a:gd name="T17" fmla="*/ 29 h 88"/>
                <a:gd name="T18" fmla="*/ 13 w 86"/>
                <a:gd name="T19" fmla="*/ 21 h 88"/>
                <a:gd name="T20" fmla="*/ 61 w 86"/>
                <a:gd name="T21" fmla="*/ 48 h 88"/>
                <a:gd name="T22" fmla="*/ 61 w 86"/>
                <a:gd name="T23" fmla="*/ 48 h 88"/>
                <a:gd name="T24" fmla="*/ 37 w 86"/>
                <a:gd name="T25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" h="88">
                  <a:moveTo>
                    <a:pt x="37" y="8"/>
                  </a:moveTo>
                  <a:lnTo>
                    <a:pt x="51" y="0"/>
                  </a:lnTo>
                  <a:lnTo>
                    <a:pt x="85" y="58"/>
                  </a:lnTo>
                  <a:lnTo>
                    <a:pt x="72" y="66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45" y="79"/>
                  </a:lnTo>
                  <a:lnTo>
                    <a:pt x="35" y="87"/>
                  </a:lnTo>
                  <a:lnTo>
                    <a:pt x="0" y="29"/>
                  </a:lnTo>
                  <a:lnTo>
                    <a:pt x="13" y="21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37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7" name="Freeform 109">
              <a:extLst>
                <a:ext uri="{FF2B5EF4-FFF2-40B4-BE49-F238E27FC236}">
                  <a16:creationId xmlns:a16="http://schemas.microsoft.com/office/drawing/2014/main" id="{B4A1E835-A02B-B645-A02C-C3F189FA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1913" y="2273300"/>
              <a:ext cx="31750" cy="30163"/>
            </a:xfrm>
            <a:custGeom>
              <a:avLst/>
              <a:gdLst>
                <a:gd name="T0" fmla="*/ 0 w 86"/>
                <a:gd name="T1" fmla="*/ 31 h 85"/>
                <a:gd name="T2" fmla="*/ 24 w 86"/>
                <a:gd name="T3" fmla="*/ 13 h 85"/>
                <a:gd name="T4" fmla="*/ 66 w 86"/>
                <a:gd name="T5" fmla="*/ 21 h 85"/>
                <a:gd name="T6" fmla="*/ 66 w 86"/>
                <a:gd name="T7" fmla="*/ 66 h 85"/>
                <a:gd name="T8" fmla="*/ 42 w 86"/>
                <a:gd name="T9" fmla="*/ 84 h 85"/>
                <a:gd name="T10" fmla="*/ 0 w 86"/>
                <a:gd name="T11" fmla="*/ 31 h 85"/>
                <a:gd name="T12" fmla="*/ 47 w 86"/>
                <a:gd name="T13" fmla="*/ 66 h 85"/>
                <a:gd name="T14" fmla="*/ 58 w 86"/>
                <a:gd name="T15" fmla="*/ 58 h 85"/>
                <a:gd name="T16" fmla="*/ 55 w 86"/>
                <a:gd name="T17" fmla="*/ 31 h 85"/>
                <a:gd name="T18" fmla="*/ 29 w 86"/>
                <a:gd name="T19" fmla="*/ 23 h 85"/>
                <a:gd name="T20" fmla="*/ 18 w 86"/>
                <a:gd name="T21" fmla="*/ 31 h 85"/>
                <a:gd name="T22" fmla="*/ 47 w 86"/>
                <a:gd name="T23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85">
                  <a:moveTo>
                    <a:pt x="0" y="31"/>
                  </a:moveTo>
                  <a:lnTo>
                    <a:pt x="24" y="13"/>
                  </a:lnTo>
                  <a:cubicBezTo>
                    <a:pt x="42" y="0"/>
                    <a:pt x="58" y="10"/>
                    <a:pt x="66" y="21"/>
                  </a:cubicBezTo>
                  <a:cubicBezTo>
                    <a:pt x="74" y="31"/>
                    <a:pt x="85" y="53"/>
                    <a:pt x="66" y="66"/>
                  </a:cubicBezTo>
                  <a:lnTo>
                    <a:pt x="42" y="84"/>
                  </a:lnTo>
                  <a:lnTo>
                    <a:pt x="0" y="31"/>
                  </a:lnTo>
                  <a:close/>
                  <a:moveTo>
                    <a:pt x="47" y="66"/>
                  </a:moveTo>
                  <a:lnTo>
                    <a:pt x="58" y="58"/>
                  </a:lnTo>
                  <a:cubicBezTo>
                    <a:pt x="69" y="50"/>
                    <a:pt x="63" y="39"/>
                    <a:pt x="55" y="31"/>
                  </a:cubicBezTo>
                  <a:cubicBezTo>
                    <a:pt x="42" y="16"/>
                    <a:pt x="34" y="21"/>
                    <a:pt x="29" y="23"/>
                  </a:cubicBezTo>
                  <a:lnTo>
                    <a:pt x="18" y="31"/>
                  </a:lnTo>
                  <a:lnTo>
                    <a:pt x="47" y="6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8" name="Freeform 110">
              <a:extLst>
                <a:ext uri="{FF2B5EF4-FFF2-40B4-BE49-F238E27FC236}">
                  <a16:creationId xmlns:a16="http://schemas.microsoft.com/office/drawing/2014/main" id="{3747B405-69F7-ED47-BD8E-43DBE373D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0963" y="2265363"/>
              <a:ext cx="23812" cy="20637"/>
            </a:xfrm>
            <a:custGeom>
              <a:avLst/>
              <a:gdLst>
                <a:gd name="T0" fmla="*/ 63 w 64"/>
                <a:gd name="T1" fmla="*/ 45 h 56"/>
                <a:gd name="T2" fmla="*/ 53 w 64"/>
                <a:gd name="T3" fmla="*/ 55 h 56"/>
                <a:gd name="T4" fmla="*/ 0 w 64"/>
                <a:gd name="T5" fmla="*/ 10 h 56"/>
                <a:gd name="T6" fmla="*/ 10 w 64"/>
                <a:gd name="T7" fmla="*/ 0 h 56"/>
                <a:gd name="T8" fmla="*/ 63 w 64"/>
                <a:gd name="T9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6">
                  <a:moveTo>
                    <a:pt x="63" y="45"/>
                  </a:moveTo>
                  <a:lnTo>
                    <a:pt x="53" y="5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63" y="4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9" name="Freeform 111">
              <a:extLst>
                <a:ext uri="{FF2B5EF4-FFF2-40B4-BE49-F238E27FC236}">
                  <a16:creationId xmlns:a16="http://schemas.microsoft.com/office/drawing/2014/main" id="{D47BFA67-6460-6542-BAD1-33204A679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4138" y="2084388"/>
              <a:ext cx="31750" cy="28575"/>
            </a:xfrm>
            <a:custGeom>
              <a:avLst/>
              <a:gdLst>
                <a:gd name="T0" fmla="*/ 76 w 88"/>
                <a:gd name="T1" fmla="*/ 45 h 81"/>
                <a:gd name="T2" fmla="*/ 55 w 88"/>
                <a:gd name="T3" fmla="*/ 16 h 81"/>
                <a:gd name="T4" fmla="*/ 42 w 88"/>
                <a:gd name="T5" fmla="*/ 27 h 81"/>
                <a:gd name="T6" fmla="*/ 63 w 88"/>
                <a:gd name="T7" fmla="*/ 53 h 81"/>
                <a:gd name="T8" fmla="*/ 53 w 88"/>
                <a:gd name="T9" fmla="*/ 59 h 81"/>
                <a:gd name="T10" fmla="*/ 34 w 88"/>
                <a:gd name="T11" fmla="*/ 32 h 81"/>
                <a:gd name="T12" fmla="*/ 18 w 88"/>
                <a:gd name="T13" fmla="*/ 43 h 81"/>
                <a:gd name="T14" fmla="*/ 42 w 88"/>
                <a:gd name="T15" fmla="*/ 74 h 81"/>
                <a:gd name="T16" fmla="*/ 31 w 88"/>
                <a:gd name="T17" fmla="*/ 80 h 81"/>
                <a:gd name="T18" fmla="*/ 0 w 88"/>
                <a:gd name="T19" fmla="*/ 40 h 81"/>
                <a:gd name="T20" fmla="*/ 55 w 88"/>
                <a:gd name="T21" fmla="*/ 0 h 81"/>
                <a:gd name="T22" fmla="*/ 87 w 88"/>
                <a:gd name="T23" fmla="*/ 37 h 81"/>
                <a:gd name="T24" fmla="*/ 76 w 88"/>
                <a:gd name="T25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1">
                  <a:moveTo>
                    <a:pt x="76" y="45"/>
                  </a:moveTo>
                  <a:lnTo>
                    <a:pt x="55" y="16"/>
                  </a:lnTo>
                  <a:lnTo>
                    <a:pt x="42" y="27"/>
                  </a:lnTo>
                  <a:lnTo>
                    <a:pt x="63" y="53"/>
                  </a:lnTo>
                  <a:lnTo>
                    <a:pt x="53" y="59"/>
                  </a:lnTo>
                  <a:lnTo>
                    <a:pt x="34" y="32"/>
                  </a:lnTo>
                  <a:lnTo>
                    <a:pt x="18" y="43"/>
                  </a:lnTo>
                  <a:lnTo>
                    <a:pt x="42" y="74"/>
                  </a:lnTo>
                  <a:lnTo>
                    <a:pt x="31" y="80"/>
                  </a:lnTo>
                  <a:lnTo>
                    <a:pt x="0" y="40"/>
                  </a:lnTo>
                  <a:lnTo>
                    <a:pt x="55" y="0"/>
                  </a:lnTo>
                  <a:lnTo>
                    <a:pt x="87" y="37"/>
                  </a:lnTo>
                  <a:lnTo>
                    <a:pt x="76" y="4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0" name="Freeform 112">
              <a:extLst>
                <a:ext uri="{FF2B5EF4-FFF2-40B4-BE49-F238E27FC236}">
                  <a16:creationId xmlns:a16="http://schemas.microsoft.com/office/drawing/2014/main" id="{C05DE302-9888-3841-B7B9-9C02A598A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050" y="2284413"/>
              <a:ext cx="31750" cy="31750"/>
            </a:xfrm>
            <a:custGeom>
              <a:avLst/>
              <a:gdLst>
                <a:gd name="T0" fmla="*/ 71 w 90"/>
                <a:gd name="T1" fmla="*/ 63 h 90"/>
                <a:gd name="T2" fmla="*/ 24 w 90"/>
                <a:gd name="T3" fmla="*/ 74 h 90"/>
                <a:gd name="T4" fmla="*/ 18 w 90"/>
                <a:gd name="T5" fmla="*/ 26 h 90"/>
                <a:gd name="T6" fmla="*/ 66 w 90"/>
                <a:gd name="T7" fmla="*/ 16 h 90"/>
                <a:gd name="T8" fmla="*/ 71 w 90"/>
                <a:gd name="T9" fmla="*/ 63 h 90"/>
                <a:gd name="T10" fmla="*/ 61 w 90"/>
                <a:gd name="T11" fmla="*/ 55 h 90"/>
                <a:gd name="T12" fmla="*/ 58 w 90"/>
                <a:gd name="T13" fmla="*/ 26 h 90"/>
                <a:gd name="T14" fmla="*/ 29 w 90"/>
                <a:gd name="T15" fmla="*/ 34 h 90"/>
                <a:gd name="T16" fmla="*/ 32 w 90"/>
                <a:gd name="T17" fmla="*/ 63 h 90"/>
                <a:gd name="T18" fmla="*/ 61 w 90"/>
                <a:gd name="T19" fmla="*/ 5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0">
                  <a:moveTo>
                    <a:pt x="71" y="63"/>
                  </a:moveTo>
                  <a:cubicBezTo>
                    <a:pt x="52" y="89"/>
                    <a:pt x="32" y="79"/>
                    <a:pt x="24" y="74"/>
                  </a:cubicBezTo>
                  <a:cubicBezTo>
                    <a:pt x="16" y="69"/>
                    <a:pt x="0" y="53"/>
                    <a:pt x="18" y="26"/>
                  </a:cubicBezTo>
                  <a:cubicBezTo>
                    <a:pt x="37" y="0"/>
                    <a:pt x="61" y="10"/>
                    <a:pt x="66" y="16"/>
                  </a:cubicBezTo>
                  <a:cubicBezTo>
                    <a:pt x="74" y="21"/>
                    <a:pt x="89" y="36"/>
                    <a:pt x="71" y="63"/>
                  </a:cubicBezTo>
                  <a:close/>
                  <a:moveTo>
                    <a:pt x="61" y="55"/>
                  </a:moveTo>
                  <a:cubicBezTo>
                    <a:pt x="71" y="39"/>
                    <a:pt x="66" y="29"/>
                    <a:pt x="58" y="26"/>
                  </a:cubicBezTo>
                  <a:cubicBezTo>
                    <a:pt x="53" y="21"/>
                    <a:pt x="39" y="21"/>
                    <a:pt x="29" y="34"/>
                  </a:cubicBezTo>
                  <a:cubicBezTo>
                    <a:pt x="18" y="50"/>
                    <a:pt x="26" y="61"/>
                    <a:pt x="32" y="63"/>
                  </a:cubicBezTo>
                  <a:cubicBezTo>
                    <a:pt x="37" y="69"/>
                    <a:pt x="50" y="71"/>
                    <a:pt x="61" y="5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1" name="Freeform 113">
              <a:extLst>
                <a:ext uri="{FF2B5EF4-FFF2-40B4-BE49-F238E27FC236}">
                  <a16:creationId xmlns:a16="http://schemas.microsoft.com/office/drawing/2014/main" id="{4CF3C869-1496-AA4A-A1E6-5C3F286691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6975" y="2297113"/>
              <a:ext cx="20638" cy="26987"/>
            </a:xfrm>
            <a:custGeom>
              <a:avLst/>
              <a:gdLst>
                <a:gd name="T0" fmla="*/ 45 w 59"/>
                <a:gd name="T1" fmla="*/ 16 h 75"/>
                <a:gd name="T2" fmla="*/ 58 w 59"/>
                <a:gd name="T3" fmla="*/ 21 h 75"/>
                <a:gd name="T4" fmla="*/ 13 w 59"/>
                <a:gd name="T5" fmla="*/ 74 h 75"/>
                <a:gd name="T6" fmla="*/ 0 w 59"/>
                <a:gd name="T7" fmla="*/ 71 h 75"/>
                <a:gd name="T8" fmla="*/ 3 w 59"/>
                <a:gd name="T9" fmla="*/ 0 h 75"/>
                <a:gd name="T10" fmla="*/ 19 w 59"/>
                <a:gd name="T11" fmla="*/ 5 h 75"/>
                <a:gd name="T12" fmla="*/ 13 w 59"/>
                <a:gd name="T13" fmla="*/ 58 h 75"/>
                <a:gd name="T14" fmla="*/ 13 w 59"/>
                <a:gd name="T15" fmla="*/ 58 h 75"/>
                <a:gd name="T16" fmla="*/ 45 w 59"/>
                <a:gd name="T17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75">
                  <a:moveTo>
                    <a:pt x="45" y="16"/>
                  </a:moveTo>
                  <a:lnTo>
                    <a:pt x="58" y="21"/>
                  </a:lnTo>
                  <a:lnTo>
                    <a:pt x="13" y="74"/>
                  </a:lnTo>
                  <a:lnTo>
                    <a:pt x="0" y="71"/>
                  </a:lnTo>
                  <a:lnTo>
                    <a:pt x="3" y="0"/>
                  </a:lnTo>
                  <a:lnTo>
                    <a:pt x="19" y="5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45" y="1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2" name="Freeform 114">
              <a:extLst>
                <a:ext uri="{FF2B5EF4-FFF2-40B4-BE49-F238E27FC236}">
                  <a16:creationId xmlns:a16="http://schemas.microsoft.com/office/drawing/2014/main" id="{C99F09A3-65CA-674C-9F34-C3F4AB3489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025" y="2306638"/>
              <a:ext cx="11113" cy="25400"/>
            </a:xfrm>
            <a:custGeom>
              <a:avLst/>
              <a:gdLst>
                <a:gd name="T0" fmla="*/ 13 w 32"/>
                <a:gd name="T1" fmla="*/ 69 h 70"/>
                <a:gd name="T2" fmla="*/ 0 w 32"/>
                <a:gd name="T3" fmla="*/ 63 h 70"/>
                <a:gd name="T4" fmla="*/ 18 w 32"/>
                <a:gd name="T5" fmla="*/ 0 h 70"/>
                <a:gd name="T6" fmla="*/ 31 w 32"/>
                <a:gd name="T7" fmla="*/ 2 h 70"/>
                <a:gd name="T8" fmla="*/ 13 w 32"/>
                <a:gd name="T9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70">
                  <a:moveTo>
                    <a:pt x="13" y="69"/>
                  </a:moveTo>
                  <a:lnTo>
                    <a:pt x="0" y="63"/>
                  </a:lnTo>
                  <a:lnTo>
                    <a:pt x="18" y="0"/>
                  </a:lnTo>
                  <a:lnTo>
                    <a:pt x="31" y="2"/>
                  </a:lnTo>
                  <a:lnTo>
                    <a:pt x="13" y="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3" name="Freeform 115">
              <a:extLst>
                <a:ext uri="{FF2B5EF4-FFF2-40B4-BE49-F238E27FC236}">
                  <a16:creationId xmlns:a16="http://schemas.microsoft.com/office/drawing/2014/main" id="{F4944C3E-4D48-1645-A2A9-72D439077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4125" y="2308225"/>
              <a:ext cx="25400" cy="25400"/>
            </a:xfrm>
            <a:custGeom>
              <a:avLst/>
              <a:gdLst>
                <a:gd name="T0" fmla="*/ 70 w 71"/>
                <a:gd name="T1" fmla="*/ 69 h 72"/>
                <a:gd name="T2" fmla="*/ 57 w 71"/>
                <a:gd name="T3" fmla="*/ 69 h 72"/>
                <a:gd name="T4" fmla="*/ 54 w 71"/>
                <a:gd name="T5" fmla="*/ 13 h 72"/>
                <a:gd name="T6" fmla="*/ 54 w 71"/>
                <a:gd name="T7" fmla="*/ 13 h 72"/>
                <a:gd name="T8" fmla="*/ 44 w 71"/>
                <a:gd name="T9" fmla="*/ 69 h 72"/>
                <a:gd name="T10" fmla="*/ 31 w 71"/>
                <a:gd name="T11" fmla="*/ 71 h 72"/>
                <a:gd name="T12" fmla="*/ 13 w 71"/>
                <a:gd name="T13" fmla="*/ 16 h 72"/>
                <a:gd name="T14" fmla="*/ 13 w 71"/>
                <a:gd name="T15" fmla="*/ 16 h 72"/>
                <a:gd name="T16" fmla="*/ 18 w 71"/>
                <a:gd name="T17" fmla="*/ 71 h 72"/>
                <a:gd name="T18" fmla="*/ 5 w 71"/>
                <a:gd name="T19" fmla="*/ 71 h 72"/>
                <a:gd name="T20" fmla="*/ 0 w 71"/>
                <a:gd name="T21" fmla="*/ 5 h 72"/>
                <a:gd name="T22" fmla="*/ 21 w 71"/>
                <a:gd name="T23" fmla="*/ 3 h 72"/>
                <a:gd name="T24" fmla="*/ 37 w 71"/>
                <a:gd name="T25" fmla="*/ 56 h 72"/>
                <a:gd name="T26" fmla="*/ 37 w 71"/>
                <a:gd name="T27" fmla="*/ 56 h 72"/>
                <a:gd name="T28" fmla="*/ 46 w 71"/>
                <a:gd name="T29" fmla="*/ 3 h 72"/>
                <a:gd name="T30" fmla="*/ 65 w 71"/>
                <a:gd name="T31" fmla="*/ 0 h 72"/>
                <a:gd name="T32" fmla="*/ 70 w 71"/>
                <a:gd name="T33" fmla="*/ 6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" h="72">
                  <a:moveTo>
                    <a:pt x="70" y="69"/>
                  </a:moveTo>
                  <a:lnTo>
                    <a:pt x="57" y="69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44" y="69"/>
                  </a:lnTo>
                  <a:lnTo>
                    <a:pt x="31" y="71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8" y="71"/>
                  </a:lnTo>
                  <a:lnTo>
                    <a:pt x="5" y="71"/>
                  </a:lnTo>
                  <a:lnTo>
                    <a:pt x="0" y="5"/>
                  </a:lnTo>
                  <a:lnTo>
                    <a:pt x="21" y="3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46" y="3"/>
                  </a:lnTo>
                  <a:lnTo>
                    <a:pt x="65" y="0"/>
                  </a:lnTo>
                  <a:lnTo>
                    <a:pt x="70" y="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4" name="Freeform 116">
              <a:extLst>
                <a:ext uri="{FF2B5EF4-FFF2-40B4-BE49-F238E27FC236}">
                  <a16:creationId xmlns:a16="http://schemas.microsoft.com/office/drawing/2014/main" id="{4BFB20D4-4461-BB4D-A32E-BCE65739B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5875" y="2303463"/>
              <a:ext cx="26988" cy="26987"/>
            </a:xfrm>
            <a:custGeom>
              <a:avLst/>
              <a:gdLst>
                <a:gd name="T0" fmla="*/ 66 w 73"/>
                <a:gd name="T1" fmla="*/ 39 h 75"/>
                <a:gd name="T2" fmla="*/ 45 w 73"/>
                <a:gd name="T3" fmla="*/ 71 h 75"/>
                <a:gd name="T4" fmla="*/ 21 w 73"/>
                <a:gd name="T5" fmla="*/ 69 h 75"/>
                <a:gd name="T6" fmla="*/ 11 w 73"/>
                <a:gd name="T7" fmla="*/ 53 h 75"/>
                <a:gd name="T8" fmla="*/ 0 w 73"/>
                <a:gd name="T9" fmla="*/ 10 h 75"/>
                <a:gd name="T10" fmla="*/ 13 w 73"/>
                <a:gd name="T11" fmla="*/ 8 h 75"/>
                <a:gd name="T12" fmla="*/ 24 w 73"/>
                <a:gd name="T13" fmla="*/ 50 h 75"/>
                <a:gd name="T14" fmla="*/ 40 w 73"/>
                <a:gd name="T15" fmla="*/ 61 h 75"/>
                <a:gd name="T16" fmla="*/ 50 w 73"/>
                <a:gd name="T17" fmla="*/ 45 h 75"/>
                <a:gd name="T18" fmla="*/ 40 w 73"/>
                <a:gd name="T19" fmla="*/ 2 h 75"/>
                <a:gd name="T20" fmla="*/ 53 w 73"/>
                <a:gd name="T21" fmla="*/ 0 h 75"/>
                <a:gd name="T22" fmla="*/ 66 w 73"/>
                <a:gd name="T23" fmla="*/ 3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75">
                  <a:moveTo>
                    <a:pt x="66" y="39"/>
                  </a:moveTo>
                  <a:cubicBezTo>
                    <a:pt x="72" y="58"/>
                    <a:pt x="61" y="66"/>
                    <a:pt x="45" y="71"/>
                  </a:cubicBezTo>
                  <a:cubicBezTo>
                    <a:pt x="40" y="74"/>
                    <a:pt x="29" y="74"/>
                    <a:pt x="21" y="69"/>
                  </a:cubicBezTo>
                  <a:cubicBezTo>
                    <a:pt x="16" y="66"/>
                    <a:pt x="13" y="61"/>
                    <a:pt x="11" y="53"/>
                  </a:cubicBezTo>
                  <a:lnTo>
                    <a:pt x="0" y="10"/>
                  </a:lnTo>
                  <a:lnTo>
                    <a:pt x="13" y="8"/>
                  </a:lnTo>
                  <a:lnTo>
                    <a:pt x="24" y="50"/>
                  </a:lnTo>
                  <a:cubicBezTo>
                    <a:pt x="26" y="58"/>
                    <a:pt x="32" y="61"/>
                    <a:pt x="40" y="61"/>
                  </a:cubicBezTo>
                  <a:cubicBezTo>
                    <a:pt x="50" y="58"/>
                    <a:pt x="53" y="53"/>
                    <a:pt x="50" y="45"/>
                  </a:cubicBezTo>
                  <a:lnTo>
                    <a:pt x="40" y="2"/>
                  </a:lnTo>
                  <a:lnTo>
                    <a:pt x="53" y="0"/>
                  </a:lnTo>
                  <a:lnTo>
                    <a:pt x="66" y="3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" name="Freeform 117">
              <a:extLst>
                <a:ext uri="{FF2B5EF4-FFF2-40B4-BE49-F238E27FC236}">
                  <a16:creationId xmlns:a16="http://schemas.microsoft.com/office/drawing/2014/main" id="{52F18E29-43AB-B74C-8B30-2CBD1CEF5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0775" y="2089150"/>
              <a:ext cx="23813" cy="26988"/>
            </a:xfrm>
            <a:custGeom>
              <a:avLst/>
              <a:gdLst>
                <a:gd name="T0" fmla="*/ 66 w 67"/>
                <a:gd name="T1" fmla="*/ 66 h 77"/>
                <a:gd name="T2" fmla="*/ 59 w 67"/>
                <a:gd name="T3" fmla="*/ 76 h 77"/>
                <a:gd name="T4" fmla="*/ 0 w 67"/>
                <a:gd name="T5" fmla="*/ 39 h 77"/>
                <a:gd name="T6" fmla="*/ 19 w 67"/>
                <a:gd name="T7" fmla="*/ 13 h 77"/>
                <a:gd name="T8" fmla="*/ 51 w 67"/>
                <a:gd name="T9" fmla="*/ 8 h 77"/>
                <a:gd name="T10" fmla="*/ 56 w 67"/>
                <a:gd name="T11" fmla="*/ 37 h 77"/>
                <a:gd name="T12" fmla="*/ 45 w 67"/>
                <a:gd name="T13" fmla="*/ 53 h 77"/>
                <a:gd name="T14" fmla="*/ 66 w 67"/>
                <a:gd name="T15" fmla="*/ 66 h 77"/>
                <a:gd name="T16" fmla="*/ 43 w 67"/>
                <a:gd name="T17" fmla="*/ 37 h 77"/>
                <a:gd name="T18" fmla="*/ 40 w 67"/>
                <a:gd name="T19" fmla="*/ 21 h 77"/>
                <a:gd name="T20" fmla="*/ 24 w 67"/>
                <a:gd name="T21" fmla="*/ 26 h 77"/>
                <a:gd name="T22" fmla="*/ 19 w 67"/>
                <a:gd name="T23" fmla="*/ 37 h 77"/>
                <a:gd name="T24" fmla="*/ 35 w 67"/>
                <a:gd name="T25" fmla="*/ 47 h 77"/>
                <a:gd name="T26" fmla="*/ 43 w 67"/>
                <a:gd name="T27" fmla="*/ 3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77">
                  <a:moveTo>
                    <a:pt x="66" y="66"/>
                  </a:moveTo>
                  <a:lnTo>
                    <a:pt x="59" y="76"/>
                  </a:lnTo>
                  <a:lnTo>
                    <a:pt x="0" y="39"/>
                  </a:lnTo>
                  <a:lnTo>
                    <a:pt x="19" y="13"/>
                  </a:lnTo>
                  <a:cubicBezTo>
                    <a:pt x="27" y="2"/>
                    <a:pt x="37" y="0"/>
                    <a:pt x="51" y="8"/>
                  </a:cubicBezTo>
                  <a:cubicBezTo>
                    <a:pt x="56" y="10"/>
                    <a:pt x="66" y="23"/>
                    <a:pt x="56" y="37"/>
                  </a:cubicBezTo>
                  <a:lnTo>
                    <a:pt x="45" y="53"/>
                  </a:lnTo>
                  <a:lnTo>
                    <a:pt x="66" y="66"/>
                  </a:lnTo>
                  <a:close/>
                  <a:moveTo>
                    <a:pt x="43" y="37"/>
                  </a:moveTo>
                  <a:cubicBezTo>
                    <a:pt x="48" y="29"/>
                    <a:pt x="43" y="23"/>
                    <a:pt x="40" y="21"/>
                  </a:cubicBezTo>
                  <a:cubicBezTo>
                    <a:pt x="35" y="18"/>
                    <a:pt x="29" y="18"/>
                    <a:pt x="24" y="26"/>
                  </a:cubicBezTo>
                  <a:lnTo>
                    <a:pt x="19" y="37"/>
                  </a:lnTo>
                  <a:lnTo>
                    <a:pt x="35" y="47"/>
                  </a:lnTo>
                  <a:lnTo>
                    <a:pt x="43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" name="Freeform 118">
              <a:extLst>
                <a:ext uri="{FF2B5EF4-FFF2-40B4-BE49-F238E27FC236}">
                  <a16:creationId xmlns:a16="http://schemas.microsoft.com/office/drawing/2014/main" id="{141A259F-00CE-894A-8FBA-FCBAABF9D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3175" y="2274888"/>
              <a:ext cx="7938" cy="6350"/>
            </a:xfrm>
            <a:custGeom>
              <a:avLst/>
              <a:gdLst>
                <a:gd name="T0" fmla="*/ 5 w 24"/>
                <a:gd name="T1" fmla="*/ 18 h 19"/>
                <a:gd name="T2" fmla="*/ 0 w 24"/>
                <a:gd name="T3" fmla="*/ 18 h 19"/>
                <a:gd name="T4" fmla="*/ 18 w 24"/>
                <a:gd name="T5" fmla="*/ 5 h 19"/>
                <a:gd name="T6" fmla="*/ 5 w 2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9">
                  <a:moveTo>
                    <a:pt x="5" y="18"/>
                  </a:moveTo>
                  <a:lnTo>
                    <a:pt x="0" y="18"/>
                  </a:lnTo>
                  <a:cubicBezTo>
                    <a:pt x="2" y="11"/>
                    <a:pt x="8" y="0"/>
                    <a:pt x="18" y="5"/>
                  </a:cubicBezTo>
                  <a:cubicBezTo>
                    <a:pt x="23" y="16"/>
                    <a:pt x="10" y="13"/>
                    <a:pt x="5" y="1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" name="Freeform 119">
              <a:extLst>
                <a:ext uri="{FF2B5EF4-FFF2-40B4-BE49-F238E27FC236}">
                  <a16:creationId xmlns:a16="http://schemas.microsoft.com/office/drawing/2014/main" id="{D2EB8CC6-E1EA-D646-8D22-2422D32EE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6188" y="2200275"/>
              <a:ext cx="7937" cy="4763"/>
            </a:xfrm>
            <a:custGeom>
              <a:avLst/>
              <a:gdLst>
                <a:gd name="T0" fmla="*/ 21 w 22"/>
                <a:gd name="T1" fmla="*/ 14 h 15"/>
                <a:gd name="T2" fmla="*/ 2 w 22"/>
                <a:gd name="T3" fmla="*/ 14 h 15"/>
                <a:gd name="T4" fmla="*/ 21 w 22"/>
                <a:gd name="T5" fmla="*/ 8 h 15"/>
                <a:gd name="T6" fmla="*/ 21 w 22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21" y="14"/>
                  </a:moveTo>
                  <a:lnTo>
                    <a:pt x="2" y="14"/>
                  </a:lnTo>
                  <a:cubicBezTo>
                    <a:pt x="0" y="3"/>
                    <a:pt x="16" y="0"/>
                    <a:pt x="21" y="8"/>
                  </a:cubicBezTo>
                  <a:lnTo>
                    <a:pt x="21" y="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" name="Freeform 120">
              <a:extLst>
                <a:ext uri="{FF2B5EF4-FFF2-40B4-BE49-F238E27FC236}">
                  <a16:creationId xmlns:a16="http://schemas.microsoft.com/office/drawing/2014/main" id="{750563B0-2C0F-5A49-8755-6E7EB77CC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0" y="2155825"/>
              <a:ext cx="15875" cy="4763"/>
            </a:xfrm>
            <a:custGeom>
              <a:avLst/>
              <a:gdLst>
                <a:gd name="T0" fmla="*/ 0 w 42"/>
                <a:gd name="T1" fmla="*/ 13 h 14"/>
                <a:gd name="T2" fmla="*/ 11 w 42"/>
                <a:gd name="T3" fmla="*/ 3 h 14"/>
                <a:gd name="T4" fmla="*/ 31 w 42"/>
                <a:gd name="T5" fmla="*/ 0 h 14"/>
                <a:gd name="T6" fmla="*/ 41 w 42"/>
                <a:gd name="T7" fmla="*/ 0 h 14"/>
                <a:gd name="T8" fmla="*/ 39 w 42"/>
                <a:gd name="T9" fmla="*/ 8 h 14"/>
                <a:gd name="T10" fmla="*/ 26 w 42"/>
                <a:gd name="T11" fmla="*/ 13 h 14"/>
                <a:gd name="T12" fmla="*/ 28 w 42"/>
                <a:gd name="T13" fmla="*/ 8 h 14"/>
                <a:gd name="T14" fmla="*/ 13 w 42"/>
                <a:gd name="T15" fmla="*/ 8 h 14"/>
                <a:gd name="T16" fmla="*/ 5 w 42"/>
                <a:gd name="T17" fmla="*/ 13 h 14"/>
                <a:gd name="T18" fmla="*/ 0 w 42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14">
                  <a:moveTo>
                    <a:pt x="0" y="13"/>
                  </a:moveTo>
                  <a:lnTo>
                    <a:pt x="11" y="3"/>
                  </a:lnTo>
                  <a:lnTo>
                    <a:pt x="31" y="0"/>
                  </a:lnTo>
                  <a:lnTo>
                    <a:pt x="41" y="0"/>
                  </a:lnTo>
                  <a:lnTo>
                    <a:pt x="39" y="8"/>
                  </a:lnTo>
                  <a:lnTo>
                    <a:pt x="26" y="13"/>
                  </a:lnTo>
                  <a:lnTo>
                    <a:pt x="28" y="8"/>
                  </a:lnTo>
                  <a:lnTo>
                    <a:pt x="13" y="8"/>
                  </a:lnTo>
                  <a:lnTo>
                    <a:pt x="5" y="13"/>
                  </a:lnTo>
                  <a:lnTo>
                    <a:pt x="0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" name="Freeform 121">
              <a:extLst>
                <a:ext uri="{FF2B5EF4-FFF2-40B4-BE49-F238E27FC236}">
                  <a16:creationId xmlns:a16="http://schemas.microsoft.com/office/drawing/2014/main" id="{71DE752E-C711-164B-BF08-DE31F9E7D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2155825"/>
              <a:ext cx="11113" cy="6350"/>
            </a:xfrm>
            <a:custGeom>
              <a:avLst/>
              <a:gdLst>
                <a:gd name="T0" fmla="*/ 16 w 33"/>
                <a:gd name="T1" fmla="*/ 0 h 17"/>
                <a:gd name="T2" fmla="*/ 24 w 33"/>
                <a:gd name="T3" fmla="*/ 0 h 17"/>
                <a:gd name="T4" fmla="*/ 32 w 33"/>
                <a:gd name="T5" fmla="*/ 3 h 17"/>
                <a:gd name="T6" fmla="*/ 27 w 33"/>
                <a:gd name="T7" fmla="*/ 8 h 17"/>
                <a:gd name="T8" fmla="*/ 19 w 33"/>
                <a:gd name="T9" fmla="*/ 11 h 17"/>
                <a:gd name="T10" fmla="*/ 14 w 33"/>
                <a:gd name="T11" fmla="*/ 16 h 17"/>
                <a:gd name="T12" fmla="*/ 11 w 33"/>
                <a:gd name="T13" fmla="*/ 11 h 17"/>
                <a:gd name="T14" fmla="*/ 3 w 33"/>
                <a:gd name="T15" fmla="*/ 13 h 17"/>
                <a:gd name="T16" fmla="*/ 0 w 33"/>
                <a:gd name="T17" fmla="*/ 11 h 17"/>
                <a:gd name="T18" fmla="*/ 8 w 33"/>
                <a:gd name="T19" fmla="*/ 8 h 17"/>
                <a:gd name="T20" fmla="*/ 6 w 33"/>
                <a:gd name="T21" fmla="*/ 5 h 17"/>
                <a:gd name="T22" fmla="*/ 8 w 33"/>
                <a:gd name="T23" fmla="*/ 0 h 17"/>
                <a:gd name="T24" fmla="*/ 16 w 33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17">
                  <a:moveTo>
                    <a:pt x="16" y="0"/>
                  </a:moveTo>
                  <a:lnTo>
                    <a:pt x="24" y="0"/>
                  </a:lnTo>
                  <a:lnTo>
                    <a:pt x="32" y="3"/>
                  </a:lnTo>
                  <a:lnTo>
                    <a:pt x="27" y="8"/>
                  </a:lnTo>
                  <a:lnTo>
                    <a:pt x="19" y="11"/>
                  </a:lnTo>
                  <a:lnTo>
                    <a:pt x="14" y="16"/>
                  </a:lnTo>
                  <a:lnTo>
                    <a:pt x="11" y="11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8" y="0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" name="Freeform 122">
              <a:extLst>
                <a:ext uri="{FF2B5EF4-FFF2-40B4-BE49-F238E27FC236}">
                  <a16:creationId xmlns:a16="http://schemas.microsoft.com/office/drawing/2014/main" id="{7A224748-E3B1-0745-B85F-826D4726E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2225" y="2157413"/>
              <a:ext cx="6350" cy="3175"/>
            </a:xfrm>
            <a:custGeom>
              <a:avLst/>
              <a:gdLst>
                <a:gd name="T0" fmla="*/ 2 w 16"/>
                <a:gd name="T1" fmla="*/ 3 h 9"/>
                <a:gd name="T2" fmla="*/ 5 w 16"/>
                <a:gd name="T3" fmla="*/ 0 h 9"/>
                <a:gd name="T4" fmla="*/ 15 w 16"/>
                <a:gd name="T5" fmla="*/ 0 h 9"/>
                <a:gd name="T6" fmla="*/ 13 w 16"/>
                <a:gd name="T7" fmla="*/ 6 h 9"/>
                <a:gd name="T8" fmla="*/ 0 w 16"/>
                <a:gd name="T9" fmla="*/ 8 h 9"/>
                <a:gd name="T10" fmla="*/ 2 w 16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2" y="3"/>
                  </a:moveTo>
                  <a:lnTo>
                    <a:pt x="5" y="0"/>
                  </a:lnTo>
                  <a:lnTo>
                    <a:pt x="15" y="0"/>
                  </a:lnTo>
                  <a:lnTo>
                    <a:pt x="13" y="6"/>
                  </a:lnTo>
                  <a:lnTo>
                    <a:pt x="0" y="8"/>
                  </a:lnTo>
                  <a:lnTo>
                    <a:pt x="2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" name="Freeform 123">
              <a:extLst>
                <a:ext uri="{FF2B5EF4-FFF2-40B4-BE49-F238E27FC236}">
                  <a16:creationId xmlns:a16="http://schemas.microsoft.com/office/drawing/2014/main" id="{984A696F-E9D3-E447-B42A-8B79841246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8413" y="2162175"/>
              <a:ext cx="4762" cy="3175"/>
            </a:xfrm>
            <a:custGeom>
              <a:avLst/>
              <a:gdLst>
                <a:gd name="T0" fmla="*/ 2 w 13"/>
                <a:gd name="T1" fmla="*/ 3 h 7"/>
                <a:gd name="T2" fmla="*/ 12 w 13"/>
                <a:gd name="T3" fmla="*/ 0 h 7"/>
                <a:gd name="T4" fmla="*/ 9 w 13"/>
                <a:gd name="T5" fmla="*/ 6 h 7"/>
                <a:gd name="T6" fmla="*/ 0 w 13"/>
                <a:gd name="T7" fmla="*/ 6 h 7"/>
                <a:gd name="T8" fmla="*/ 2 w 1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2" y="3"/>
                  </a:moveTo>
                  <a:lnTo>
                    <a:pt x="12" y="0"/>
                  </a:lnTo>
                  <a:lnTo>
                    <a:pt x="9" y="6"/>
                  </a:lnTo>
                  <a:lnTo>
                    <a:pt x="0" y="6"/>
                  </a:lnTo>
                  <a:lnTo>
                    <a:pt x="2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" name="Freeform 124">
              <a:extLst>
                <a:ext uri="{FF2B5EF4-FFF2-40B4-BE49-F238E27FC236}">
                  <a16:creationId xmlns:a16="http://schemas.microsoft.com/office/drawing/2014/main" id="{F4CECA89-13AC-FC48-AE73-11C676773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2225" y="2160588"/>
              <a:ext cx="3175" cy="3175"/>
            </a:xfrm>
            <a:custGeom>
              <a:avLst/>
              <a:gdLst>
                <a:gd name="T0" fmla="*/ 0 w 8"/>
                <a:gd name="T1" fmla="*/ 5 h 9"/>
                <a:gd name="T2" fmla="*/ 5 w 8"/>
                <a:gd name="T3" fmla="*/ 0 h 9"/>
                <a:gd name="T4" fmla="*/ 7 w 8"/>
                <a:gd name="T5" fmla="*/ 5 h 9"/>
                <a:gd name="T6" fmla="*/ 5 w 8"/>
                <a:gd name="T7" fmla="*/ 8 h 9"/>
                <a:gd name="T8" fmla="*/ 0 w 8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0" y="5"/>
                  </a:moveTo>
                  <a:lnTo>
                    <a:pt x="5" y="0"/>
                  </a:lnTo>
                  <a:lnTo>
                    <a:pt x="7" y="5"/>
                  </a:lnTo>
                  <a:lnTo>
                    <a:pt x="5" y="8"/>
                  </a:lnTo>
                  <a:lnTo>
                    <a:pt x="0" y="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" name="Freeform 125">
              <a:extLst>
                <a:ext uri="{FF2B5EF4-FFF2-40B4-BE49-F238E27FC236}">
                  <a16:creationId xmlns:a16="http://schemas.microsoft.com/office/drawing/2014/main" id="{817DAE1F-EB61-FE45-9C01-57D97E0A37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0638" y="2163763"/>
              <a:ext cx="3175" cy="4762"/>
            </a:xfrm>
            <a:custGeom>
              <a:avLst/>
              <a:gdLst>
                <a:gd name="T0" fmla="*/ 0 w 9"/>
                <a:gd name="T1" fmla="*/ 8 h 14"/>
                <a:gd name="T2" fmla="*/ 6 w 9"/>
                <a:gd name="T3" fmla="*/ 13 h 14"/>
                <a:gd name="T4" fmla="*/ 8 w 9"/>
                <a:gd name="T5" fmla="*/ 11 h 14"/>
                <a:gd name="T6" fmla="*/ 6 w 9"/>
                <a:gd name="T7" fmla="*/ 0 h 14"/>
                <a:gd name="T8" fmla="*/ 0 w 9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4">
                  <a:moveTo>
                    <a:pt x="0" y="8"/>
                  </a:moveTo>
                  <a:lnTo>
                    <a:pt x="6" y="13"/>
                  </a:lnTo>
                  <a:lnTo>
                    <a:pt x="8" y="11"/>
                  </a:lnTo>
                  <a:lnTo>
                    <a:pt x="6" y="0"/>
                  </a:lnTo>
                  <a:lnTo>
                    <a:pt x="0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4" name="Freeform 126">
              <a:extLst>
                <a:ext uri="{FF2B5EF4-FFF2-40B4-BE49-F238E27FC236}">
                  <a16:creationId xmlns:a16="http://schemas.microsoft.com/office/drawing/2014/main" id="{FE9874FC-4272-8341-88F9-7DF4F8903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3813" y="2165350"/>
              <a:ext cx="3175" cy="3175"/>
            </a:xfrm>
            <a:custGeom>
              <a:avLst/>
              <a:gdLst>
                <a:gd name="T0" fmla="*/ 5 w 11"/>
                <a:gd name="T1" fmla="*/ 8 h 9"/>
                <a:gd name="T2" fmla="*/ 10 w 11"/>
                <a:gd name="T3" fmla="*/ 2 h 9"/>
                <a:gd name="T4" fmla="*/ 0 w 11"/>
                <a:gd name="T5" fmla="*/ 0 h 9"/>
                <a:gd name="T6" fmla="*/ 5 w 11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5" y="8"/>
                  </a:moveTo>
                  <a:lnTo>
                    <a:pt x="10" y="2"/>
                  </a:lnTo>
                  <a:lnTo>
                    <a:pt x="0" y="0"/>
                  </a:lnTo>
                  <a:lnTo>
                    <a:pt x="5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5" name="Freeform 127">
              <a:extLst>
                <a:ext uri="{FF2B5EF4-FFF2-40B4-BE49-F238E27FC236}">
                  <a16:creationId xmlns:a16="http://schemas.microsoft.com/office/drawing/2014/main" id="{59F3A0AD-5C2A-6340-ACC3-4BC84D409A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8575" y="2165350"/>
              <a:ext cx="1588" cy="6350"/>
            </a:xfrm>
            <a:custGeom>
              <a:avLst/>
              <a:gdLst>
                <a:gd name="T0" fmla="*/ 3 w 6"/>
                <a:gd name="T1" fmla="*/ 0 h 17"/>
                <a:gd name="T2" fmla="*/ 5 w 6"/>
                <a:gd name="T3" fmla="*/ 3 h 17"/>
                <a:gd name="T4" fmla="*/ 5 w 6"/>
                <a:gd name="T5" fmla="*/ 16 h 17"/>
                <a:gd name="T6" fmla="*/ 0 w 6"/>
                <a:gd name="T7" fmla="*/ 3 h 17"/>
                <a:gd name="T8" fmla="*/ 3 w 6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7">
                  <a:moveTo>
                    <a:pt x="3" y="0"/>
                  </a:moveTo>
                  <a:lnTo>
                    <a:pt x="5" y="3"/>
                  </a:lnTo>
                  <a:lnTo>
                    <a:pt x="5" y="16"/>
                  </a:lnTo>
                  <a:lnTo>
                    <a:pt x="0" y="3"/>
                  </a:lnTo>
                  <a:lnTo>
                    <a:pt x="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6" name="Freeform 128">
              <a:extLst>
                <a:ext uri="{FF2B5EF4-FFF2-40B4-BE49-F238E27FC236}">
                  <a16:creationId xmlns:a16="http://schemas.microsoft.com/office/drawing/2014/main" id="{48FA611A-D5D7-4048-9A1D-9F49F3D9E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575" y="2074863"/>
              <a:ext cx="171450" cy="211137"/>
            </a:xfrm>
            <a:custGeom>
              <a:avLst/>
              <a:gdLst>
                <a:gd name="T0" fmla="*/ 199 w 477"/>
                <a:gd name="T1" fmla="*/ 18 h 586"/>
                <a:gd name="T2" fmla="*/ 204 w 477"/>
                <a:gd name="T3" fmla="*/ 40 h 586"/>
                <a:gd name="T4" fmla="*/ 220 w 477"/>
                <a:gd name="T5" fmla="*/ 74 h 586"/>
                <a:gd name="T6" fmla="*/ 209 w 477"/>
                <a:gd name="T7" fmla="*/ 66 h 586"/>
                <a:gd name="T8" fmla="*/ 215 w 477"/>
                <a:gd name="T9" fmla="*/ 71 h 586"/>
                <a:gd name="T10" fmla="*/ 202 w 477"/>
                <a:gd name="T11" fmla="*/ 90 h 586"/>
                <a:gd name="T12" fmla="*/ 215 w 477"/>
                <a:gd name="T13" fmla="*/ 98 h 586"/>
                <a:gd name="T14" fmla="*/ 236 w 477"/>
                <a:gd name="T15" fmla="*/ 93 h 586"/>
                <a:gd name="T16" fmla="*/ 241 w 477"/>
                <a:gd name="T17" fmla="*/ 58 h 586"/>
                <a:gd name="T18" fmla="*/ 241 w 477"/>
                <a:gd name="T19" fmla="*/ 58 h 586"/>
                <a:gd name="T20" fmla="*/ 239 w 477"/>
                <a:gd name="T21" fmla="*/ 45 h 586"/>
                <a:gd name="T22" fmla="*/ 237 w 477"/>
                <a:gd name="T23" fmla="*/ 68 h 586"/>
                <a:gd name="T24" fmla="*/ 312 w 477"/>
                <a:gd name="T25" fmla="*/ 283 h 586"/>
                <a:gd name="T26" fmla="*/ 341 w 477"/>
                <a:gd name="T27" fmla="*/ 296 h 586"/>
                <a:gd name="T28" fmla="*/ 357 w 477"/>
                <a:gd name="T29" fmla="*/ 296 h 586"/>
                <a:gd name="T30" fmla="*/ 396 w 477"/>
                <a:gd name="T31" fmla="*/ 339 h 586"/>
                <a:gd name="T32" fmla="*/ 418 w 477"/>
                <a:gd name="T33" fmla="*/ 437 h 586"/>
                <a:gd name="T34" fmla="*/ 338 w 477"/>
                <a:gd name="T35" fmla="*/ 500 h 586"/>
                <a:gd name="T36" fmla="*/ 262 w 477"/>
                <a:gd name="T37" fmla="*/ 572 h 586"/>
                <a:gd name="T38" fmla="*/ 241 w 477"/>
                <a:gd name="T39" fmla="*/ 559 h 586"/>
                <a:gd name="T40" fmla="*/ 260 w 477"/>
                <a:gd name="T41" fmla="*/ 344 h 586"/>
                <a:gd name="T42" fmla="*/ 270 w 477"/>
                <a:gd name="T43" fmla="*/ 302 h 586"/>
                <a:gd name="T44" fmla="*/ 239 w 477"/>
                <a:gd name="T45" fmla="*/ 294 h 586"/>
                <a:gd name="T46" fmla="*/ 167 w 477"/>
                <a:gd name="T47" fmla="*/ 259 h 586"/>
                <a:gd name="T48" fmla="*/ 135 w 477"/>
                <a:gd name="T49" fmla="*/ 238 h 586"/>
                <a:gd name="T50" fmla="*/ 104 w 477"/>
                <a:gd name="T51" fmla="*/ 148 h 586"/>
                <a:gd name="T52" fmla="*/ 0 w 477"/>
                <a:gd name="T53" fmla="*/ 132 h 586"/>
                <a:gd name="T54" fmla="*/ 24 w 477"/>
                <a:gd name="T55" fmla="*/ 103 h 586"/>
                <a:gd name="T56" fmla="*/ 24 w 477"/>
                <a:gd name="T57" fmla="*/ 93 h 586"/>
                <a:gd name="T58" fmla="*/ 24 w 477"/>
                <a:gd name="T59" fmla="*/ 79 h 586"/>
                <a:gd name="T60" fmla="*/ 156 w 477"/>
                <a:gd name="T61" fmla="*/ 42 h 586"/>
                <a:gd name="T62" fmla="*/ 167 w 477"/>
                <a:gd name="T63" fmla="*/ 21 h 586"/>
                <a:gd name="T64" fmla="*/ 207 w 477"/>
                <a:gd name="T65" fmla="*/ 3 h 586"/>
                <a:gd name="T66" fmla="*/ 220 w 477"/>
                <a:gd name="T67" fmla="*/ 10 h 586"/>
                <a:gd name="T68" fmla="*/ 231 w 477"/>
                <a:gd name="T69" fmla="*/ 10 h 586"/>
                <a:gd name="T70" fmla="*/ 285 w 477"/>
                <a:gd name="T71" fmla="*/ 55 h 586"/>
                <a:gd name="T72" fmla="*/ 291 w 477"/>
                <a:gd name="T73" fmla="*/ 79 h 586"/>
                <a:gd name="T74" fmla="*/ 341 w 477"/>
                <a:gd name="T75" fmla="*/ 116 h 586"/>
                <a:gd name="T76" fmla="*/ 265 w 477"/>
                <a:gd name="T77" fmla="*/ 220 h 586"/>
                <a:gd name="T78" fmla="*/ 249 w 477"/>
                <a:gd name="T79" fmla="*/ 206 h 586"/>
                <a:gd name="T80" fmla="*/ 204 w 477"/>
                <a:gd name="T81" fmla="*/ 251 h 586"/>
                <a:gd name="T82" fmla="*/ 225 w 477"/>
                <a:gd name="T83" fmla="*/ 233 h 586"/>
                <a:gd name="T84" fmla="*/ 252 w 477"/>
                <a:gd name="T85" fmla="*/ 270 h 586"/>
                <a:gd name="T86" fmla="*/ 257 w 477"/>
                <a:gd name="T87" fmla="*/ 291 h 586"/>
                <a:gd name="T88" fmla="*/ 273 w 477"/>
                <a:gd name="T89" fmla="*/ 291 h 586"/>
                <a:gd name="T90" fmla="*/ 283 w 477"/>
                <a:gd name="T91" fmla="*/ 296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77" h="586">
                  <a:moveTo>
                    <a:pt x="204" y="40"/>
                  </a:moveTo>
                  <a:cubicBezTo>
                    <a:pt x="207" y="37"/>
                    <a:pt x="204" y="21"/>
                    <a:pt x="199" y="18"/>
                  </a:cubicBezTo>
                  <a:cubicBezTo>
                    <a:pt x="194" y="29"/>
                    <a:pt x="212" y="32"/>
                    <a:pt x="199" y="40"/>
                  </a:cubicBezTo>
                  <a:lnTo>
                    <a:pt x="204" y="40"/>
                  </a:lnTo>
                  <a:close/>
                  <a:moveTo>
                    <a:pt x="237" y="69"/>
                  </a:moveTo>
                  <a:cubicBezTo>
                    <a:pt x="236" y="72"/>
                    <a:pt x="231" y="74"/>
                    <a:pt x="220" y="74"/>
                  </a:cubicBezTo>
                  <a:cubicBezTo>
                    <a:pt x="217" y="71"/>
                    <a:pt x="215" y="69"/>
                    <a:pt x="215" y="66"/>
                  </a:cubicBezTo>
                  <a:lnTo>
                    <a:pt x="209" y="66"/>
                  </a:lnTo>
                  <a:lnTo>
                    <a:pt x="209" y="71"/>
                  </a:lnTo>
                  <a:lnTo>
                    <a:pt x="215" y="71"/>
                  </a:lnTo>
                  <a:cubicBezTo>
                    <a:pt x="212" y="74"/>
                    <a:pt x="209" y="77"/>
                    <a:pt x="207" y="77"/>
                  </a:cubicBezTo>
                  <a:cubicBezTo>
                    <a:pt x="207" y="82"/>
                    <a:pt x="207" y="87"/>
                    <a:pt x="202" y="90"/>
                  </a:cubicBezTo>
                  <a:lnTo>
                    <a:pt x="209" y="90"/>
                  </a:lnTo>
                  <a:cubicBezTo>
                    <a:pt x="212" y="93"/>
                    <a:pt x="215" y="95"/>
                    <a:pt x="215" y="98"/>
                  </a:cubicBezTo>
                  <a:cubicBezTo>
                    <a:pt x="220" y="100"/>
                    <a:pt x="231" y="95"/>
                    <a:pt x="233" y="103"/>
                  </a:cubicBezTo>
                  <a:cubicBezTo>
                    <a:pt x="231" y="95"/>
                    <a:pt x="233" y="93"/>
                    <a:pt x="236" y="93"/>
                  </a:cubicBezTo>
                  <a:cubicBezTo>
                    <a:pt x="236" y="87"/>
                    <a:pt x="235" y="78"/>
                    <a:pt x="237" y="69"/>
                  </a:cubicBezTo>
                  <a:close/>
                  <a:moveTo>
                    <a:pt x="241" y="58"/>
                  </a:moveTo>
                  <a:lnTo>
                    <a:pt x="247" y="53"/>
                  </a:lnTo>
                  <a:cubicBezTo>
                    <a:pt x="244" y="53"/>
                    <a:pt x="244" y="55"/>
                    <a:pt x="241" y="58"/>
                  </a:cubicBezTo>
                  <a:lnTo>
                    <a:pt x="233" y="50"/>
                  </a:lnTo>
                  <a:lnTo>
                    <a:pt x="239" y="45"/>
                  </a:lnTo>
                  <a:cubicBezTo>
                    <a:pt x="233" y="48"/>
                    <a:pt x="231" y="40"/>
                    <a:pt x="225" y="37"/>
                  </a:cubicBezTo>
                  <a:cubicBezTo>
                    <a:pt x="222" y="48"/>
                    <a:pt x="238" y="61"/>
                    <a:pt x="237" y="68"/>
                  </a:cubicBezTo>
                  <a:cubicBezTo>
                    <a:pt x="238" y="65"/>
                    <a:pt x="239" y="61"/>
                    <a:pt x="241" y="58"/>
                  </a:cubicBezTo>
                  <a:close/>
                  <a:moveTo>
                    <a:pt x="312" y="283"/>
                  </a:moveTo>
                  <a:cubicBezTo>
                    <a:pt x="312" y="288"/>
                    <a:pt x="314" y="288"/>
                    <a:pt x="317" y="291"/>
                  </a:cubicBezTo>
                  <a:cubicBezTo>
                    <a:pt x="328" y="281"/>
                    <a:pt x="333" y="288"/>
                    <a:pt x="341" y="296"/>
                  </a:cubicBezTo>
                  <a:cubicBezTo>
                    <a:pt x="343" y="299"/>
                    <a:pt x="349" y="302"/>
                    <a:pt x="354" y="302"/>
                  </a:cubicBezTo>
                  <a:cubicBezTo>
                    <a:pt x="354" y="299"/>
                    <a:pt x="354" y="299"/>
                    <a:pt x="357" y="296"/>
                  </a:cubicBezTo>
                  <a:lnTo>
                    <a:pt x="362" y="296"/>
                  </a:lnTo>
                  <a:cubicBezTo>
                    <a:pt x="367" y="312"/>
                    <a:pt x="394" y="323"/>
                    <a:pt x="396" y="339"/>
                  </a:cubicBezTo>
                  <a:cubicBezTo>
                    <a:pt x="412" y="347"/>
                    <a:pt x="434" y="339"/>
                    <a:pt x="444" y="355"/>
                  </a:cubicBezTo>
                  <a:cubicBezTo>
                    <a:pt x="476" y="389"/>
                    <a:pt x="407" y="402"/>
                    <a:pt x="418" y="437"/>
                  </a:cubicBezTo>
                  <a:cubicBezTo>
                    <a:pt x="412" y="461"/>
                    <a:pt x="394" y="463"/>
                    <a:pt x="373" y="466"/>
                  </a:cubicBezTo>
                  <a:cubicBezTo>
                    <a:pt x="365" y="484"/>
                    <a:pt x="351" y="490"/>
                    <a:pt x="338" y="500"/>
                  </a:cubicBezTo>
                  <a:cubicBezTo>
                    <a:pt x="317" y="500"/>
                    <a:pt x="314" y="516"/>
                    <a:pt x="293" y="522"/>
                  </a:cubicBezTo>
                  <a:cubicBezTo>
                    <a:pt x="285" y="543"/>
                    <a:pt x="268" y="551"/>
                    <a:pt x="262" y="572"/>
                  </a:cubicBezTo>
                  <a:cubicBezTo>
                    <a:pt x="265" y="580"/>
                    <a:pt x="277" y="574"/>
                    <a:pt x="275" y="585"/>
                  </a:cubicBezTo>
                  <a:cubicBezTo>
                    <a:pt x="260" y="585"/>
                    <a:pt x="241" y="577"/>
                    <a:pt x="241" y="559"/>
                  </a:cubicBezTo>
                  <a:cubicBezTo>
                    <a:pt x="247" y="511"/>
                    <a:pt x="283" y="474"/>
                    <a:pt x="285" y="426"/>
                  </a:cubicBezTo>
                  <a:cubicBezTo>
                    <a:pt x="262" y="408"/>
                    <a:pt x="260" y="376"/>
                    <a:pt x="260" y="344"/>
                  </a:cubicBezTo>
                  <a:cubicBezTo>
                    <a:pt x="275" y="336"/>
                    <a:pt x="270" y="320"/>
                    <a:pt x="277" y="310"/>
                  </a:cubicBezTo>
                  <a:lnTo>
                    <a:pt x="270" y="302"/>
                  </a:lnTo>
                  <a:cubicBezTo>
                    <a:pt x="262" y="315"/>
                    <a:pt x="254" y="296"/>
                    <a:pt x="244" y="302"/>
                  </a:cubicBezTo>
                  <a:cubicBezTo>
                    <a:pt x="244" y="299"/>
                    <a:pt x="241" y="296"/>
                    <a:pt x="239" y="294"/>
                  </a:cubicBezTo>
                  <a:cubicBezTo>
                    <a:pt x="233" y="288"/>
                    <a:pt x="225" y="283"/>
                    <a:pt x="220" y="275"/>
                  </a:cubicBezTo>
                  <a:cubicBezTo>
                    <a:pt x="202" y="270"/>
                    <a:pt x="183" y="270"/>
                    <a:pt x="167" y="259"/>
                  </a:cubicBezTo>
                  <a:cubicBezTo>
                    <a:pt x="146" y="257"/>
                    <a:pt x="159" y="236"/>
                    <a:pt x="141" y="230"/>
                  </a:cubicBezTo>
                  <a:cubicBezTo>
                    <a:pt x="138" y="233"/>
                    <a:pt x="135" y="236"/>
                    <a:pt x="135" y="238"/>
                  </a:cubicBezTo>
                  <a:cubicBezTo>
                    <a:pt x="106" y="230"/>
                    <a:pt x="119" y="201"/>
                    <a:pt x="104" y="183"/>
                  </a:cubicBezTo>
                  <a:cubicBezTo>
                    <a:pt x="106" y="169"/>
                    <a:pt x="106" y="159"/>
                    <a:pt x="104" y="148"/>
                  </a:cubicBezTo>
                  <a:cubicBezTo>
                    <a:pt x="101" y="140"/>
                    <a:pt x="98" y="135"/>
                    <a:pt x="93" y="127"/>
                  </a:cubicBezTo>
                  <a:cubicBezTo>
                    <a:pt x="64" y="95"/>
                    <a:pt x="35" y="148"/>
                    <a:pt x="0" y="132"/>
                  </a:cubicBezTo>
                  <a:cubicBezTo>
                    <a:pt x="13" y="132"/>
                    <a:pt x="24" y="127"/>
                    <a:pt x="32" y="116"/>
                  </a:cubicBezTo>
                  <a:cubicBezTo>
                    <a:pt x="29" y="111"/>
                    <a:pt x="21" y="111"/>
                    <a:pt x="24" y="103"/>
                  </a:cubicBezTo>
                  <a:lnTo>
                    <a:pt x="29" y="98"/>
                  </a:lnTo>
                  <a:lnTo>
                    <a:pt x="24" y="93"/>
                  </a:lnTo>
                  <a:lnTo>
                    <a:pt x="29" y="87"/>
                  </a:lnTo>
                  <a:cubicBezTo>
                    <a:pt x="27" y="85"/>
                    <a:pt x="24" y="82"/>
                    <a:pt x="24" y="79"/>
                  </a:cubicBezTo>
                  <a:cubicBezTo>
                    <a:pt x="40" y="66"/>
                    <a:pt x="64" y="48"/>
                    <a:pt x="90" y="50"/>
                  </a:cubicBezTo>
                  <a:cubicBezTo>
                    <a:pt x="111" y="42"/>
                    <a:pt x="138" y="66"/>
                    <a:pt x="156" y="42"/>
                  </a:cubicBezTo>
                  <a:cubicBezTo>
                    <a:pt x="146" y="42"/>
                    <a:pt x="138" y="29"/>
                    <a:pt x="149" y="21"/>
                  </a:cubicBezTo>
                  <a:cubicBezTo>
                    <a:pt x="154" y="21"/>
                    <a:pt x="162" y="10"/>
                    <a:pt x="167" y="21"/>
                  </a:cubicBezTo>
                  <a:cubicBezTo>
                    <a:pt x="172" y="18"/>
                    <a:pt x="172" y="13"/>
                    <a:pt x="172" y="8"/>
                  </a:cubicBezTo>
                  <a:cubicBezTo>
                    <a:pt x="186" y="0"/>
                    <a:pt x="202" y="24"/>
                    <a:pt x="207" y="3"/>
                  </a:cubicBezTo>
                  <a:lnTo>
                    <a:pt x="215" y="3"/>
                  </a:lnTo>
                  <a:cubicBezTo>
                    <a:pt x="215" y="8"/>
                    <a:pt x="217" y="8"/>
                    <a:pt x="220" y="10"/>
                  </a:cubicBezTo>
                  <a:lnTo>
                    <a:pt x="225" y="5"/>
                  </a:lnTo>
                  <a:lnTo>
                    <a:pt x="231" y="10"/>
                  </a:lnTo>
                  <a:cubicBezTo>
                    <a:pt x="241" y="0"/>
                    <a:pt x="249" y="24"/>
                    <a:pt x="265" y="16"/>
                  </a:cubicBezTo>
                  <a:cubicBezTo>
                    <a:pt x="275" y="24"/>
                    <a:pt x="283" y="40"/>
                    <a:pt x="285" y="55"/>
                  </a:cubicBezTo>
                  <a:cubicBezTo>
                    <a:pt x="280" y="55"/>
                    <a:pt x="275" y="55"/>
                    <a:pt x="273" y="61"/>
                  </a:cubicBezTo>
                  <a:lnTo>
                    <a:pt x="291" y="79"/>
                  </a:lnTo>
                  <a:cubicBezTo>
                    <a:pt x="296" y="77"/>
                    <a:pt x="296" y="71"/>
                    <a:pt x="296" y="66"/>
                  </a:cubicBezTo>
                  <a:cubicBezTo>
                    <a:pt x="317" y="77"/>
                    <a:pt x="330" y="98"/>
                    <a:pt x="341" y="116"/>
                  </a:cubicBezTo>
                  <a:cubicBezTo>
                    <a:pt x="317" y="119"/>
                    <a:pt x="296" y="130"/>
                    <a:pt x="283" y="151"/>
                  </a:cubicBezTo>
                  <a:cubicBezTo>
                    <a:pt x="296" y="185"/>
                    <a:pt x="239" y="185"/>
                    <a:pt x="265" y="220"/>
                  </a:cubicBezTo>
                  <a:lnTo>
                    <a:pt x="257" y="228"/>
                  </a:lnTo>
                  <a:cubicBezTo>
                    <a:pt x="257" y="220"/>
                    <a:pt x="254" y="212"/>
                    <a:pt x="249" y="206"/>
                  </a:cubicBezTo>
                  <a:cubicBezTo>
                    <a:pt x="225" y="220"/>
                    <a:pt x="186" y="193"/>
                    <a:pt x="191" y="236"/>
                  </a:cubicBezTo>
                  <a:cubicBezTo>
                    <a:pt x="196" y="241"/>
                    <a:pt x="196" y="249"/>
                    <a:pt x="204" y="251"/>
                  </a:cubicBezTo>
                  <a:cubicBezTo>
                    <a:pt x="215" y="257"/>
                    <a:pt x="220" y="243"/>
                    <a:pt x="225" y="238"/>
                  </a:cubicBezTo>
                  <a:lnTo>
                    <a:pt x="225" y="233"/>
                  </a:lnTo>
                  <a:lnTo>
                    <a:pt x="244" y="233"/>
                  </a:lnTo>
                  <a:cubicBezTo>
                    <a:pt x="254" y="249"/>
                    <a:pt x="225" y="267"/>
                    <a:pt x="252" y="270"/>
                  </a:cubicBezTo>
                  <a:cubicBezTo>
                    <a:pt x="252" y="275"/>
                    <a:pt x="252" y="281"/>
                    <a:pt x="247" y="283"/>
                  </a:cubicBezTo>
                  <a:cubicBezTo>
                    <a:pt x="249" y="288"/>
                    <a:pt x="252" y="291"/>
                    <a:pt x="257" y="291"/>
                  </a:cubicBezTo>
                  <a:lnTo>
                    <a:pt x="268" y="291"/>
                  </a:lnTo>
                  <a:lnTo>
                    <a:pt x="273" y="291"/>
                  </a:lnTo>
                  <a:cubicBezTo>
                    <a:pt x="275" y="291"/>
                    <a:pt x="280" y="291"/>
                    <a:pt x="280" y="296"/>
                  </a:cubicBezTo>
                  <a:cubicBezTo>
                    <a:pt x="277" y="299"/>
                    <a:pt x="280" y="296"/>
                    <a:pt x="283" y="296"/>
                  </a:cubicBezTo>
                  <a:cubicBezTo>
                    <a:pt x="293" y="291"/>
                    <a:pt x="298" y="286"/>
                    <a:pt x="312" y="2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7" name="Freeform 129">
              <a:extLst>
                <a:ext uri="{FF2B5EF4-FFF2-40B4-BE49-F238E27FC236}">
                  <a16:creationId xmlns:a16="http://schemas.microsoft.com/office/drawing/2014/main" id="{110E7AA2-6C13-484F-880E-FBF5DA554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9063" y="2151063"/>
              <a:ext cx="14287" cy="17462"/>
            </a:xfrm>
            <a:custGeom>
              <a:avLst/>
              <a:gdLst>
                <a:gd name="T0" fmla="*/ 2 w 38"/>
                <a:gd name="T1" fmla="*/ 1 h 47"/>
                <a:gd name="T2" fmla="*/ 18 w 38"/>
                <a:gd name="T3" fmla="*/ 1 h 47"/>
                <a:gd name="T4" fmla="*/ 31 w 38"/>
                <a:gd name="T5" fmla="*/ 3 h 47"/>
                <a:gd name="T6" fmla="*/ 37 w 38"/>
                <a:gd name="T7" fmla="*/ 14 h 47"/>
                <a:gd name="T8" fmla="*/ 31 w 38"/>
                <a:gd name="T9" fmla="*/ 25 h 47"/>
                <a:gd name="T10" fmla="*/ 16 w 38"/>
                <a:gd name="T11" fmla="*/ 30 h 47"/>
                <a:gd name="T12" fmla="*/ 13 w 38"/>
                <a:gd name="T13" fmla="*/ 30 h 47"/>
                <a:gd name="T14" fmla="*/ 13 w 38"/>
                <a:gd name="T15" fmla="*/ 46 h 47"/>
                <a:gd name="T16" fmla="*/ 0 w 38"/>
                <a:gd name="T17" fmla="*/ 46 h 47"/>
                <a:gd name="T18" fmla="*/ 2 w 38"/>
                <a:gd name="T19" fmla="*/ 1 h 47"/>
                <a:gd name="T20" fmla="*/ 13 w 38"/>
                <a:gd name="T21" fmla="*/ 22 h 47"/>
                <a:gd name="T22" fmla="*/ 16 w 38"/>
                <a:gd name="T23" fmla="*/ 22 h 47"/>
                <a:gd name="T24" fmla="*/ 23 w 38"/>
                <a:gd name="T25" fmla="*/ 17 h 47"/>
                <a:gd name="T26" fmla="*/ 16 w 38"/>
                <a:gd name="T27" fmla="*/ 11 h 47"/>
                <a:gd name="T28" fmla="*/ 13 w 38"/>
                <a:gd name="T29" fmla="*/ 11 h 47"/>
                <a:gd name="T30" fmla="*/ 13 w 38"/>
                <a:gd name="T31" fmla="*/ 2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47">
                  <a:moveTo>
                    <a:pt x="2" y="1"/>
                  </a:moveTo>
                  <a:cubicBezTo>
                    <a:pt x="5" y="1"/>
                    <a:pt x="10" y="1"/>
                    <a:pt x="18" y="1"/>
                  </a:cubicBezTo>
                  <a:cubicBezTo>
                    <a:pt x="23" y="1"/>
                    <a:pt x="29" y="0"/>
                    <a:pt x="31" y="3"/>
                  </a:cubicBezTo>
                  <a:cubicBezTo>
                    <a:pt x="34" y="5"/>
                    <a:pt x="37" y="9"/>
                    <a:pt x="37" y="14"/>
                  </a:cubicBezTo>
                  <a:cubicBezTo>
                    <a:pt x="37" y="19"/>
                    <a:pt x="34" y="22"/>
                    <a:pt x="31" y="25"/>
                  </a:cubicBezTo>
                  <a:cubicBezTo>
                    <a:pt x="29" y="27"/>
                    <a:pt x="23" y="30"/>
                    <a:pt x="16" y="30"/>
                  </a:cubicBezTo>
                  <a:lnTo>
                    <a:pt x="13" y="30"/>
                  </a:lnTo>
                  <a:lnTo>
                    <a:pt x="13" y="46"/>
                  </a:lnTo>
                  <a:lnTo>
                    <a:pt x="0" y="46"/>
                  </a:lnTo>
                  <a:lnTo>
                    <a:pt x="2" y="1"/>
                  </a:lnTo>
                  <a:close/>
                  <a:moveTo>
                    <a:pt x="13" y="22"/>
                  </a:moveTo>
                  <a:lnTo>
                    <a:pt x="16" y="22"/>
                  </a:lnTo>
                  <a:cubicBezTo>
                    <a:pt x="21" y="22"/>
                    <a:pt x="23" y="19"/>
                    <a:pt x="23" y="17"/>
                  </a:cubicBezTo>
                  <a:cubicBezTo>
                    <a:pt x="23" y="14"/>
                    <a:pt x="21" y="11"/>
                    <a:pt x="16" y="11"/>
                  </a:cubicBezTo>
                  <a:cubicBezTo>
                    <a:pt x="13" y="11"/>
                    <a:pt x="13" y="11"/>
                    <a:pt x="13" y="11"/>
                  </a:cubicBezTo>
                  <a:lnTo>
                    <a:pt x="13" y="2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8" name="Freeform 130">
              <a:extLst>
                <a:ext uri="{FF2B5EF4-FFF2-40B4-BE49-F238E27FC236}">
                  <a16:creationId xmlns:a16="http://schemas.microsoft.com/office/drawing/2014/main" id="{4C12E53F-72DB-614F-A331-374B1F02FA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238" y="2174875"/>
              <a:ext cx="15875" cy="15875"/>
            </a:xfrm>
            <a:custGeom>
              <a:avLst/>
              <a:gdLst>
                <a:gd name="T0" fmla="*/ 16 w 43"/>
                <a:gd name="T1" fmla="*/ 35 h 46"/>
                <a:gd name="T2" fmla="*/ 13 w 43"/>
                <a:gd name="T3" fmla="*/ 45 h 46"/>
                <a:gd name="T4" fmla="*/ 0 w 43"/>
                <a:gd name="T5" fmla="*/ 45 h 46"/>
                <a:gd name="T6" fmla="*/ 13 w 43"/>
                <a:gd name="T7" fmla="*/ 0 h 46"/>
                <a:gd name="T8" fmla="*/ 29 w 43"/>
                <a:gd name="T9" fmla="*/ 0 h 46"/>
                <a:gd name="T10" fmla="*/ 42 w 43"/>
                <a:gd name="T11" fmla="*/ 45 h 46"/>
                <a:gd name="T12" fmla="*/ 32 w 43"/>
                <a:gd name="T13" fmla="*/ 45 h 46"/>
                <a:gd name="T14" fmla="*/ 29 w 43"/>
                <a:gd name="T15" fmla="*/ 35 h 46"/>
                <a:gd name="T16" fmla="*/ 16 w 43"/>
                <a:gd name="T17" fmla="*/ 35 h 46"/>
                <a:gd name="T18" fmla="*/ 26 w 43"/>
                <a:gd name="T19" fmla="*/ 24 h 46"/>
                <a:gd name="T20" fmla="*/ 24 w 43"/>
                <a:gd name="T21" fmla="*/ 16 h 46"/>
                <a:gd name="T22" fmla="*/ 21 w 43"/>
                <a:gd name="T23" fmla="*/ 8 h 46"/>
                <a:gd name="T24" fmla="*/ 21 w 43"/>
                <a:gd name="T25" fmla="*/ 8 h 46"/>
                <a:gd name="T26" fmla="*/ 18 w 43"/>
                <a:gd name="T27" fmla="*/ 16 h 46"/>
                <a:gd name="T28" fmla="*/ 16 w 43"/>
                <a:gd name="T29" fmla="*/ 24 h 46"/>
                <a:gd name="T30" fmla="*/ 26 w 43"/>
                <a:gd name="T31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46">
                  <a:moveTo>
                    <a:pt x="16" y="35"/>
                  </a:moveTo>
                  <a:lnTo>
                    <a:pt x="13" y="45"/>
                  </a:lnTo>
                  <a:lnTo>
                    <a:pt x="0" y="45"/>
                  </a:lnTo>
                  <a:lnTo>
                    <a:pt x="13" y="0"/>
                  </a:lnTo>
                  <a:lnTo>
                    <a:pt x="29" y="0"/>
                  </a:lnTo>
                  <a:lnTo>
                    <a:pt x="42" y="45"/>
                  </a:lnTo>
                  <a:lnTo>
                    <a:pt x="32" y="45"/>
                  </a:lnTo>
                  <a:lnTo>
                    <a:pt x="29" y="35"/>
                  </a:lnTo>
                  <a:lnTo>
                    <a:pt x="16" y="35"/>
                  </a:lnTo>
                  <a:close/>
                  <a:moveTo>
                    <a:pt x="26" y="24"/>
                  </a:moveTo>
                  <a:lnTo>
                    <a:pt x="24" y="16"/>
                  </a:lnTo>
                  <a:cubicBezTo>
                    <a:pt x="24" y="13"/>
                    <a:pt x="21" y="11"/>
                    <a:pt x="21" y="8"/>
                  </a:cubicBezTo>
                  <a:lnTo>
                    <a:pt x="21" y="8"/>
                  </a:lnTo>
                  <a:cubicBezTo>
                    <a:pt x="21" y="11"/>
                    <a:pt x="18" y="13"/>
                    <a:pt x="18" y="16"/>
                  </a:cubicBezTo>
                  <a:lnTo>
                    <a:pt x="16" y="24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9" name="Freeform 131">
              <a:extLst>
                <a:ext uri="{FF2B5EF4-FFF2-40B4-BE49-F238E27FC236}">
                  <a16:creationId xmlns:a16="http://schemas.microsoft.com/office/drawing/2014/main" id="{53C2B563-C2B9-6249-A75B-1ABF7B71F0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9063" y="2197100"/>
              <a:ext cx="14287" cy="15875"/>
            </a:xfrm>
            <a:custGeom>
              <a:avLst/>
              <a:gdLst>
                <a:gd name="T0" fmla="*/ 10 w 40"/>
                <a:gd name="T1" fmla="*/ 0 h 46"/>
                <a:gd name="T2" fmla="*/ 10 w 40"/>
                <a:gd name="T3" fmla="*/ 16 h 46"/>
                <a:gd name="T4" fmla="*/ 26 w 40"/>
                <a:gd name="T5" fmla="*/ 16 h 46"/>
                <a:gd name="T6" fmla="*/ 26 w 40"/>
                <a:gd name="T7" fmla="*/ 0 h 46"/>
                <a:gd name="T8" fmla="*/ 39 w 40"/>
                <a:gd name="T9" fmla="*/ 0 h 46"/>
                <a:gd name="T10" fmla="*/ 39 w 40"/>
                <a:gd name="T11" fmla="*/ 45 h 46"/>
                <a:gd name="T12" fmla="*/ 26 w 40"/>
                <a:gd name="T13" fmla="*/ 45 h 46"/>
                <a:gd name="T14" fmla="*/ 26 w 40"/>
                <a:gd name="T15" fmla="*/ 26 h 46"/>
                <a:gd name="T16" fmla="*/ 10 w 40"/>
                <a:gd name="T17" fmla="*/ 26 h 46"/>
                <a:gd name="T18" fmla="*/ 10 w 40"/>
                <a:gd name="T19" fmla="*/ 45 h 46"/>
                <a:gd name="T20" fmla="*/ 0 w 40"/>
                <a:gd name="T21" fmla="*/ 45 h 46"/>
                <a:gd name="T22" fmla="*/ 0 w 40"/>
                <a:gd name="T23" fmla="*/ 0 h 46"/>
                <a:gd name="T24" fmla="*/ 10 w 40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46">
                  <a:moveTo>
                    <a:pt x="10" y="0"/>
                  </a:moveTo>
                  <a:lnTo>
                    <a:pt x="10" y="16"/>
                  </a:lnTo>
                  <a:lnTo>
                    <a:pt x="26" y="16"/>
                  </a:lnTo>
                  <a:lnTo>
                    <a:pt x="26" y="0"/>
                  </a:lnTo>
                  <a:lnTo>
                    <a:pt x="39" y="0"/>
                  </a:lnTo>
                  <a:lnTo>
                    <a:pt x="39" y="45"/>
                  </a:lnTo>
                  <a:lnTo>
                    <a:pt x="26" y="45"/>
                  </a:lnTo>
                  <a:lnTo>
                    <a:pt x="26" y="26"/>
                  </a:lnTo>
                  <a:lnTo>
                    <a:pt x="10" y="26"/>
                  </a:lnTo>
                  <a:lnTo>
                    <a:pt x="10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0" name="Freeform 132">
              <a:extLst>
                <a:ext uri="{FF2B5EF4-FFF2-40B4-BE49-F238E27FC236}">
                  <a16:creationId xmlns:a16="http://schemas.microsoft.com/office/drawing/2014/main" id="{A0F24BBA-DAAA-DC47-8303-C478ABE01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2219325"/>
              <a:ext cx="15875" cy="17463"/>
            </a:xfrm>
            <a:custGeom>
              <a:avLst/>
              <a:gdLst>
                <a:gd name="T0" fmla="*/ 21 w 46"/>
                <a:gd name="T1" fmla="*/ 47 h 48"/>
                <a:gd name="T2" fmla="*/ 0 w 46"/>
                <a:gd name="T3" fmla="*/ 24 h 48"/>
                <a:gd name="T4" fmla="*/ 24 w 46"/>
                <a:gd name="T5" fmla="*/ 0 h 48"/>
                <a:gd name="T6" fmla="*/ 45 w 46"/>
                <a:gd name="T7" fmla="*/ 24 h 48"/>
                <a:gd name="T8" fmla="*/ 21 w 46"/>
                <a:gd name="T9" fmla="*/ 47 h 48"/>
                <a:gd name="T10" fmla="*/ 24 w 46"/>
                <a:gd name="T11" fmla="*/ 37 h 48"/>
                <a:gd name="T12" fmla="*/ 34 w 46"/>
                <a:gd name="T13" fmla="*/ 24 h 48"/>
                <a:gd name="T14" fmla="*/ 24 w 46"/>
                <a:gd name="T15" fmla="*/ 10 h 48"/>
                <a:gd name="T16" fmla="*/ 13 w 46"/>
                <a:gd name="T17" fmla="*/ 24 h 48"/>
                <a:gd name="T18" fmla="*/ 24 w 46"/>
                <a:gd name="T19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8">
                  <a:moveTo>
                    <a:pt x="21" y="47"/>
                  </a:moveTo>
                  <a:cubicBezTo>
                    <a:pt x="8" y="47"/>
                    <a:pt x="0" y="37"/>
                    <a:pt x="0" y="24"/>
                  </a:cubicBezTo>
                  <a:cubicBezTo>
                    <a:pt x="0" y="10"/>
                    <a:pt x="8" y="0"/>
                    <a:pt x="24" y="0"/>
                  </a:cubicBezTo>
                  <a:cubicBezTo>
                    <a:pt x="37" y="2"/>
                    <a:pt x="45" y="13"/>
                    <a:pt x="45" y="24"/>
                  </a:cubicBezTo>
                  <a:cubicBezTo>
                    <a:pt x="45" y="37"/>
                    <a:pt x="37" y="47"/>
                    <a:pt x="21" y="47"/>
                  </a:cubicBezTo>
                  <a:close/>
                  <a:moveTo>
                    <a:pt x="24" y="37"/>
                  </a:moveTo>
                  <a:cubicBezTo>
                    <a:pt x="29" y="37"/>
                    <a:pt x="34" y="31"/>
                    <a:pt x="34" y="24"/>
                  </a:cubicBezTo>
                  <a:cubicBezTo>
                    <a:pt x="34" y="16"/>
                    <a:pt x="32" y="10"/>
                    <a:pt x="24" y="10"/>
                  </a:cubicBezTo>
                  <a:cubicBezTo>
                    <a:pt x="16" y="10"/>
                    <a:pt x="13" y="16"/>
                    <a:pt x="13" y="24"/>
                  </a:cubicBezTo>
                  <a:cubicBezTo>
                    <a:pt x="13" y="31"/>
                    <a:pt x="16" y="37"/>
                    <a:pt x="24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" name="Freeform 133">
              <a:extLst>
                <a:ext uri="{FF2B5EF4-FFF2-40B4-BE49-F238E27FC236}">
                  <a16:creationId xmlns:a16="http://schemas.microsoft.com/office/drawing/2014/main" id="{8BA36BDF-84FC-8249-8476-BF08C0138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488" y="2159000"/>
              <a:ext cx="15875" cy="17463"/>
            </a:xfrm>
            <a:custGeom>
              <a:avLst/>
              <a:gdLst>
                <a:gd name="T0" fmla="*/ 21 w 46"/>
                <a:gd name="T1" fmla="*/ 48 h 49"/>
                <a:gd name="T2" fmla="*/ 0 w 46"/>
                <a:gd name="T3" fmla="*/ 24 h 49"/>
                <a:gd name="T4" fmla="*/ 24 w 46"/>
                <a:gd name="T5" fmla="*/ 0 h 49"/>
                <a:gd name="T6" fmla="*/ 45 w 46"/>
                <a:gd name="T7" fmla="*/ 24 h 49"/>
                <a:gd name="T8" fmla="*/ 21 w 46"/>
                <a:gd name="T9" fmla="*/ 48 h 49"/>
                <a:gd name="T10" fmla="*/ 24 w 46"/>
                <a:gd name="T11" fmla="*/ 37 h 49"/>
                <a:gd name="T12" fmla="*/ 35 w 46"/>
                <a:gd name="T13" fmla="*/ 24 h 49"/>
                <a:gd name="T14" fmla="*/ 24 w 46"/>
                <a:gd name="T15" fmla="*/ 10 h 49"/>
                <a:gd name="T16" fmla="*/ 13 w 46"/>
                <a:gd name="T17" fmla="*/ 24 h 49"/>
                <a:gd name="T18" fmla="*/ 24 w 46"/>
                <a:gd name="T19" fmla="*/ 3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9">
                  <a:moveTo>
                    <a:pt x="21" y="48"/>
                  </a:moveTo>
                  <a:cubicBezTo>
                    <a:pt x="8" y="48"/>
                    <a:pt x="0" y="37"/>
                    <a:pt x="0" y="24"/>
                  </a:cubicBezTo>
                  <a:cubicBezTo>
                    <a:pt x="0" y="10"/>
                    <a:pt x="8" y="0"/>
                    <a:pt x="24" y="0"/>
                  </a:cubicBezTo>
                  <a:cubicBezTo>
                    <a:pt x="37" y="3"/>
                    <a:pt x="45" y="13"/>
                    <a:pt x="45" y="24"/>
                  </a:cubicBezTo>
                  <a:cubicBezTo>
                    <a:pt x="45" y="37"/>
                    <a:pt x="37" y="48"/>
                    <a:pt x="21" y="48"/>
                  </a:cubicBezTo>
                  <a:close/>
                  <a:moveTo>
                    <a:pt x="24" y="37"/>
                  </a:moveTo>
                  <a:cubicBezTo>
                    <a:pt x="29" y="37"/>
                    <a:pt x="35" y="32"/>
                    <a:pt x="35" y="24"/>
                  </a:cubicBezTo>
                  <a:cubicBezTo>
                    <a:pt x="35" y="16"/>
                    <a:pt x="32" y="10"/>
                    <a:pt x="24" y="10"/>
                  </a:cubicBezTo>
                  <a:cubicBezTo>
                    <a:pt x="16" y="10"/>
                    <a:pt x="13" y="16"/>
                    <a:pt x="13" y="24"/>
                  </a:cubicBezTo>
                  <a:cubicBezTo>
                    <a:pt x="13" y="32"/>
                    <a:pt x="16" y="37"/>
                    <a:pt x="24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2" name="Freeform 134">
              <a:extLst>
                <a:ext uri="{FF2B5EF4-FFF2-40B4-BE49-F238E27FC236}">
                  <a16:creationId xmlns:a16="http://schemas.microsoft.com/office/drawing/2014/main" id="{E2DB0835-2822-5F45-9DF0-4495FDF12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488" y="2185988"/>
              <a:ext cx="14287" cy="15875"/>
            </a:xfrm>
            <a:custGeom>
              <a:avLst/>
              <a:gdLst>
                <a:gd name="T0" fmla="*/ 2 w 38"/>
                <a:gd name="T1" fmla="*/ 0 h 46"/>
                <a:gd name="T2" fmla="*/ 18 w 38"/>
                <a:gd name="T3" fmla="*/ 0 h 46"/>
                <a:gd name="T4" fmla="*/ 31 w 38"/>
                <a:gd name="T5" fmla="*/ 3 h 46"/>
                <a:gd name="T6" fmla="*/ 37 w 38"/>
                <a:gd name="T7" fmla="*/ 13 h 46"/>
                <a:gd name="T8" fmla="*/ 31 w 38"/>
                <a:gd name="T9" fmla="*/ 24 h 46"/>
                <a:gd name="T10" fmla="*/ 15 w 38"/>
                <a:gd name="T11" fmla="*/ 29 h 46"/>
                <a:gd name="T12" fmla="*/ 13 w 38"/>
                <a:gd name="T13" fmla="*/ 29 h 46"/>
                <a:gd name="T14" fmla="*/ 13 w 38"/>
                <a:gd name="T15" fmla="*/ 45 h 46"/>
                <a:gd name="T16" fmla="*/ 0 w 38"/>
                <a:gd name="T17" fmla="*/ 45 h 46"/>
                <a:gd name="T18" fmla="*/ 2 w 38"/>
                <a:gd name="T19" fmla="*/ 0 h 46"/>
                <a:gd name="T20" fmla="*/ 13 w 38"/>
                <a:gd name="T21" fmla="*/ 21 h 46"/>
                <a:gd name="T22" fmla="*/ 15 w 38"/>
                <a:gd name="T23" fmla="*/ 21 h 46"/>
                <a:gd name="T24" fmla="*/ 23 w 38"/>
                <a:gd name="T25" fmla="*/ 16 h 46"/>
                <a:gd name="T26" fmla="*/ 15 w 38"/>
                <a:gd name="T27" fmla="*/ 11 h 46"/>
                <a:gd name="T28" fmla="*/ 13 w 38"/>
                <a:gd name="T29" fmla="*/ 11 h 46"/>
                <a:gd name="T30" fmla="*/ 13 w 38"/>
                <a:gd name="T31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46">
                  <a:moveTo>
                    <a:pt x="2" y="0"/>
                  </a:moveTo>
                  <a:cubicBezTo>
                    <a:pt x="5" y="0"/>
                    <a:pt x="10" y="0"/>
                    <a:pt x="18" y="0"/>
                  </a:cubicBezTo>
                  <a:cubicBezTo>
                    <a:pt x="23" y="0"/>
                    <a:pt x="28" y="0"/>
                    <a:pt x="31" y="3"/>
                  </a:cubicBezTo>
                  <a:cubicBezTo>
                    <a:pt x="33" y="5"/>
                    <a:pt x="37" y="8"/>
                    <a:pt x="37" y="13"/>
                  </a:cubicBezTo>
                  <a:cubicBezTo>
                    <a:pt x="37" y="19"/>
                    <a:pt x="34" y="21"/>
                    <a:pt x="31" y="24"/>
                  </a:cubicBezTo>
                  <a:cubicBezTo>
                    <a:pt x="29" y="27"/>
                    <a:pt x="23" y="29"/>
                    <a:pt x="15" y="29"/>
                  </a:cubicBezTo>
                  <a:lnTo>
                    <a:pt x="13" y="29"/>
                  </a:lnTo>
                  <a:lnTo>
                    <a:pt x="13" y="45"/>
                  </a:lnTo>
                  <a:lnTo>
                    <a:pt x="0" y="45"/>
                  </a:lnTo>
                  <a:lnTo>
                    <a:pt x="2" y="0"/>
                  </a:lnTo>
                  <a:close/>
                  <a:moveTo>
                    <a:pt x="13" y="21"/>
                  </a:moveTo>
                  <a:lnTo>
                    <a:pt x="15" y="21"/>
                  </a:lnTo>
                  <a:cubicBezTo>
                    <a:pt x="21" y="21"/>
                    <a:pt x="23" y="19"/>
                    <a:pt x="23" y="16"/>
                  </a:cubicBezTo>
                  <a:cubicBezTo>
                    <a:pt x="23" y="13"/>
                    <a:pt x="21" y="11"/>
                    <a:pt x="15" y="11"/>
                  </a:cubicBezTo>
                  <a:cubicBezTo>
                    <a:pt x="13" y="11"/>
                    <a:pt x="13" y="11"/>
                    <a:pt x="13" y="11"/>
                  </a:cubicBez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3" name="Freeform 135">
              <a:extLst>
                <a:ext uri="{FF2B5EF4-FFF2-40B4-BE49-F238E27FC236}">
                  <a16:creationId xmlns:a16="http://schemas.microsoft.com/office/drawing/2014/main" id="{1897AC13-439A-094D-830E-40D2AF364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2208213"/>
              <a:ext cx="11113" cy="15875"/>
            </a:xfrm>
            <a:custGeom>
              <a:avLst/>
              <a:gdLst>
                <a:gd name="T0" fmla="*/ 6 w 33"/>
                <a:gd name="T1" fmla="*/ 31 h 46"/>
                <a:gd name="T2" fmla="*/ 16 w 33"/>
                <a:gd name="T3" fmla="*/ 34 h 46"/>
                <a:gd name="T4" fmla="*/ 22 w 33"/>
                <a:gd name="T5" fmla="*/ 31 h 46"/>
                <a:gd name="T6" fmla="*/ 14 w 33"/>
                <a:gd name="T7" fmla="*/ 26 h 46"/>
                <a:gd name="T8" fmla="*/ 0 w 33"/>
                <a:gd name="T9" fmla="*/ 13 h 46"/>
                <a:gd name="T10" fmla="*/ 19 w 33"/>
                <a:gd name="T11" fmla="*/ 0 h 46"/>
                <a:gd name="T12" fmla="*/ 32 w 33"/>
                <a:gd name="T13" fmla="*/ 2 h 46"/>
                <a:gd name="T14" fmla="*/ 30 w 33"/>
                <a:gd name="T15" fmla="*/ 13 h 46"/>
                <a:gd name="T16" fmla="*/ 19 w 33"/>
                <a:gd name="T17" fmla="*/ 10 h 46"/>
                <a:gd name="T18" fmla="*/ 14 w 33"/>
                <a:gd name="T19" fmla="*/ 13 h 46"/>
                <a:gd name="T20" fmla="*/ 22 w 33"/>
                <a:gd name="T21" fmla="*/ 18 h 46"/>
                <a:gd name="T22" fmla="*/ 32 w 33"/>
                <a:gd name="T23" fmla="*/ 31 h 46"/>
                <a:gd name="T24" fmla="*/ 14 w 33"/>
                <a:gd name="T25" fmla="*/ 45 h 46"/>
                <a:gd name="T26" fmla="*/ 0 w 33"/>
                <a:gd name="T27" fmla="*/ 42 h 46"/>
                <a:gd name="T28" fmla="*/ 6 w 33"/>
                <a:gd name="T29" fmla="*/ 3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6">
                  <a:moveTo>
                    <a:pt x="6" y="31"/>
                  </a:moveTo>
                  <a:cubicBezTo>
                    <a:pt x="8" y="34"/>
                    <a:pt x="14" y="34"/>
                    <a:pt x="16" y="34"/>
                  </a:cubicBezTo>
                  <a:cubicBezTo>
                    <a:pt x="22" y="34"/>
                    <a:pt x="22" y="31"/>
                    <a:pt x="22" y="31"/>
                  </a:cubicBezTo>
                  <a:cubicBezTo>
                    <a:pt x="22" y="29"/>
                    <a:pt x="19" y="29"/>
                    <a:pt x="14" y="26"/>
                  </a:cubicBezTo>
                  <a:cubicBezTo>
                    <a:pt x="6" y="23"/>
                    <a:pt x="0" y="18"/>
                    <a:pt x="0" y="13"/>
                  </a:cubicBezTo>
                  <a:cubicBezTo>
                    <a:pt x="0" y="5"/>
                    <a:pt x="8" y="0"/>
                    <a:pt x="19" y="0"/>
                  </a:cubicBezTo>
                  <a:cubicBezTo>
                    <a:pt x="24" y="0"/>
                    <a:pt x="30" y="0"/>
                    <a:pt x="32" y="2"/>
                  </a:cubicBezTo>
                  <a:lnTo>
                    <a:pt x="30" y="13"/>
                  </a:lnTo>
                  <a:cubicBezTo>
                    <a:pt x="27" y="13"/>
                    <a:pt x="24" y="10"/>
                    <a:pt x="19" y="10"/>
                  </a:cubicBezTo>
                  <a:cubicBezTo>
                    <a:pt x="16" y="10"/>
                    <a:pt x="14" y="13"/>
                    <a:pt x="14" y="13"/>
                  </a:cubicBezTo>
                  <a:cubicBezTo>
                    <a:pt x="14" y="15"/>
                    <a:pt x="16" y="15"/>
                    <a:pt x="22" y="18"/>
                  </a:cubicBezTo>
                  <a:cubicBezTo>
                    <a:pt x="30" y="21"/>
                    <a:pt x="32" y="26"/>
                    <a:pt x="32" y="31"/>
                  </a:cubicBezTo>
                  <a:cubicBezTo>
                    <a:pt x="32" y="39"/>
                    <a:pt x="27" y="45"/>
                    <a:pt x="14" y="45"/>
                  </a:cubicBezTo>
                  <a:cubicBezTo>
                    <a:pt x="8" y="45"/>
                    <a:pt x="3" y="42"/>
                    <a:pt x="0" y="42"/>
                  </a:cubicBezTo>
                  <a:lnTo>
                    <a:pt x="6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4" name="Freeform 136">
              <a:extLst>
                <a:ext uri="{FF2B5EF4-FFF2-40B4-BE49-F238E27FC236}">
                  <a16:creationId xmlns:a16="http://schemas.microsoft.com/office/drawing/2014/main" id="{606BB688-23C2-2941-9CBA-21B71B1ABA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2017713"/>
              <a:ext cx="438150" cy="381000"/>
            </a:xfrm>
            <a:custGeom>
              <a:avLst/>
              <a:gdLst>
                <a:gd name="T0" fmla="*/ 0 w 1219"/>
                <a:gd name="T1" fmla="*/ 0 h 1060"/>
                <a:gd name="T2" fmla="*/ 784 w 1219"/>
                <a:gd name="T3" fmla="*/ 0 h 1060"/>
                <a:gd name="T4" fmla="*/ 1218 w 1219"/>
                <a:gd name="T5" fmla="*/ 365 h 1060"/>
                <a:gd name="T6" fmla="*/ 781 w 1219"/>
                <a:gd name="T7" fmla="*/ 755 h 1060"/>
                <a:gd name="T8" fmla="*/ 455 w 1219"/>
                <a:gd name="T9" fmla="*/ 755 h 1060"/>
                <a:gd name="T10" fmla="*/ 455 w 1219"/>
                <a:gd name="T11" fmla="*/ 1059 h 1060"/>
                <a:gd name="T12" fmla="*/ 0 w 1219"/>
                <a:gd name="T13" fmla="*/ 1059 h 1060"/>
                <a:gd name="T14" fmla="*/ 0 w 1219"/>
                <a:gd name="T15" fmla="*/ 0 h 1060"/>
                <a:gd name="T16" fmla="*/ 543 w 1219"/>
                <a:gd name="T17" fmla="*/ 508 h 1060"/>
                <a:gd name="T18" fmla="*/ 762 w 1219"/>
                <a:gd name="T19" fmla="*/ 371 h 1060"/>
                <a:gd name="T20" fmla="*/ 543 w 1219"/>
                <a:gd name="T21" fmla="*/ 244 h 1060"/>
                <a:gd name="T22" fmla="*/ 445 w 1219"/>
                <a:gd name="T23" fmla="*/ 244 h 1060"/>
                <a:gd name="T24" fmla="*/ 445 w 1219"/>
                <a:gd name="T25" fmla="*/ 508 h 1060"/>
                <a:gd name="T26" fmla="*/ 543 w 1219"/>
                <a:gd name="T27" fmla="*/ 508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9" h="1060">
                  <a:moveTo>
                    <a:pt x="0" y="0"/>
                  </a:moveTo>
                  <a:lnTo>
                    <a:pt x="784" y="0"/>
                  </a:lnTo>
                  <a:cubicBezTo>
                    <a:pt x="969" y="0"/>
                    <a:pt x="1218" y="79"/>
                    <a:pt x="1218" y="365"/>
                  </a:cubicBezTo>
                  <a:cubicBezTo>
                    <a:pt x="1218" y="641"/>
                    <a:pt x="1019" y="755"/>
                    <a:pt x="781" y="755"/>
                  </a:cubicBezTo>
                  <a:lnTo>
                    <a:pt x="455" y="755"/>
                  </a:lnTo>
                  <a:lnTo>
                    <a:pt x="455" y="1059"/>
                  </a:lnTo>
                  <a:lnTo>
                    <a:pt x="0" y="1059"/>
                  </a:lnTo>
                  <a:lnTo>
                    <a:pt x="0" y="0"/>
                  </a:lnTo>
                  <a:close/>
                  <a:moveTo>
                    <a:pt x="543" y="508"/>
                  </a:moveTo>
                  <a:cubicBezTo>
                    <a:pt x="651" y="508"/>
                    <a:pt x="762" y="490"/>
                    <a:pt x="762" y="371"/>
                  </a:cubicBezTo>
                  <a:cubicBezTo>
                    <a:pt x="762" y="259"/>
                    <a:pt x="651" y="244"/>
                    <a:pt x="543" y="244"/>
                  </a:cubicBezTo>
                  <a:lnTo>
                    <a:pt x="445" y="244"/>
                  </a:lnTo>
                  <a:lnTo>
                    <a:pt x="445" y="508"/>
                  </a:lnTo>
                  <a:lnTo>
                    <a:pt x="543" y="5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5" name="Freeform 137">
              <a:extLst>
                <a:ext uri="{FF2B5EF4-FFF2-40B4-BE49-F238E27FC236}">
                  <a16:creationId xmlns:a16="http://schemas.microsoft.com/office/drawing/2014/main" id="{D4A7620A-42A5-7541-8C2C-0AEAD73EDA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5338" y="2017713"/>
              <a:ext cx="528637" cy="381000"/>
            </a:xfrm>
            <a:custGeom>
              <a:avLst/>
              <a:gdLst>
                <a:gd name="T0" fmla="*/ 416 w 1468"/>
                <a:gd name="T1" fmla="*/ 0 h 1060"/>
                <a:gd name="T2" fmla="*/ 1044 w 1468"/>
                <a:gd name="T3" fmla="*/ 0 h 1060"/>
                <a:gd name="T4" fmla="*/ 1467 w 1468"/>
                <a:gd name="T5" fmla="*/ 1059 h 1060"/>
                <a:gd name="T6" fmla="*/ 991 w 1468"/>
                <a:gd name="T7" fmla="*/ 1059 h 1060"/>
                <a:gd name="T8" fmla="*/ 911 w 1468"/>
                <a:gd name="T9" fmla="*/ 829 h 1060"/>
                <a:gd name="T10" fmla="*/ 527 w 1468"/>
                <a:gd name="T11" fmla="*/ 829 h 1060"/>
                <a:gd name="T12" fmla="*/ 453 w 1468"/>
                <a:gd name="T13" fmla="*/ 1059 h 1060"/>
                <a:gd name="T14" fmla="*/ 0 w 1468"/>
                <a:gd name="T15" fmla="*/ 1059 h 1060"/>
                <a:gd name="T16" fmla="*/ 416 w 1468"/>
                <a:gd name="T17" fmla="*/ 0 h 1060"/>
                <a:gd name="T18" fmla="*/ 591 w 1468"/>
                <a:gd name="T19" fmla="*/ 575 h 1060"/>
                <a:gd name="T20" fmla="*/ 856 w 1468"/>
                <a:gd name="T21" fmla="*/ 575 h 1060"/>
                <a:gd name="T22" fmla="*/ 726 w 1468"/>
                <a:gd name="T23" fmla="*/ 228 h 1060"/>
                <a:gd name="T24" fmla="*/ 723 w 1468"/>
                <a:gd name="T25" fmla="*/ 228 h 1060"/>
                <a:gd name="T26" fmla="*/ 591 w 1468"/>
                <a:gd name="T27" fmla="*/ 575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68" h="1060">
                  <a:moveTo>
                    <a:pt x="416" y="0"/>
                  </a:moveTo>
                  <a:lnTo>
                    <a:pt x="1044" y="0"/>
                  </a:lnTo>
                  <a:lnTo>
                    <a:pt x="1467" y="1059"/>
                  </a:lnTo>
                  <a:lnTo>
                    <a:pt x="991" y="1059"/>
                  </a:lnTo>
                  <a:lnTo>
                    <a:pt x="911" y="829"/>
                  </a:lnTo>
                  <a:lnTo>
                    <a:pt x="527" y="829"/>
                  </a:lnTo>
                  <a:lnTo>
                    <a:pt x="453" y="1059"/>
                  </a:lnTo>
                  <a:lnTo>
                    <a:pt x="0" y="1059"/>
                  </a:lnTo>
                  <a:lnTo>
                    <a:pt x="416" y="0"/>
                  </a:lnTo>
                  <a:close/>
                  <a:moveTo>
                    <a:pt x="591" y="575"/>
                  </a:moveTo>
                  <a:lnTo>
                    <a:pt x="856" y="575"/>
                  </a:lnTo>
                  <a:lnTo>
                    <a:pt x="726" y="228"/>
                  </a:lnTo>
                  <a:lnTo>
                    <a:pt x="723" y="228"/>
                  </a:lnTo>
                  <a:lnTo>
                    <a:pt x="591" y="57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6" name="Freeform 138">
              <a:extLst>
                <a:ext uri="{FF2B5EF4-FFF2-40B4-BE49-F238E27FC236}">
                  <a16:creationId xmlns:a16="http://schemas.microsoft.com/office/drawing/2014/main" id="{327EEBFE-B4DA-324E-BE77-87CC374B3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200" y="2017713"/>
              <a:ext cx="438150" cy="381000"/>
            </a:xfrm>
            <a:custGeom>
              <a:avLst/>
              <a:gdLst>
                <a:gd name="T0" fmla="*/ 760 w 1217"/>
                <a:gd name="T1" fmla="*/ 0 h 1060"/>
                <a:gd name="T2" fmla="*/ 1216 w 1217"/>
                <a:gd name="T3" fmla="*/ 0 h 1060"/>
                <a:gd name="T4" fmla="*/ 1216 w 1217"/>
                <a:gd name="T5" fmla="*/ 1059 h 1060"/>
                <a:gd name="T6" fmla="*/ 760 w 1217"/>
                <a:gd name="T7" fmla="*/ 1059 h 1060"/>
                <a:gd name="T8" fmla="*/ 760 w 1217"/>
                <a:gd name="T9" fmla="*/ 678 h 1060"/>
                <a:gd name="T10" fmla="*/ 456 w 1217"/>
                <a:gd name="T11" fmla="*/ 678 h 1060"/>
                <a:gd name="T12" fmla="*/ 456 w 1217"/>
                <a:gd name="T13" fmla="*/ 1059 h 1060"/>
                <a:gd name="T14" fmla="*/ 0 w 1217"/>
                <a:gd name="T15" fmla="*/ 1059 h 1060"/>
                <a:gd name="T16" fmla="*/ 0 w 1217"/>
                <a:gd name="T17" fmla="*/ 0 h 1060"/>
                <a:gd name="T18" fmla="*/ 456 w 1217"/>
                <a:gd name="T19" fmla="*/ 0 h 1060"/>
                <a:gd name="T20" fmla="*/ 456 w 1217"/>
                <a:gd name="T21" fmla="*/ 365 h 1060"/>
                <a:gd name="T22" fmla="*/ 760 w 1217"/>
                <a:gd name="T23" fmla="*/ 365 h 1060"/>
                <a:gd name="T24" fmla="*/ 760 w 1217"/>
                <a:gd name="T25" fmla="*/ 0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17" h="1060">
                  <a:moveTo>
                    <a:pt x="760" y="0"/>
                  </a:moveTo>
                  <a:lnTo>
                    <a:pt x="1216" y="0"/>
                  </a:lnTo>
                  <a:lnTo>
                    <a:pt x="1216" y="1059"/>
                  </a:lnTo>
                  <a:lnTo>
                    <a:pt x="760" y="1059"/>
                  </a:lnTo>
                  <a:lnTo>
                    <a:pt x="760" y="678"/>
                  </a:lnTo>
                  <a:lnTo>
                    <a:pt x="456" y="678"/>
                  </a:lnTo>
                  <a:lnTo>
                    <a:pt x="456" y="1059"/>
                  </a:lnTo>
                  <a:lnTo>
                    <a:pt x="0" y="1059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365"/>
                  </a:lnTo>
                  <a:lnTo>
                    <a:pt x="760" y="365"/>
                  </a:lnTo>
                  <a:lnTo>
                    <a:pt x="76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7" name="Freeform 139">
              <a:extLst>
                <a:ext uri="{FF2B5EF4-FFF2-40B4-BE49-F238E27FC236}">
                  <a16:creationId xmlns:a16="http://schemas.microsoft.com/office/drawing/2014/main" id="{747F0B85-9AAD-F341-AD82-A38079F6B3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5625" y="2011363"/>
              <a:ext cx="476250" cy="395287"/>
            </a:xfrm>
            <a:custGeom>
              <a:avLst/>
              <a:gdLst>
                <a:gd name="T0" fmla="*/ 657 w 1322"/>
                <a:gd name="T1" fmla="*/ 1097 h 1098"/>
                <a:gd name="T2" fmla="*/ 0 w 1322"/>
                <a:gd name="T3" fmla="*/ 549 h 1098"/>
                <a:gd name="T4" fmla="*/ 657 w 1322"/>
                <a:gd name="T5" fmla="*/ 0 h 1098"/>
                <a:gd name="T6" fmla="*/ 1319 w 1322"/>
                <a:gd name="T7" fmla="*/ 549 h 1098"/>
                <a:gd name="T8" fmla="*/ 657 w 1322"/>
                <a:gd name="T9" fmla="*/ 1097 h 1098"/>
                <a:gd name="T10" fmla="*/ 657 w 1322"/>
                <a:gd name="T11" fmla="*/ 843 h 1098"/>
                <a:gd name="T12" fmla="*/ 845 w 1322"/>
                <a:gd name="T13" fmla="*/ 549 h 1098"/>
                <a:gd name="T14" fmla="*/ 657 w 1322"/>
                <a:gd name="T15" fmla="*/ 255 h 1098"/>
                <a:gd name="T16" fmla="*/ 474 w 1322"/>
                <a:gd name="T17" fmla="*/ 549 h 1098"/>
                <a:gd name="T18" fmla="*/ 657 w 1322"/>
                <a:gd name="T19" fmla="*/ 843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2" h="1098">
                  <a:moveTo>
                    <a:pt x="657" y="1097"/>
                  </a:moveTo>
                  <a:cubicBezTo>
                    <a:pt x="241" y="1097"/>
                    <a:pt x="0" y="909"/>
                    <a:pt x="0" y="549"/>
                  </a:cubicBezTo>
                  <a:cubicBezTo>
                    <a:pt x="0" y="194"/>
                    <a:pt x="244" y="0"/>
                    <a:pt x="657" y="0"/>
                  </a:cubicBezTo>
                  <a:cubicBezTo>
                    <a:pt x="1072" y="0"/>
                    <a:pt x="1319" y="194"/>
                    <a:pt x="1319" y="549"/>
                  </a:cubicBezTo>
                  <a:cubicBezTo>
                    <a:pt x="1321" y="911"/>
                    <a:pt x="1072" y="1097"/>
                    <a:pt x="657" y="1097"/>
                  </a:cubicBezTo>
                  <a:close/>
                  <a:moveTo>
                    <a:pt x="657" y="843"/>
                  </a:moveTo>
                  <a:cubicBezTo>
                    <a:pt x="837" y="843"/>
                    <a:pt x="842" y="662"/>
                    <a:pt x="845" y="549"/>
                  </a:cubicBezTo>
                  <a:cubicBezTo>
                    <a:pt x="842" y="451"/>
                    <a:pt x="831" y="255"/>
                    <a:pt x="657" y="255"/>
                  </a:cubicBezTo>
                  <a:cubicBezTo>
                    <a:pt x="487" y="255"/>
                    <a:pt x="474" y="448"/>
                    <a:pt x="474" y="549"/>
                  </a:cubicBezTo>
                  <a:cubicBezTo>
                    <a:pt x="477" y="662"/>
                    <a:pt x="495" y="843"/>
                    <a:pt x="657" y="8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24B46963-3CAA-7E46-8E4C-A63175F0D3A3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14613" y="6301945"/>
            <a:ext cx="0" cy="30777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Slide Number Placeholder 8">
            <a:extLst>
              <a:ext uri="{FF2B5EF4-FFF2-40B4-BE49-F238E27FC236}">
                <a16:creationId xmlns:a16="http://schemas.microsoft.com/office/drawing/2014/main" id="{9F130AB5-F5AB-E249-8D20-BF830176BA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14613" y="6292846"/>
            <a:ext cx="739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CEF48CEA-885D-5C4E-A5CD-C931F1E95D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378087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36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563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F7A68B15-EE20-4125-A615-0A987E99D731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8313" imgH="8238" progId="TCLayout.ActiveDocument.1">
                  <p:embed/>
                </p:oleObj>
              </mc:Choice>
              <mc:Fallback>
                <p:oleObj name="think-cell Slide" r:id="rId2" imgW="8313" imgH="8238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F7A68B15-EE20-4125-A615-0A987E99D7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148A4FBA-8DDF-419C-A26F-FB1565C0347A}"/>
              </a:ext>
            </a:extLst>
          </p:cNvPr>
          <p:cNvSpPr/>
          <p:nvPr/>
        </p:nvSpPr>
        <p:spPr>
          <a:xfrm>
            <a:off x="0" y="0"/>
            <a:ext cx="158748" cy="158748"/>
          </a:xfrm>
          <a:prstGeom prst="rect">
            <a:avLst/>
          </a:prstGeom>
          <a:solidFill>
            <a:srgbClr val="082F3B"/>
          </a:solidFill>
          <a:ln cap="flat">
            <a:noFill/>
            <a:prstDash val="solid"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500" b="1" i="0" u="none" strike="noStrike" kern="1200" cap="none" spc="0" baseline="0">
              <a:solidFill>
                <a:srgbClr val="FFFFFF"/>
              </a:solidFill>
              <a:uFillTx/>
              <a:latin typeface="Arial" pitchFamily="34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7E883EB1-7A78-45DE-81C1-1A190D77C00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0A86B79A-FE1D-4223-A31A-8C23FE389B0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4739" y="663223"/>
            <a:ext cx="11082528" cy="246220"/>
          </a:xfrm>
        </p:spPr>
        <p:txBody>
          <a:bodyPr>
            <a:noAutofit/>
          </a:bodyPr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677FDAF-2A9E-4680-A51B-A19C6B982400}"/>
              </a:ext>
            </a:extLst>
          </p:cNvPr>
          <p:cNvSpPr/>
          <p:nvPr/>
        </p:nvSpPr>
        <p:spPr>
          <a:xfrm>
            <a:off x="11312527" y="6584813"/>
            <a:ext cx="325498" cy="13849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r" defTabSz="6107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5CDBA0C-6E2A-49D4-9E3C-B485683024BB}" type="slidenum">
              <a:t>‹#›</a:t>
            </a:fld>
            <a:endParaRPr lang="en-US" sz="900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 pitchFamily="34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05FEA42-68F9-4AE6-9FB6-AB2E00EB9458}"/>
              </a:ext>
            </a:extLst>
          </p:cNvPr>
          <p:cNvSpPr txBox="1"/>
          <p:nvPr/>
        </p:nvSpPr>
        <p:spPr>
          <a:xfrm>
            <a:off x="553970" y="6592513"/>
            <a:ext cx="9144000" cy="123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Segoe UI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 pitchFamily="34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DBCFDD8E-8FCB-478E-9FE9-625EED19C8A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739" y="41596"/>
            <a:ext cx="3843342" cy="123114"/>
          </a:xfrm>
        </p:spPr>
        <p:txBody>
          <a:bodyPr/>
          <a:lstStyle>
            <a:lvl1pPr>
              <a:buNone/>
              <a:defRPr sz="800"/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396214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kground (English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defRPr/>
            </a:pPr>
            <a:fld id="{EF51E725-CE43-44EB-A712-6F2E1FD7CE9D}" type="slidenum">
              <a:rPr lang="en-US" smtClean="0">
                <a:solidFill>
                  <a:srgbClr val="32B6ED">
                    <a:lumMod val="60000"/>
                    <a:lumOff val="40000"/>
                  </a:srgbClr>
                </a:solidFill>
              </a:rPr>
              <a:pPr algn="l">
                <a:defRPr/>
              </a:pPr>
              <a:t>‹#›</a:t>
            </a:fld>
            <a:endParaRPr lang="en-US">
              <a:solidFill>
                <a:srgbClr val="32B6ED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6902F5-B876-4410-A143-203178122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B16CBCE-038D-42F2-8BEA-B1EA007D08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143003"/>
            <a:ext cx="10972800" cy="4983163"/>
          </a:xfrm>
        </p:spPr>
        <p:txBody>
          <a:bodyPr/>
          <a:lstStyle/>
          <a:p>
            <a:pPr lvl="0"/>
            <a:r>
              <a:rPr lang="es-ES" noProof="0" err="1"/>
              <a:t>Click</a:t>
            </a:r>
            <a:r>
              <a:rPr lang="es-ES" noProof="0"/>
              <a:t> to </a:t>
            </a:r>
            <a:r>
              <a:rPr lang="es-ES" noProof="0" err="1"/>
              <a:t>edit</a:t>
            </a:r>
            <a:r>
              <a:rPr lang="es-ES" noProof="0"/>
              <a:t> Master </a:t>
            </a:r>
            <a:r>
              <a:rPr lang="es-ES" noProof="0" err="1"/>
              <a:t>text</a:t>
            </a:r>
            <a:r>
              <a:rPr lang="es-ES" noProof="0"/>
              <a:t> </a:t>
            </a:r>
            <a:r>
              <a:rPr lang="es-ES" noProof="0" err="1"/>
              <a:t>styles</a:t>
            </a:r>
            <a:endParaRPr lang="es-ES" noProof="0"/>
          </a:p>
          <a:p>
            <a:pPr lvl="1"/>
            <a:r>
              <a:rPr lang="es-ES" noProof="0" err="1"/>
              <a:t>Second</a:t>
            </a:r>
            <a:r>
              <a:rPr lang="es-ES" noProof="0"/>
              <a:t> </a:t>
            </a:r>
            <a:r>
              <a:rPr lang="es-ES" noProof="0" err="1"/>
              <a:t>level</a:t>
            </a:r>
            <a:endParaRPr lang="es-ES" noProof="0"/>
          </a:p>
          <a:p>
            <a:pPr lvl="2"/>
            <a:r>
              <a:rPr lang="es-ES" noProof="0" err="1"/>
              <a:t>Third</a:t>
            </a:r>
            <a:r>
              <a:rPr lang="es-ES" noProof="0"/>
              <a:t> </a:t>
            </a:r>
            <a:r>
              <a:rPr lang="es-ES" noProof="0" err="1"/>
              <a:t>level</a:t>
            </a:r>
            <a:endParaRPr lang="es-ES" noProof="0"/>
          </a:p>
          <a:p>
            <a:pPr lvl="3"/>
            <a:r>
              <a:rPr lang="es-ES" noProof="0" err="1"/>
              <a:t>Fourth</a:t>
            </a:r>
            <a:r>
              <a:rPr lang="es-ES" noProof="0"/>
              <a:t> </a:t>
            </a:r>
            <a:r>
              <a:rPr lang="es-ES" noProof="0" err="1"/>
              <a:t>level</a:t>
            </a:r>
            <a:endParaRPr lang="es-ES" noProof="0"/>
          </a:p>
          <a:p>
            <a:pPr lvl="4"/>
            <a:r>
              <a:rPr lang="es-ES" noProof="0" err="1"/>
              <a:t>Fifth</a:t>
            </a:r>
            <a:r>
              <a:rPr lang="es-ES" noProof="0"/>
              <a:t> </a:t>
            </a:r>
            <a:r>
              <a:rPr lang="es-ES" noProof="0" err="1"/>
              <a:t>level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6421607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4C4B319-9EB1-4A0C-BC5D-CC0D41DAC5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68636CE-AEC0-4363-B5BD-3DE5B4D240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9C989B-C77B-4AB2-BEA2-ADB16ACC0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62515A-DE63-4EDD-9A2E-4FB9D546D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B58D957-B732-4964-AC94-407011095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570141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D709893-D8C5-F54E-90F6-1BC315261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833" y="50580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b="1">
              <a:solidFill>
                <a:srgbClr val="FC66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81997A-FC97-E24C-8D17-88C122D2BD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833" y="1966301"/>
            <a:ext cx="10515600" cy="4023700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56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BECFA96-4C49-5C4D-AF38-376E1C8DB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8017" y="123096"/>
            <a:ext cx="5181600" cy="1325563"/>
          </a:xfrm>
          <a:prstGeom prst="rect">
            <a:avLst/>
          </a:prstGeom>
        </p:spPr>
        <p:txBody>
          <a:bodyPr/>
          <a:lstStyle/>
          <a:p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CDC0BD3-8FA3-DF4A-97EE-B834B32448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508" y="785877"/>
            <a:ext cx="4648200" cy="5099108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3DE1862-497C-AA4D-84A0-231464AF70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88017" y="1708395"/>
            <a:ext cx="5181600" cy="4351338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17CF4C-E3DD-5A4A-824C-81E42CC657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3869" y="6028646"/>
            <a:ext cx="2493247" cy="72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417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BDA1B-1E4C-AA4A-B5AA-A7DE2EE864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5FD36E-B17A-C44F-929B-A03FE3CDD1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BB8C42-E609-784C-8A83-6F64EB987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6B9636-3C12-804F-B3FF-AB009CEA8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8493FB-3925-7648-988E-23E9C76EE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488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0FCA5-65A2-B849-BDF6-AF5F8602F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EF1E2-D298-B448-9CD3-33CD4A1E9C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67F41-267B-7442-B8CD-6A3530B1F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E1206C-89C5-0747-87ED-2C7870BB2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FB716-51B2-8A45-8D30-B12CF8420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765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605DE-B688-9040-BB9B-69ED2DF18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FD4115-6F64-2B43-86E8-F14344BC73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08510A-41D7-6249-A8F5-2116C93A2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02274-037B-8F4A-8851-62D59D7B8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1F0370-A33A-FA47-BFDB-44A5F4482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506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837B2-6C6B-0844-9004-5F1001F61C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34F8EC-048D-8C43-8653-526D73A89C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989A83-3CD7-A04C-BCF7-0BA549B6B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905255-FCDB-AA43-A5BD-B01A6B899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E4706-25D2-8442-87C9-29A3714E2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0F2BEE-AD72-A94D-B456-50C0A78D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46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7053FB-6010-4C43-B0B0-C456D9248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5F19-647B-0D4F-89D3-C46A9B9887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2DC60C-670F-D54E-BD20-FBF5B24438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64933B-C640-7B47-9B47-EB44604456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3DFFF4-E991-ED49-924D-8E95395B53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FEF94D-4D15-7948-9BBE-2FD5BE5D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795431-0C8A-2C40-9E1F-47541F292A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408D13-CEAC-E640-B9FB-4364528C5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724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B02690-21B3-49C2-AC4D-BF2553D51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A1C81A1-FF99-409C-87B4-4BF5C85F7F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C549488-8A82-4144-A32D-682A5F114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46C07C3-E60E-4BCD-B98B-BA99602C4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2A0201A-D58D-4B39-AAAE-24BD93451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5852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C6FE4-25FE-8A4A-8AC8-CAF58B41A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8C2DBF-EEBD-FF41-8E5B-4ECEE4257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056C53-9F9B-E743-85F2-6B1B29ABB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FDFC2A-2232-DC47-BD0C-3F442E26C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894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C3D081-835B-BD4F-AAD0-9021EE13B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182876-6E1E-8246-BD51-0E7C65073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0D95C6-5FFE-5C4C-B108-26CD91ACF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323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35BAC-6941-774E-92CA-385D69710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3F458-D307-9A44-99CC-16A9A4DAA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F996D7-CC09-8348-BAAB-C51F4B0B5D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D20DA1-9D1B-8549-B38F-AA262E5AA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041FC3-276A-0946-A9CB-E066376A7F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94DE65-8E9F-3D49-B782-E158A758E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3883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03F0C-E8D6-DD4B-95B2-AA79BA234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54AF84-A075-3540-8555-1472226944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270112-73AB-5842-A48B-88DFF6F06F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6683D-3D3C-F44B-AA3C-EC95E40CF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F2FB6D-8DB4-9445-A175-DEABBAFA6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363F21-F0ED-BF49-A9BC-A2A7F145FE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6222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43BD8-9E8B-F741-B831-81AB9A401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68FF75-DB61-8A49-B873-D699CE2FE0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A0672A-1AC2-9F4B-BDA4-39D41AE4A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DCC3D-3A0C-C740-81A1-9CB550763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341F44-C3DA-264A-821F-A6586C8F8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5346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522948-B42E-8846-AE86-A55E698B88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220059-8F55-B54C-82DC-994F55DB15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ED1955-55D0-2244-9133-3492B1372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A939A-BE70-6449-89F8-B90052BB9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5AEA2C-1E00-7148-9A3F-EC2A898AC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0240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 bwMode="auto">
          <a:xfrm>
            <a:off x="0" y="-7526"/>
            <a:ext cx="12192000" cy="6865527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94293308"/>
      </p:ext>
    </p:extLst>
  </p:cSld>
  <p:clrMapOvr>
    <a:masterClrMapping/>
  </p:clrMapOvr>
  <p:transition spd="slow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A5BA884-6093-491B-AAC8-4D24FFDD59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3375" y="2485415"/>
            <a:ext cx="9829800" cy="16557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rgbClr val="FF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0580E978-B28C-4C04-B966-CA9C7723D5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3375" y="6356350"/>
            <a:ext cx="259934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Monday, August 13, 2018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EED85C0-A9A3-4F8B-B4F4-C77B0B6B5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9054" y="6356350"/>
            <a:ext cx="3414346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7492FD4-F3FB-49BB-8FF3-1B23214C6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8BB47A-8808-4EE8-B119-28EDB861C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316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CCF782-8ED6-4B03-AC16-ADD1FBC462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t>Clique para modificar o estilo de título do padrão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1AB0B6-E919-49FE-BC7C-C187C8B199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t>Clique para modificar o estilo da legenda do padrão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71263D8-4683-4EAC-B240-5F81D7933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76ACC-3512-45FE-BA60-5186DCD50531}" type="datetimeFigureOut">
              <a:rPr lang="es-PE" smtClean="0"/>
              <a:t>15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386F091-49C7-4191-8428-6898A9D4EE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B4D8D9-FBD0-488E-9488-D2936D52A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3268" b="32583"/>
          <a:stretch/>
        </p:blipFill>
        <p:spPr>
          <a:xfrm>
            <a:off x="9161403" y="6059733"/>
            <a:ext cx="2574969" cy="79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5078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B02690-21B3-49C2-AC4D-BF2553D51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A1C81A1-FF99-409C-87B4-4BF5C85F7F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C549488-8A82-4144-A32D-682A5F114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46C07C3-E60E-4BCD-B98B-BA99602C4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2A0201A-D58D-4B39-AAAE-24BD93451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5103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983380-BDBA-491A-9EE4-C842CA6AE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D0D4545-1EC1-4C0C-9A16-EC4C6037CE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28C227-A513-45E9-9B16-F665320AE8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4D0685E-DF26-4DE4-BA39-91F50929F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2143323-58FB-41B3-8257-5A4B6B4B0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87795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983380-BDBA-491A-9EE4-C842CA6AE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D0D4545-1EC1-4C0C-9A16-EC4C6037CE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C28C227-A513-45E9-9B16-F665320AE8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4D0685E-DF26-4DE4-BA39-91F50929F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2143323-58FB-41B3-8257-5A4B6B4B0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840428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611192-787D-48D5-9DA3-B2C987B69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0C2578-2717-4ED9-9074-114915FC47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322F9E7-35E6-4337-A844-87465509C8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6147152-E5BE-4B7A-8467-DB38C905D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0950EEE-90AB-4807-9572-0F1E20FFF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276788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5D449D-6430-4EA3-84A5-CBE93F4EE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5396E09-5622-4905-8120-CC0A17C646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A49C008-4B13-450F-899E-7BE69771F8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831DF27-0215-467F-89B9-C776E419C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498067C-04E3-4BFE-A15E-4592DCD4C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B6B9CB4-6ADF-441B-967C-792EDED28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329478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8821B3-7E3B-46D9-903C-94F1BDB9F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F66C5A2-030B-4009-9957-5E2A0A66F9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745E5EF-2513-4ACD-8121-ED9D10B255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2772404-72D7-4436-88F9-C36C9F097B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5BD5B58-07B1-409C-9399-3237EF3A9A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2E99E39-77A5-4606-B006-F0A4D79B9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986AE29-403B-4126-9028-736964630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1856E1A-5991-4ECE-9139-0D0ABE537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828524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99794A-1E08-48EE-B90B-03AB77D35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7F4C50E-29F9-49A1-A480-80563214A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ECBB201-66A8-4808-888F-A83B7AB85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FBDC327-D138-480C-A8EE-9351E4F72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45790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1977F77-32BC-4F35-BFD8-71E7B4675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1C78227-FA1B-469D-B4C8-7CC4E23FF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7E95C77-B98A-4CBF-939E-9303FB130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344612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4D461A-AC62-4798-94ED-A2AEF356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6786EB-E072-4938-A561-92C50F805E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8A5522-D87C-450F-9610-825B73B3C7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3458382-ED39-4FA0-BAD2-AAB5A058B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2378202-8DD0-45F3-9770-594C38C67B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034B8D6-CD47-4187-AF22-0C3BBDC5D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556651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316FE1-5646-4392-9EB7-883C4FB8C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F5BC0AA-CA64-4B6D-B263-7B2C588AF1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68ACF13-B2CF-49A3-8FCB-DDEC0ED96D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4921DEE-3752-439F-ABA4-785838FAE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B0E440C-1531-412A-93BD-8929B4BA8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ADEF2F5-05D1-4E17-8FCF-B50F135C1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8024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9AE86D-AF91-4AC9-A70C-808553AE7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7183B85-10AC-4A2E-BC2D-2F583537F4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DC7A58B-B6DE-4C14-885C-039FF5796B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C06612D-B207-42AD-9133-2B26C5D6D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1DD9742-0B6F-4378-91D8-CB939EB48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671281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4C4B319-9EB1-4A0C-BC5D-CC0D41DAC5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68636CE-AEC0-4363-B5BD-3DE5B4D240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9C989B-C77B-4AB2-BEA2-ADB16ACC0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62515A-DE63-4EDD-9A2E-4FB9D546D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B58D957-B732-4964-AC94-407011095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79610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611192-787D-48D5-9DA3-B2C987B69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0C2578-2717-4ED9-9074-114915FC47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322F9E7-35E6-4337-A844-87465509C8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6147152-E5BE-4B7A-8467-DB38C905D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0950EEE-90AB-4807-9572-0F1E20FFF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34808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9C57FAA-28BD-A54A-A86D-EDDCE8352C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707567" y="-762000"/>
            <a:ext cx="6815704" cy="61874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202FB83-FF2C-1D4D-9555-6831727DD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4308" y="1802298"/>
            <a:ext cx="4923692" cy="23876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endParaRPr lang="en-US" sz="6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CECC40D-DE09-A848-8928-3828A80B3C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4308" y="4446099"/>
            <a:ext cx="4923692" cy="165576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endParaRPr lang="en-US" sz="3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986229C-658C-6841-A37A-BE85340107D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870840" y="1042217"/>
            <a:ext cx="4123216" cy="37431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2BD5B20-1713-8241-A12C-9B8D1CB56F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0036" r="25527"/>
          <a:stretch/>
        </p:blipFill>
        <p:spPr>
          <a:xfrm>
            <a:off x="10668000" y="3753483"/>
            <a:ext cx="1645920" cy="3362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136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787C8AC-D415-0A46-995B-4E577C849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635855"/>
            <a:ext cx="10515600" cy="2059115"/>
          </a:xfrm>
          <a:prstGeom prst="rect">
            <a:avLst/>
          </a:prstGeom>
        </p:spPr>
        <p:txBody>
          <a:bodyPr/>
          <a:lstStyle/>
          <a:p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2D8F159-C19B-C64E-AE3B-72EBB189D6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721958"/>
            <a:ext cx="10515600" cy="1500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sz="2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52BA5D9-EF4F-154B-AF05-FB175CC1A4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00289B6-65D9-4E34-B30C-C66114399D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6598" b="27226"/>
          <a:stretch/>
        </p:blipFill>
        <p:spPr>
          <a:xfrm>
            <a:off x="9403080" y="5834506"/>
            <a:ext cx="2606040" cy="855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9678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D709893-D8C5-F54E-90F6-1BC315261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833" y="50580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b="1">
              <a:solidFill>
                <a:srgbClr val="FC66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81997A-FC97-E24C-8D17-88C122D2BD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833" y="1966301"/>
            <a:ext cx="10515600" cy="4023700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82F4A4-C7E3-4187-87F2-7066D611F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33268" b="32583"/>
          <a:stretch/>
        </p:blipFill>
        <p:spPr>
          <a:xfrm>
            <a:off x="234150" y="5983532"/>
            <a:ext cx="2574969" cy="79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2013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F20076-48E7-8744-93EF-8076C09ACC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905366" y="-1097279"/>
            <a:ext cx="8979989" cy="815222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BECFA96-4C49-5C4D-AF38-376E1C8DB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8017" y="123096"/>
            <a:ext cx="5181600" cy="1325563"/>
          </a:xfrm>
          <a:prstGeom prst="rect">
            <a:avLst/>
          </a:prstGeom>
        </p:spPr>
        <p:txBody>
          <a:bodyPr/>
          <a:lstStyle/>
          <a:p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CDC0BD3-8FA3-DF4A-97EE-B834B32448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508" y="785877"/>
            <a:ext cx="4648200" cy="5099108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3DE1862-497C-AA4D-84A0-231464AF70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88017" y="1708395"/>
            <a:ext cx="5181600" cy="4351338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17CF4C-E3DD-5A4A-824C-81E42CC6576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3869" y="6028646"/>
            <a:ext cx="2493247" cy="72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577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72229-3F69-425C-9A8D-BB8B9F4934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DA9723-76B7-44CC-A033-9F4C1FBE6C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B2977-901D-4B7F-9170-1C93D2DB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19CF0C-6B02-4C87-8871-8EF861411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2809A-0020-4A69-8DB1-8F0AE3B01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7762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6667F-C006-4262-9C60-E2BF27558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D38830-2217-4B0D-B2B7-E0F47F034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2247F-48A6-44E7-A1D7-613A72BC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0A253-0010-463F-9BD6-1A202F192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4673CE-AA0C-4A3C-981F-54032646F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1423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A22E0-01DE-43C3-94B2-311D07706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636508-D994-4F29-B6A4-04FE3F1E6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07E874-4259-4F82-BB57-54720098C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7914F-0475-4FA1-AB62-D8B32534F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F59E71-43A8-4737-9616-49471DA6E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64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570E5-01FF-49D2-A54D-912900E9E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5C419-CA8E-4EB6-B697-E7F2D303B6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531690-E619-4EA9-A025-3B2495D67B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DBC335-A20D-4649-82BC-1B2C1FE64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B8C1CD-5FAE-4046-A3CF-F04C63DD1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1505CD-20CA-44D3-9128-6748D4ACA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588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0A49F-937B-4CD9-8359-DD9F864AC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297455-4D70-49C8-8C74-29966FE75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9B339-B610-4B2D-8C1A-A19E69901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B4B178-1B53-4287-B8B8-FC835E5659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5E8CF5-8F2D-4727-B163-82DCD1EE58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05981D-FE38-4800-9985-11FCBA303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3033946-5E3A-4300-8A17-CBECB0EF0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34F968-20B4-4869-92AC-2D3CD3CB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2924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862D1-B468-459D-B31E-441FE3B04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3FD5FE-A082-4F83-8E5A-51A834796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D71FB-2651-4120-8626-4D7FB4C29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39F19-4805-4B10-B638-0577FE638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048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5D449D-6430-4EA3-84A5-CBE93F4EE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5396E09-5622-4905-8120-CC0A17C646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A49C008-4B13-450F-899E-7BE69771F8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831DF27-0215-467F-89B9-C776E419C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498067C-04E3-4BFE-A15E-4592DCD4C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B6B9CB4-6ADF-441B-967C-792EDED28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348381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900805-1E11-4E37-9430-4EEFD5679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B7D44E-8A6E-41BB-BBC5-E75E291E1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F17BA0-CBA1-4258-BA5C-586DB5BE9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5949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FE665-B908-417F-97B0-9CB89A527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2DD03-F254-4ED5-B2BD-9744B312B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457D84-F0D1-426F-AC3A-0CF974A5FA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5E410E-411E-4391-A68D-9DCC99964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45BC1F-F8E2-4F9F-8AF5-1CDFB00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004C2B-A9D0-409B-997D-73824EFC1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6827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4FD38-C472-455A-A98B-4DC1C686C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656C9A-A437-447F-8D6B-C372BCF782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156D4-84B2-4338-84B8-69F4E36B12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47E563-89B1-457A-AFBD-A7AB6A212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AD6684-0A92-4CEF-A019-E1F8DCCB7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D22F51-4EA0-4866-A865-89B984E01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3927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B6C0-8258-47F3-831B-B40336B06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4BF5D2-0B4B-4979-A852-E41325C2FC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E0369-60F0-4C3F-958C-71660BB37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75F65-DC81-4998-A38B-0AC2940D6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DAF434-54AA-4AB8-BD3C-2B5901ECD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6246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5F03DFA-141C-4CAC-ACDA-D03D93AAF7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E89C7F-0F8A-4B96-A405-F3C2C47E86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72DBCA-FAC9-4F11-9750-318AFD00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52A70-73C3-4220-9C86-26C9EE9F1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7F12C-9BB4-4FEC-A720-A3EA098AC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8413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208481" y="3783303"/>
            <a:ext cx="4564063" cy="863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399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075709" y="2348636"/>
            <a:ext cx="7537425" cy="1325563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878282" y="2296391"/>
            <a:ext cx="0" cy="27120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68024" y="5964383"/>
            <a:ext cx="2610357" cy="42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040518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078541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5053" y="6249204"/>
            <a:ext cx="1621441" cy="262553"/>
          </a:xfrm>
          <a:prstGeom prst="rect">
            <a:avLst/>
          </a:prstGeom>
        </p:spPr>
      </p:pic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8207649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ADE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8896576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1631354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8821B3-7E3B-46D9-903C-94F1BDB9F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F66C5A2-030B-4009-9957-5E2A0A66F9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745E5EF-2513-4ACD-8121-ED9D10B255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2772404-72D7-4436-88F9-C36C9F097B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5BD5B58-07B1-409C-9399-3237EF3A9A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2E99E39-77A5-4606-B006-F0A4D79B9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986AE29-403B-4126-9028-736964630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1856E1A-5991-4ECE-9139-0D0ABE537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08316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8C3533-A438-4EF3-8D50-1244325AD3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955" y="6246346"/>
            <a:ext cx="1811918" cy="37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0140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4" name="Rectangle 2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445167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2497873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2497874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5703" y="1873406"/>
            <a:ext cx="5167879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56027" y="1873406"/>
            <a:ext cx="5136786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778836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rmAutofit/>
          </a:bodyPr>
          <a:lstStyle>
            <a:lvl1pPr marL="0" indent="0" algn="r">
              <a:buFontTx/>
              <a:buNone/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3537574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68111" y="0"/>
            <a:ext cx="12123889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2996899" y="4484452"/>
            <a:ext cx="6100832" cy="99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05352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5969" y="4960371"/>
            <a:ext cx="835668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876999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838419" y="1359759"/>
            <a:ext cx="10515163" cy="2937439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419" y="4468876"/>
            <a:ext cx="10515163" cy="1664296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3"/>
            <a:ext cx="1051516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8" name="Rectangle 17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076428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175135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400490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3719373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944728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838419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8"/>
          </p:nvPr>
        </p:nvSpPr>
        <p:spPr>
          <a:xfrm>
            <a:off x="3613063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6294180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9068826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6" name="Rectangle 2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grpSpPr>
        <p:sp>
          <p:nvSpPr>
            <p:cNvPr id="2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396628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225268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5247164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325254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26906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7230645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9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040777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418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auto">
          <a:xfrm>
            <a:off x="6145213" y="1905789"/>
            <a:ext cx="5512412" cy="41410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811732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99794A-1E08-48EE-B90B-03AB77D35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7F4C50E-29F9-49A1-A480-80563214A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ECBB201-66A8-4808-888F-A83B7AB85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FBDC327-D138-480C-A8EE-9351E4F72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2880337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145213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68551" y="1905788"/>
            <a:ext cx="5576638" cy="4141052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095939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3137048" y="1891040"/>
            <a:ext cx="2350314" cy="4270550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5647434" y="1891040"/>
            <a:ext cx="5706148" cy="4270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580401"/>
            <a:ext cx="10515163" cy="88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0" name="Rectangle 19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2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4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 bwMode="auto">
          <a:xfrm>
            <a:off x="987276" y="1891040"/>
            <a:ext cx="2422559" cy="42705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86219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856027" y="1873405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354639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0071908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220647" y="1655691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380206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62214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043401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419" y="2064774"/>
            <a:ext cx="10515163" cy="4068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42860" y="6410896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0049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General Slide"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3384B415-4853-A247-A37B-29159E22E2DB}"/>
              </a:ext>
            </a:extLst>
          </p:cNvPr>
          <p:cNvSpPr/>
          <p:nvPr userDrawn="1"/>
        </p:nvSpPr>
        <p:spPr>
          <a:xfrm>
            <a:off x="0" y="6119446"/>
            <a:ext cx="12192000" cy="738554"/>
          </a:xfrm>
          <a:prstGeom prst="rect">
            <a:avLst/>
          </a:prstGeom>
          <a:solidFill>
            <a:srgbClr val="1F6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48C563-FEF0-9F4A-A546-15F2CC57B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>
                <a:solidFill>
                  <a:srgbClr val="1F609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A79F75-17A8-DA49-BFBE-8A231940AA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10515600" cy="41074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8D3A14-4858-FF4E-8DA4-8DC05E123432}"/>
              </a:ext>
            </a:extLst>
          </p:cNvPr>
          <p:cNvGrpSpPr/>
          <p:nvPr userDrawn="1"/>
        </p:nvGrpSpPr>
        <p:grpSpPr>
          <a:xfrm>
            <a:off x="838200" y="6307650"/>
            <a:ext cx="3357949" cy="331271"/>
            <a:chOff x="2933700" y="2011363"/>
            <a:chExt cx="4006850" cy="395287"/>
          </a:xfrm>
          <a:solidFill>
            <a:schemeClr val="bg1"/>
          </a:solidFill>
        </p:grpSpPr>
        <p:sp>
          <p:nvSpPr>
            <p:cNvPr id="9" name="Freeform 1">
              <a:extLst>
                <a:ext uri="{FF2B5EF4-FFF2-40B4-BE49-F238E27FC236}">
                  <a16:creationId xmlns:a16="http://schemas.microsoft.com/office/drawing/2014/main" id="{0B623C8E-A1FE-734D-B97A-116EFDF3F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775" y="2336800"/>
              <a:ext cx="53975" cy="66675"/>
            </a:xfrm>
            <a:custGeom>
              <a:avLst/>
              <a:gdLst>
                <a:gd name="T0" fmla="*/ 98 w 149"/>
                <a:gd name="T1" fmla="*/ 143 h 187"/>
                <a:gd name="T2" fmla="*/ 47 w 149"/>
                <a:gd name="T3" fmla="*/ 143 h 187"/>
                <a:gd name="T4" fmla="*/ 37 w 149"/>
                <a:gd name="T5" fmla="*/ 186 h 187"/>
                <a:gd name="T6" fmla="*/ 0 w 149"/>
                <a:gd name="T7" fmla="*/ 186 h 187"/>
                <a:gd name="T8" fmla="*/ 53 w 149"/>
                <a:gd name="T9" fmla="*/ 0 h 187"/>
                <a:gd name="T10" fmla="*/ 95 w 149"/>
                <a:gd name="T11" fmla="*/ 0 h 187"/>
                <a:gd name="T12" fmla="*/ 148 w 149"/>
                <a:gd name="T13" fmla="*/ 186 h 187"/>
                <a:gd name="T14" fmla="*/ 108 w 149"/>
                <a:gd name="T15" fmla="*/ 186 h 187"/>
                <a:gd name="T16" fmla="*/ 98 w 149"/>
                <a:gd name="T17" fmla="*/ 143 h 187"/>
                <a:gd name="T18" fmla="*/ 74 w 149"/>
                <a:gd name="T19" fmla="*/ 35 h 187"/>
                <a:gd name="T20" fmla="*/ 74 w 149"/>
                <a:gd name="T21" fmla="*/ 35 h 187"/>
                <a:gd name="T22" fmla="*/ 55 w 149"/>
                <a:gd name="T23" fmla="*/ 112 h 187"/>
                <a:gd name="T24" fmla="*/ 93 w 149"/>
                <a:gd name="T25" fmla="*/ 112 h 187"/>
                <a:gd name="T26" fmla="*/ 74 w 149"/>
                <a:gd name="T27" fmla="*/ 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187">
                  <a:moveTo>
                    <a:pt x="98" y="143"/>
                  </a:moveTo>
                  <a:lnTo>
                    <a:pt x="47" y="143"/>
                  </a:lnTo>
                  <a:lnTo>
                    <a:pt x="37" y="186"/>
                  </a:lnTo>
                  <a:lnTo>
                    <a:pt x="0" y="186"/>
                  </a:lnTo>
                  <a:lnTo>
                    <a:pt x="53" y="0"/>
                  </a:lnTo>
                  <a:lnTo>
                    <a:pt x="95" y="0"/>
                  </a:lnTo>
                  <a:lnTo>
                    <a:pt x="148" y="186"/>
                  </a:lnTo>
                  <a:lnTo>
                    <a:pt x="108" y="186"/>
                  </a:lnTo>
                  <a:lnTo>
                    <a:pt x="98" y="143"/>
                  </a:lnTo>
                  <a:close/>
                  <a:moveTo>
                    <a:pt x="74" y="35"/>
                  </a:moveTo>
                  <a:lnTo>
                    <a:pt x="74" y="35"/>
                  </a:lnTo>
                  <a:lnTo>
                    <a:pt x="55" y="112"/>
                  </a:lnTo>
                  <a:lnTo>
                    <a:pt x="93" y="112"/>
                  </a:lnTo>
                  <a:lnTo>
                    <a:pt x="74" y="3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49789206-BC73-414E-947B-DC8544D11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5" y="2351088"/>
              <a:ext cx="60325" cy="50800"/>
            </a:xfrm>
            <a:custGeom>
              <a:avLst/>
              <a:gdLst>
                <a:gd name="T0" fmla="*/ 132 w 168"/>
                <a:gd name="T1" fmla="*/ 55 h 141"/>
                <a:gd name="T2" fmla="*/ 119 w 168"/>
                <a:gd name="T3" fmla="*/ 34 h 141"/>
                <a:gd name="T4" fmla="*/ 103 w 168"/>
                <a:gd name="T5" fmla="*/ 53 h 141"/>
                <a:gd name="T6" fmla="*/ 103 w 168"/>
                <a:gd name="T7" fmla="*/ 140 h 141"/>
                <a:gd name="T8" fmla="*/ 66 w 168"/>
                <a:gd name="T9" fmla="*/ 140 h 141"/>
                <a:gd name="T10" fmla="*/ 66 w 168"/>
                <a:gd name="T11" fmla="*/ 55 h 141"/>
                <a:gd name="T12" fmla="*/ 53 w 168"/>
                <a:gd name="T13" fmla="*/ 34 h 141"/>
                <a:gd name="T14" fmla="*/ 37 w 168"/>
                <a:gd name="T15" fmla="*/ 63 h 141"/>
                <a:gd name="T16" fmla="*/ 37 w 168"/>
                <a:gd name="T17" fmla="*/ 140 h 141"/>
                <a:gd name="T18" fmla="*/ 0 w 168"/>
                <a:gd name="T19" fmla="*/ 140 h 141"/>
                <a:gd name="T20" fmla="*/ 0 w 168"/>
                <a:gd name="T21" fmla="*/ 32 h 141"/>
                <a:gd name="T22" fmla="*/ 0 w 168"/>
                <a:gd name="T23" fmla="*/ 2 h 141"/>
                <a:gd name="T24" fmla="*/ 34 w 168"/>
                <a:gd name="T25" fmla="*/ 2 h 141"/>
                <a:gd name="T26" fmla="*/ 34 w 168"/>
                <a:gd name="T27" fmla="*/ 26 h 141"/>
                <a:gd name="T28" fmla="*/ 34 w 168"/>
                <a:gd name="T29" fmla="*/ 26 h 141"/>
                <a:gd name="T30" fmla="*/ 69 w 168"/>
                <a:gd name="T31" fmla="*/ 0 h 141"/>
                <a:gd name="T32" fmla="*/ 100 w 168"/>
                <a:gd name="T33" fmla="*/ 24 h 141"/>
                <a:gd name="T34" fmla="*/ 132 w 168"/>
                <a:gd name="T35" fmla="*/ 0 h 141"/>
                <a:gd name="T36" fmla="*/ 167 w 168"/>
                <a:gd name="T37" fmla="*/ 50 h 141"/>
                <a:gd name="T38" fmla="*/ 167 w 168"/>
                <a:gd name="T39" fmla="*/ 140 h 141"/>
                <a:gd name="T40" fmla="*/ 132 w 168"/>
                <a:gd name="T41" fmla="*/ 140 h 141"/>
                <a:gd name="T42" fmla="*/ 132 w 168"/>
                <a:gd name="T43" fmla="*/ 5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8" h="141">
                  <a:moveTo>
                    <a:pt x="132" y="55"/>
                  </a:moveTo>
                  <a:cubicBezTo>
                    <a:pt x="132" y="40"/>
                    <a:pt x="127" y="34"/>
                    <a:pt x="119" y="34"/>
                  </a:cubicBezTo>
                  <a:cubicBezTo>
                    <a:pt x="108" y="34"/>
                    <a:pt x="103" y="42"/>
                    <a:pt x="103" y="53"/>
                  </a:cubicBezTo>
                  <a:lnTo>
                    <a:pt x="103" y="140"/>
                  </a:lnTo>
                  <a:lnTo>
                    <a:pt x="66" y="140"/>
                  </a:lnTo>
                  <a:lnTo>
                    <a:pt x="66" y="55"/>
                  </a:lnTo>
                  <a:cubicBezTo>
                    <a:pt x="66" y="37"/>
                    <a:pt x="58" y="34"/>
                    <a:pt x="53" y="34"/>
                  </a:cubicBezTo>
                  <a:cubicBezTo>
                    <a:pt x="39" y="34"/>
                    <a:pt x="37" y="47"/>
                    <a:pt x="37" y="63"/>
                  </a:cubicBezTo>
                  <a:lnTo>
                    <a:pt x="37" y="140"/>
                  </a:lnTo>
                  <a:lnTo>
                    <a:pt x="0" y="140"/>
                  </a:lnTo>
                  <a:lnTo>
                    <a:pt x="0" y="32"/>
                  </a:lnTo>
                  <a:cubicBezTo>
                    <a:pt x="0" y="18"/>
                    <a:pt x="0" y="10"/>
                    <a:pt x="0" y="2"/>
                  </a:cubicBezTo>
                  <a:lnTo>
                    <a:pt x="34" y="2"/>
                  </a:lnTo>
                  <a:cubicBezTo>
                    <a:pt x="34" y="8"/>
                    <a:pt x="34" y="16"/>
                    <a:pt x="34" y="26"/>
                  </a:cubicBezTo>
                  <a:lnTo>
                    <a:pt x="34" y="26"/>
                  </a:lnTo>
                  <a:cubicBezTo>
                    <a:pt x="39" y="10"/>
                    <a:pt x="51" y="0"/>
                    <a:pt x="69" y="0"/>
                  </a:cubicBezTo>
                  <a:cubicBezTo>
                    <a:pt x="88" y="0"/>
                    <a:pt x="95" y="10"/>
                    <a:pt x="100" y="24"/>
                  </a:cubicBezTo>
                  <a:cubicBezTo>
                    <a:pt x="106" y="10"/>
                    <a:pt x="114" y="0"/>
                    <a:pt x="132" y="0"/>
                  </a:cubicBezTo>
                  <a:cubicBezTo>
                    <a:pt x="159" y="0"/>
                    <a:pt x="167" y="21"/>
                    <a:pt x="167" y="50"/>
                  </a:cubicBezTo>
                  <a:lnTo>
                    <a:pt x="167" y="140"/>
                  </a:lnTo>
                  <a:lnTo>
                    <a:pt x="132" y="140"/>
                  </a:lnTo>
                  <a:lnTo>
                    <a:pt x="132" y="5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3">
              <a:extLst>
                <a:ext uri="{FF2B5EF4-FFF2-40B4-BE49-F238E27FC236}">
                  <a16:creationId xmlns:a16="http://schemas.microsoft.com/office/drawing/2014/main" id="{90686755-C048-F441-9E16-4FDB98796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4775" y="2351088"/>
              <a:ext cx="38100" cy="52387"/>
            </a:xfrm>
            <a:custGeom>
              <a:avLst/>
              <a:gdLst>
                <a:gd name="T0" fmla="*/ 106 w 107"/>
                <a:gd name="T1" fmla="*/ 82 h 144"/>
                <a:gd name="T2" fmla="*/ 35 w 107"/>
                <a:gd name="T3" fmla="*/ 82 h 144"/>
                <a:gd name="T4" fmla="*/ 64 w 107"/>
                <a:gd name="T5" fmla="*/ 114 h 144"/>
                <a:gd name="T6" fmla="*/ 98 w 107"/>
                <a:gd name="T7" fmla="*/ 103 h 144"/>
                <a:gd name="T8" fmla="*/ 98 w 107"/>
                <a:gd name="T9" fmla="*/ 135 h 144"/>
                <a:gd name="T10" fmla="*/ 61 w 107"/>
                <a:gd name="T11" fmla="*/ 143 h 144"/>
                <a:gd name="T12" fmla="*/ 0 w 107"/>
                <a:gd name="T13" fmla="*/ 71 h 144"/>
                <a:gd name="T14" fmla="*/ 53 w 107"/>
                <a:gd name="T15" fmla="*/ 0 h 144"/>
                <a:gd name="T16" fmla="*/ 106 w 107"/>
                <a:gd name="T17" fmla="*/ 71 h 144"/>
                <a:gd name="T18" fmla="*/ 106 w 107"/>
                <a:gd name="T19" fmla="*/ 82 h 144"/>
                <a:gd name="T20" fmla="*/ 75 w 107"/>
                <a:gd name="T21" fmla="*/ 61 h 144"/>
                <a:gd name="T22" fmla="*/ 56 w 107"/>
                <a:gd name="T23" fmla="*/ 26 h 144"/>
                <a:gd name="T24" fmla="*/ 37 w 107"/>
                <a:gd name="T25" fmla="*/ 61 h 144"/>
                <a:gd name="T26" fmla="*/ 75 w 107"/>
                <a:gd name="T27" fmla="*/ 6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144">
                  <a:moveTo>
                    <a:pt x="106" y="82"/>
                  </a:moveTo>
                  <a:lnTo>
                    <a:pt x="35" y="82"/>
                  </a:lnTo>
                  <a:cubicBezTo>
                    <a:pt x="35" y="98"/>
                    <a:pt x="43" y="114"/>
                    <a:pt x="64" y="114"/>
                  </a:cubicBezTo>
                  <a:cubicBezTo>
                    <a:pt x="77" y="114"/>
                    <a:pt x="88" y="108"/>
                    <a:pt x="98" y="103"/>
                  </a:cubicBezTo>
                  <a:lnTo>
                    <a:pt x="98" y="135"/>
                  </a:lnTo>
                  <a:cubicBezTo>
                    <a:pt x="88" y="140"/>
                    <a:pt x="72" y="143"/>
                    <a:pt x="61" y="143"/>
                  </a:cubicBezTo>
                  <a:cubicBezTo>
                    <a:pt x="19" y="143"/>
                    <a:pt x="0" y="114"/>
                    <a:pt x="0" y="71"/>
                  </a:cubicBezTo>
                  <a:cubicBezTo>
                    <a:pt x="0" y="34"/>
                    <a:pt x="19" y="0"/>
                    <a:pt x="53" y="0"/>
                  </a:cubicBezTo>
                  <a:cubicBezTo>
                    <a:pt x="64" y="0"/>
                    <a:pt x="106" y="0"/>
                    <a:pt x="106" y="71"/>
                  </a:cubicBezTo>
                  <a:lnTo>
                    <a:pt x="106" y="82"/>
                  </a:lnTo>
                  <a:close/>
                  <a:moveTo>
                    <a:pt x="75" y="61"/>
                  </a:moveTo>
                  <a:cubicBezTo>
                    <a:pt x="75" y="42"/>
                    <a:pt x="72" y="26"/>
                    <a:pt x="56" y="26"/>
                  </a:cubicBezTo>
                  <a:cubicBezTo>
                    <a:pt x="37" y="26"/>
                    <a:pt x="37" y="53"/>
                    <a:pt x="37" y="61"/>
                  </a:cubicBezTo>
                  <a:lnTo>
                    <a:pt x="75" y="6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B6086AED-7096-3E44-ADEC-886727318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9225" y="2351088"/>
              <a:ext cx="26988" cy="50800"/>
            </a:xfrm>
            <a:custGeom>
              <a:avLst/>
              <a:gdLst>
                <a:gd name="T0" fmla="*/ 0 w 76"/>
                <a:gd name="T1" fmla="*/ 32 h 141"/>
                <a:gd name="T2" fmla="*/ 0 w 76"/>
                <a:gd name="T3" fmla="*/ 2 h 141"/>
                <a:gd name="T4" fmla="*/ 35 w 76"/>
                <a:gd name="T5" fmla="*/ 2 h 141"/>
                <a:gd name="T6" fmla="*/ 35 w 76"/>
                <a:gd name="T7" fmla="*/ 26 h 141"/>
                <a:gd name="T8" fmla="*/ 35 w 76"/>
                <a:gd name="T9" fmla="*/ 26 h 141"/>
                <a:gd name="T10" fmla="*/ 69 w 76"/>
                <a:gd name="T11" fmla="*/ 0 h 141"/>
                <a:gd name="T12" fmla="*/ 75 w 76"/>
                <a:gd name="T13" fmla="*/ 0 h 141"/>
                <a:gd name="T14" fmla="*/ 75 w 76"/>
                <a:gd name="T15" fmla="*/ 40 h 141"/>
                <a:gd name="T16" fmla="*/ 61 w 76"/>
                <a:gd name="T17" fmla="*/ 37 h 141"/>
                <a:gd name="T18" fmla="*/ 38 w 76"/>
                <a:gd name="T19" fmla="*/ 79 h 141"/>
                <a:gd name="T20" fmla="*/ 38 w 76"/>
                <a:gd name="T21" fmla="*/ 140 h 141"/>
                <a:gd name="T22" fmla="*/ 0 w 76"/>
                <a:gd name="T23" fmla="*/ 140 h 141"/>
                <a:gd name="T24" fmla="*/ 0 w 76"/>
                <a:gd name="T25" fmla="*/ 32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141">
                  <a:moveTo>
                    <a:pt x="0" y="32"/>
                  </a:moveTo>
                  <a:cubicBezTo>
                    <a:pt x="0" y="18"/>
                    <a:pt x="0" y="10"/>
                    <a:pt x="0" y="2"/>
                  </a:cubicBezTo>
                  <a:lnTo>
                    <a:pt x="35" y="2"/>
                  </a:lnTo>
                  <a:cubicBezTo>
                    <a:pt x="35" y="10"/>
                    <a:pt x="35" y="18"/>
                    <a:pt x="35" y="26"/>
                  </a:cubicBezTo>
                  <a:lnTo>
                    <a:pt x="35" y="26"/>
                  </a:lnTo>
                  <a:cubicBezTo>
                    <a:pt x="43" y="10"/>
                    <a:pt x="48" y="0"/>
                    <a:pt x="69" y="0"/>
                  </a:cubicBezTo>
                  <a:lnTo>
                    <a:pt x="75" y="0"/>
                  </a:lnTo>
                  <a:lnTo>
                    <a:pt x="75" y="40"/>
                  </a:lnTo>
                  <a:cubicBezTo>
                    <a:pt x="72" y="40"/>
                    <a:pt x="67" y="37"/>
                    <a:pt x="61" y="37"/>
                  </a:cubicBezTo>
                  <a:cubicBezTo>
                    <a:pt x="40" y="37"/>
                    <a:pt x="38" y="58"/>
                    <a:pt x="38" y="79"/>
                  </a:cubicBezTo>
                  <a:lnTo>
                    <a:pt x="38" y="140"/>
                  </a:lnTo>
                  <a:lnTo>
                    <a:pt x="0" y="140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ACA4DF1-E7F3-8F4D-A4A1-6EDCFF0A69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2563" y="2330450"/>
              <a:ext cx="14287" cy="71438"/>
            </a:xfrm>
            <a:custGeom>
              <a:avLst/>
              <a:gdLst>
                <a:gd name="T0" fmla="*/ 0 w 38"/>
                <a:gd name="T1" fmla="*/ 0 h 199"/>
                <a:gd name="T2" fmla="*/ 37 w 38"/>
                <a:gd name="T3" fmla="*/ 0 h 199"/>
                <a:gd name="T4" fmla="*/ 37 w 38"/>
                <a:gd name="T5" fmla="*/ 37 h 199"/>
                <a:gd name="T6" fmla="*/ 0 w 38"/>
                <a:gd name="T7" fmla="*/ 37 h 199"/>
                <a:gd name="T8" fmla="*/ 0 w 38"/>
                <a:gd name="T9" fmla="*/ 0 h 199"/>
                <a:gd name="T10" fmla="*/ 0 w 38"/>
                <a:gd name="T11" fmla="*/ 60 h 199"/>
                <a:gd name="T12" fmla="*/ 37 w 38"/>
                <a:gd name="T13" fmla="*/ 60 h 199"/>
                <a:gd name="T14" fmla="*/ 37 w 38"/>
                <a:gd name="T15" fmla="*/ 198 h 199"/>
                <a:gd name="T16" fmla="*/ 0 w 38"/>
                <a:gd name="T17" fmla="*/ 198 h 199"/>
                <a:gd name="T18" fmla="*/ 0 w 38"/>
                <a:gd name="T19" fmla="*/ 6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99">
                  <a:moveTo>
                    <a:pt x="0" y="0"/>
                  </a:moveTo>
                  <a:lnTo>
                    <a:pt x="37" y="0"/>
                  </a:lnTo>
                  <a:lnTo>
                    <a:pt x="37" y="37"/>
                  </a:lnTo>
                  <a:lnTo>
                    <a:pt x="0" y="37"/>
                  </a:lnTo>
                  <a:lnTo>
                    <a:pt x="0" y="0"/>
                  </a:lnTo>
                  <a:close/>
                  <a:moveTo>
                    <a:pt x="0" y="60"/>
                  </a:moveTo>
                  <a:lnTo>
                    <a:pt x="37" y="60"/>
                  </a:lnTo>
                  <a:lnTo>
                    <a:pt x="37" y="198"/>
                  </a:lnTo>
                  <a:lnTo>
                    <a:pt x="0" y="198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3393DDF-1DFE-7C44-9014-79C584377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4788" y="2351088"/>
              <a:ext cx="31750" cy="52387"/>
            </a:xfrm>
            <a:custGeom>
              <a:avLst/>
              <a:gdLst>
                <a:gd name="T0" fmla="*/ 88 w 89"/>
                <a:gd name="T1" fmla="*/ 137 h 144"/>
                <a:gd name="T2" fmla="*/ 56 w 89"/>
                <a:gd name="T3" fmla="*/ 143 h 144"/>
                <a:gd name="T4" fmla="*/ 0 w 89"/>
                <a:gd name="T5" fmla="*/ 74 h 144"/>
                <a:gd name="T6" fmla="*/ 59 w 89"/>
                <a:gd name="T7" fmla="*/ 0 h 144"/>
                <a:gd name="T8" fmla="*/ 88 w 89"/>
                <a:gd name="T9" fmla="*/ 8 h 144"/>
                <a:gd name="T10" fmla="*/ 85 w 89"/>
                <a:gd name="T11" fmla="*/ 40 h 144"/>
                <a:gd name="T12" fmla="*/ 64 w 89"/>
                <a:gd name="T13" fmla="*/ 34 h 144"/>
                <a:gd name="T14" fmla="*/ 37 w 89"/>
                <a:gd name="T15" fmla="*/ 74 h 144"/>
                <a:gd name="T16" fmla="*/ 67 w 89"/>
                <a:gd name="T17" fmla="*/ 114 h 144"/>
                <a:gd name="T18" fmla="*/ 88 w 89"/>
                <a:gd name="T19" fmla="*/ 108 h 144"/>
                <a:gd name="T20" fmla="*/ 88 w 89"/>
                <a:gd name="T21" fmla="*/ 1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144">
                  <a:moveTo>
                    <a:pt x="88" y="137"/>
                  </a:moveTo>
                  <a:cubicBezTo>
                    <a:pt x="77" y="140"/>
                    <a:pt x="67" y="143"/>
                    <a:pt x="56" y="143"/>
                  </a:cubicBezTo>
                  <a:cubicBezTo>
                    <a:pt x="8" y="143"/>
                    <a:pt x="0" y="98"/>
                    <a:pt x="0" y="74"/>
                  </a:cubicBezTo>
                  <a:cubicBezTo>
                    <a:pt x="0" y="32"/>
                    <a:pt x="22" y="0"/>
                    <a:pt x="59" y="0"/>
                  </a:cubicBezTo>
                  <a:cubicBezTo>
                    <a:pt x="72" y="0"/>
                    <a:pt x="77" y="2"/>
                    <a:pt x="88" y="8"/>
                  </a:cubicBezTo>
                  <a:lnTo>
                    <a:pt x="85" y="40"/>
                  </a:lnTo>
                  <a:cubicBezTo>
                    <a:pt x="77" y="37"/>
                    <a:pt x="72" y="34"/>
                    <a:pt x="64" y="34"/>
                  </a:cubicBezTo>
                  <a:cubicBezTo>
                    <a:pt x="37" y="34"/>
                    <a:pt x="37" y="69"/>
                    <a:pt x="37" y="74"/>
                  </a:cubicBezTo>
                  <a:cubicBezTo>
                    <a:pt x="37" y="103"/>
                    <a:pt x="53" y="114"/>
                    <a:pt x="67" y="114"/>
                  </a:cubicBezTo>
                  <a:cubicBezTo>
                    <a:pt x="75" y="114"/>
                    <a:pt x="80" y="111"/>
                    <a:pt x="88" y="108"/>
                  </a:cubicBezTo>
                  <a:lnTo>
                    <a:pt x="88" y="1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D0268C9-5DC1-DD46-ADDC-17C77C61E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1300" y="2352675"/>
              <a:ext cx="38100" cy="52388"/>
            </a:xfrm>
            <a:custGeom>
              <a:avLst/>
              <a:gdLst>
                <a:gd name="T0" fmla="*/ 10 w 104"/>
                <a:gd name="T1" fmla="*/ 8 h 144"/>
                <a:gd name="T2" fmla="*/ 50 w 104"/>
                <a:gd name="T3" fmla="*/ 0 h 144"/>
                <a:gd name="T4" fmla="*/ 103 w 104"/>
                <a:gd name="T5" fmla="*/ 51 h 144"/>
                <a:gd name="T6" fmla="*/ 103 w 104"/>
                <a:gd name="T7" fmla="*/ 101 h 144"/>
                <a:gd name="T8" fmla="*/ 103 w 104"/>
                <a:gd name="T9" fmla="*/ 141 h 144"/>
                <a:gd name="T10" fmla="*/ 69 w 104"/>
                <a:gd name="T11" fmla="*/ 141 h 144"/>
                <a:gd name="T12" fmla="*/ 69 w 104"/>
                <a:gd name="T13" fmla="*/ 122 h 144"/>
                <a:gd name="T14" fmla="*/ 37 w 104"/>
                <a:gd name="T15" fmla="*/ 143 h 144"/>
                <a:gd name="T16" fmla="*/ 0 w 104"/>
                <a:gd name="T17" fmla="*/ 101 h 144"/>
                <a:gd name="T18" fmla="*/ 58 w 104"/>
                <a:gd name="T19" fmla="*/ 53 h 144"/>
                <a:gd name="T20" fmla="*/ 69 w 104"/>
                <a:gd name="T21" fmla="*/ 53 h 144"/>
                <a:gd name="T22" fmla="*/ 47 w 104"/>
                <a:gd name="T23" fmla="*/ 27 h 144"/>
                <a:gd name="T24" fmla="*/ 13 w 104"/>
                <a:gd name="T25" fmla="*/ 40 h 144"/>
                <a:gd name="T26" fmla="*/ 10 w 104"/>
                <a:gd name="T27" fmla="*/ 8 h 144"/>
                <a:gd name="T28" fmla="*/ 31 w 104"/>
                <a:gd name="T29" fmla="*/ 96 h 144"/>
                <a:gd name="T30" fmla="*/ 47 w 104"/>
                <a:gd name="T31" fmla="*/ 114 h 144"/>
                <a:gd name="T32" fmla="*/ 69 w 104"/>
                <a:gd name="T33" fmla="*/ 80 h 144"/>
                <a:gd name="T34" fmla="*/ 69 w 104"/>
                <a:gd name="T35" fmla="*/ 72 h 144"/>
                <a:gd name="T36" fmla="*/ 31 w 104"/>
                <a:gd name="T37" fmla="*/ 9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44">
                  <a:moveTo>
                    <a:pt x="10" y="8"/>
                  </a:moveTo>
                  <a:cubicBezTo>
                    <a:pt x="21" y="6"/>
                    <a:pt x="37" y="0"/>
                    <a:pt x="50" y="0"/>
                  </a:cubicBezTo>
                  <a:cubicBezTo>
                    <a:pt x="92" y="0"/>
                    <a:pt x="103" y="22"/>
                    <a:pt x="103" y="51"/>
                  </a:cubicBezTo>
                  <a:lnTo>
                    <a:pt x="103" y="101"/>
                  </a:lnTo>
                  <a:lnTo>
                    <a:pt x="103" y="141"/>
                  </a:lnTo>
                  <a:lnTo>
                    <a:pt x="69" y="141"/>
                  </a:lnTo>
                  <a:lnTo>
                    <a:pt x="69" y="122"/>
                  </a:lnTo>
                  <a:cubicBezTo>
                    <a:pt x="66" y="130"/>
                    <a:pt x="53" y="143"/>
                    <a:pt x="37" y="143"/>
                  </a:cubicBezTo>
                  <a:cubicBezTo>
                    <a:pt x="16" y="143"/>
                    <a:pt x="0" y="128"/>
                    <a:pt x="0" y="101"/>
                  </a:cubicBezTo>
                  <a:cubicBezTo>
                    <a:pt x="0" y="56"/>
                    <a:pt x="47" y="53"/>
                    <a:pt x="58" y="53"/>
                  </a:cubicBezTo>
                  <a:lnTo>
                    <a:pt x="69" y="53"/>
                  </a:lnTo>
                  <a:cubicBezTo>
                    <a:pt x="69" y="27"/>
                    <a:pt x="53" y="27"/>
                    <a:pt x="47" y="27"/>
                  </a:cubicBezTo>
                  <a:cubicBezTo>
                    <a:pt x="39" y="27"/>
                    <a:pt x="29" y="30"/>
                    <a:pt x="13" y="40"/>
                  </a:cubicBezTo>
                  <a:lnTo>
                    <a:pt x="10" y="8"/>
                  </a:lnTo>
                  <a:close/>
                  <a:moveTo>
                    <a:pt x="31" y="96"/>
                  </a:moveTo>
                  <a:cubicBezTo>
                    <a:pt x="31" y="114"/>
                    <a:pt x="45" y="114"/>
                    <a:pt x="47" y="114"/>
                  </a:cubicBezTo>
                  <a:cubicBezTo>
                    <a:pt x="50" y="114"/>
                    <a:pt x="69" y="114"/>
                    <a:pt x="69" y="80"/>
                  </a:cubicBezTo>
                  <a:lnTo>
                    <a:pt x="69" y="72"/>
                  </a:lnTo>
                  <a:cubicBezTo>
                    <a:pt x="55" y="72"/>
                    <a:pt x="31" y="72"/>
                    <a:pt x="31" y="9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FB01407-DB4F-E24C-99DF-897BA7D6C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4163" y="2351088"/>
              <a:ext cx="31750" cy="52387"/>
            </a:xfrm>
            <a:custGeom>
              <a:avLst/>
              <a:gdLst>
                <a:gd name="T0" fmla="*/ 79 w 86"/>
                <a:gd name="T1" fmla="*/ 37 h 144"/>
                <a:gd name="T2" fmla="*/ 50 w 86"/>
                <a:gd name="T3" fmla="*/ 29 h 144"/>
                <a:gd name="T4" fmla="*/ 37 w 86"/>
                <a:gd name="T5" fmla="*/ 40 h 144"/>
                <a:gd name="T6" fmla="*/ 61 w 86"/>
                <a:gd name="T7" fmla="*/ 61 h 144"/>
                <a:gd name="T8" fmla="*/ 85 w 86"/>
                <a:gd name="T9" fmla="*/ 100 h 144"/>
                <a:gd name="T10" fmla="*/ 40 w 86"/>
                <a:gd name="T11" fmla="*/ 143 h 144"/>
                <a:gd name="T12" fmla="*/ 0 w 86"/>
                <a:gd name="T13" fmla="*/ 135 h 144"/>
                <a:gd name="T14" fmla="*/ 0 w 86"/>
                <a:gd name="T15" fmla="*/ 103 h 144"/>
                <a:gd name="T16" fmla="*/ 29 w 86"/>
                <a:gd name="T17" fmla="*/ 114 h 144"/>
                <a:gd name="T18" fmla="*/ 47 w 86"/>
                <a:gd name="T19" fmla="*/ 100 h 144"/>
                <a:gd name="T20" fmla="*/ 24 w 86"/>
                <a:gd name="T21" fmla="*/ 85 h 144"/>
                <a:gd name="T22" fmla="*/ 0 w 86"/>
                <a:gd name="T23" fmla="*/ 42 h 144"/>
                <a:gd name="T24" fmla="*/ 45 w 86"/>
                <a:gd name="T25" fmla="*/ 0 h 144"/>
                <a:gd name="T26" fmla="*/ 79 w 86"/>
                <a:gd name="T27" fmla="*/ 5 h 144"/>
                <a:gd name="T28" fmla="*/ 79 w 86"/>
                <a:gd name="T29" fmla="*/ 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44">
                  <a:moveTo>
                    <a:pt x="79" y="37"/>
                  </a:moveTo>
                  <a:cubicBezTo>
                    <a:pt x="69" y="32"/>
                    <a:pt x="61" y="29"/>
                    <a:pt x="50" y="29"/>
                  </a:cubicBezTo>
                  <a:cubicBezTo>
                    <a:pt x="40" y="29"/>
                    <a:pt x="37" y="34"/>
                    <a:pt x="37" y="40"/>
                  </a:cubicBezTo>
                  <a:cubicBezTo>
                    <a:pt x="37" y="47"/>
                    <a:pt x="42" y="50"/>
                    <a:pt x="61" y="61"/>
                  </a:cubicBezTo>
                  <a:cubicBezTo>
                    <a:pt x="74" y="66"/>
                    <a:pt x="85" y="74"/>
                    <a:pt x="85" y="100"/>
                  </a:cubicBezTo>
                  <a:cubicBezTo>
                    <a:pt x="85" y="132"/>
                    <a:pt x="63" y="143"/>
                    <a:pt x="40" y="143"/>
                  </a:cubicBezTo>
                  <a:cubicBezTo>
                    <a:pt x="29" y="143"/>
                    <a:pt x="13" y="140"/>
                    <a:pt x="0" y="135"/>
                  </a:cubicBezTo>
                  <a:lnTo>
                    <a:pt x="0" y="103"/>
                  </a:lnTo>
                  <a:cubicBezTo>
                    <a:pt x="8" y="108"/>
                    <a:pt x="18" y="114"/>
                    <a:pt x="29" y="114"/>
                  </a:cubicBezTo>
                  <a:cubicBezTo>
                    <a:pt x="45" y="114"/>
                    <a:pt x="47" y="105"/>
                    <a:pt x="47" y="100"/>
                  </a:cubicBezTo>
                  <a:cubicBezTo>
                    <a:pt x="47" y="94"/>
                    <a:pt x="37" y="92"/>
                    <a:pt x="24" y="85"/>
                  </a:cubicBezTo>
                  <a:cubicBezTo>
                    <a:pt x="10" y="79"/>
                    <a:pt x="0" y="66"/>
                    <a:pt x="0" y="42"/>
                  </a:cubicBezTo>
                  <a:cubicBezTo>
                    <a:pt x="0" y="26"/>
                    <a:pt x="8" y="0"/>
                    <a:pt x="45" y="0"/>
                  </a:cubicBezTo>
                  <a:cubicBezTo>
                    <a:pt x="61" y="0"/>
                    <a:pt x="71" y="2"/>
                    <a:pt x="79" y="5"/>
                  </a:cubicBezTo>
                  <a:lnTo>
                    <a:pt x="79" y="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68DB6DA-C7D9-BD48-AE58-08E2D35E5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775" y="2298700"/>
              <a:ext cx="612775" cy="7938"/>
            </a:xfrm>
            <a:custGeom>
              <a:avLst/>
              <a:gdLst>
                <a:gd name="T0" fmla="*/ 851 w 1703"/>
                <a:gd name="T1" fmla="*/ 19 h 20"/>
                <a:gd name="T2" fmla="*/ 0 w 1703"/>
                <a:gd name="T3" fmla="*/ 19 h 20"/>
                <a:gd name="T4" fmla="*/ 0 w 1703"/>
                <a:gd name="T5" fmla="*/ 0 h 20"/>
                <a:gd name="T6" fmla="*/ 1702 w 1703"/>
                <a:gd name="T7" fmla="*/ 0 h 20"/>
                <a:gd name="T8" fmla="*/ 1702 w 1703"/>
                <a:gd name="T9" fmla="*/ 19 h 20"/>
                <a:gd name="T10" fmla="*/ 851 w 1703"/>
                <a:gd name="T1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3" h="20">
                  <a:moveTo>
                    <a:pt x="851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1702" y="0"/>
                  </a:lnTo>
                  <a:lnTo>
                    <a:pt x="1702" y="19"/>
                  </a:lnTo>
                  <a:lnTo>
                    <a:pt x="851" y="1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EA3595E-4AA7-814A-BAF5-653AB38E2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8" y="2371725"/>
              <a:ext cx="17462" cy="31750"/>
            </a:xfrm>
            <a:custGeom>
              <a:avLst/>
              <a:gdLst>
                <a:gd name="T0" fmla="*/ 3 w 49"/>
                <a:gd name="T1" fmla="*/ 0 h 89"/>
                <a:gd name="T2" fmla="*/ 24 w 49"/>
                <a:gd name="T3" fmla="*/ 0 h 89"/>
                <a:gd name="T4" fmla="*/ 45 w 49"/>
                <a:gd name="T5" fmla="*/ 22 h 89"/>
                <a:gd name="T6" fmla="*/ 32 w 49"/>
                <a:gd name="T7" fmla="*/ 43 h 89"/>
                <a:gd name="T8" fmla="*/ 32 w 49"/>
                <a:gd name="T9" fmla="*/ 43 h 89"/>
                <a:gd name="T10" fmla="*/ 40 w 49"/>
                <a:gd name="T11" fmla="*/ 53 h 89"/>
                <a:gd name="T12" fmla="*/ 48 w 49"/>
                <a:gd name="T13" fmla="*/ 85 h 89"/>
                <a:gd name="T14" fmla="*/ 35 w 49"/>
                <a:gd name="T15" fmla="*/ 85 h 89"/>
                <a:gd name="T16" fmla="*/ 27 w 49"/>
                <a:gd name="T17" fmla="*/ 59 h 89"/>
                <a:gd name="T18" fmla="*/ 16 w 49"/>
                <a:gd name="T19" fmla="*/ 51 h 89"/>
                <a:gd name="T20" fmla="*/ 14 w 49"/>
                <a:gd name="T21" fmla="*/ 51 h 89"/>
                <a:gd name="T22" fmla="*/ 14 w 49"/>
                <a:gd name="T23" fmla="*/ 88 h 89"/>
                <a:gd name="T24" fmla="*/ 0 w 49"/>
                <a:gd name="T25" fmla="*/ 88 h 89"/>
                <a:gd name="T26" fmla="*/ 3 w 49"/>
                <a:gd name="T27" fmla="*/ 0 h 89"/>
                <a:gd name="T28" fmla="*/ 22 w 49"/>
                <a:gd name="T29" fmla="*/ 37 h 89"/>
                <a:gd name="T30" fmla="*/ 32 w 49"/>
                <a:gd name="T31" fmla="*/ 24 h 89"/>
                <a:gd name="T32" fmla="*/ 22 w 49"/>
                <a:gd name="T33" fmla="*/ 11 h 89"/>
                <a:gd name="T34" fmla="*/ 16 w 49"/>
                <a:gd name="T35" fmla="*/ 11 h 89"/>
                <a:gd name="T36" fmla="*/ 16 w 49"/>
                <a:gd name="T37" fmla="*/ 35 h 89"/>
                <a:gd name="T38" fmla="*/ 22 w 49"/>
                <a:gd name="T39" fmla="*/ 35 h 89"/>
                <a:gd name="T40" fmla="*/ 22 w 49"/>
                <a:gd name="T41" fmla="*/ 3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89">
                  <a:moveTo>
                    <a:pt x="3" y="0"/>
                  </a:moveTo>
                  <a:lnTo>
                    <a:pt x="24" y="0"/>
                  </a:lnTo>
                  <a:cubicBezTo>
                    <a:pt x="37" y="0"/>
                    <a:pt x="45" y="8"/>
                    <a:pt x="45" y="22"/>
                  </a:cubicBezTo>
                  <a:cubicBezTo>
                    <a:pt x="45" y="32"/>
                    <a:pt x="40" y="40"/>
                    <a:pt x="32" y="43"/>
                  </a:cubicBezTo>
                  <a:lnTo>
                    <a:pt x="32" y="43"/>
                  </a:lnTo>
                  <a:cubicBezTo>
                    <a:pt x="35" y="43"/>
                    <a:pt x="37" y="45"/>
                    <a:pt x="40" y="53"/>
                  </a:cubicBezTo>
                  <a:lnTo>
                    <a:pt x="48" y="85"/>
                  </a:lnTo>
                  <a:lnTo>
                    <a:pt x="35" y="85"/>
                  </a:lnTo>
                  <a:lnTo>
                    <a:pt x="27" y="59"/>
                  </a:lnTo>
                  <a:cubicBezTo>
                    <a:pt x="24" y="51"/>
                    <a:pt x="22" y="51"/>
                    <a:pt x="16" y="51"/>
                  </a:cubicBezTo>
                  <a:lnTo>
                    <a:pt x="14" y="51"/>
                  </a:lnTo>
                  <a:lnTo>
                    <a:pt x="14" y="88"/>
                  </a:lnTo>
                  <a:lnTo>
                    <a:pt x="0" y="88"/>
                  </a:lnTo>
                  <a:lnTo>
                    <a:pt x="3" y="0"/>
                  </a:lnTo>
                  <a:close/>
                  <a:moveTo>
                    <a:pt x="22" y="37"/>
                  </a:moveTo>
                  <a:cubicBezTo>
                    <a:pt x="30" y="37"/>
                    <a:pt x="32" y="32"/>
                    <a:pt x="32" y="24"/>
                  </a:cubicBezTo>
                  <a:cubicBezTo>
                    <a:pt x="32" y="14"/>
                    <a:pt x="27" y="11"/>
                    <a:pt x="22" y="11"/>
                  </a:cubicBezTo>
                  <a:lnTo>
                    <a:pt x="16" y="11"/>
                  </a:lnTo>
                  <a:lnTo>
                    <a:pt x="16" y="35"/>
                  </a:lnTo>
                  <a:lnTo>
                    <a:pt x="22" y="35"/>
                  </a:lnTo>
                  <a:lnTo>
                    <a:pt x="22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8633D0B-256D-4141-804A-11E8FAC3F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6938" y="2371725"/>
              <a:ext cx="14287" cy="31750"/>
            </a:xfrm>
            <a:custGeom>
              <a:avLst/>
              <a:gdLst>
                <a:gd name="T0" fmla="*/ 0 w 38"/>
                <a:gd name="T1" fmla="*/ 0 h 86"/>
                <a:gd name="T2" fmla="*/ 35 w 38"/>
                <a:gd name="T3" fmla="*/ 0 h 86"/>
                <a:gd name="T4" fmla="*/ 35 w 38"/>
                <a:gd name="T5" fmla="*/ 14 h 86"/>
                <a:gd name="T6" fmla="*/ 14 w 38"/>
                <a:gd name="T7" fmla="*/ 14 h 86"/>
                <a:gd name="T8" fmla="*/ 14 w 38"/>
                <a:gd name="T9" fmla="*/ 35 h 86"/>
                <a:gd name="T10" fmla="*/ 35 w 38"/>
                <a:gd name="T11" fmla="*/ 35 h 86"/>
                <a:gd name="T12" fmla="*/ 35 w 38"/>
                <a:gd name="T13" fmla="*/ 48 h 86"/>
                <a:gd name="T14" fmla="*/ 14 w 38"/>
                <a:gd name="T15" fmla="*/ 48 h 86"/>
                <a:gd name="T16" fmla="*/ 14 w 38"/>
                <a:gd name="T17" fmla="*/ 72 h 86"/>
                <a:gd name="T18" fmla="*/ 37 w 38"/>
                <a:gd name="T19" fmla="*/ 72 h 86"/>
                <a:gd name="T20" fmla="*/ 37 w 38"/>
                <a:gd name="T21" fmla="*/ 85 h 86"/>
                <a:gd name="T22" fmla="*/ 0 w 38"/>
                <a:gd name="T23" fmla="*/ 85 h 86"/>
                <a:gd name="T24" fmla="*/ 0 w 3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5" y="0"/>
                  </a:lnTo>
                  <a:lnTo>
                    <a:pt x="35" y="14"/>
                  </a:lnTo>
                  <a:lnTo>
                    <a:pt x="14" y="14"/>
                  </a:lnTo>
                  <a:lnTo>
                    <a:pt x="14" y="35"/>
                  </a:lnTo>
                  <a:lnTo>
                    <a:pt x="35" y="35"/>
                  </a:lnTo>
                  <a:lnTo>
                    <a:pt x="35" y="48"/>
                  </a:lnTo>
                  <a:lnTo>
                    <a:pt x="14" y="48"/>
                  </a:lnTo>
                  <a:lnTo>
                    <a:pt x="14" y="72"/>
                  </a:lnTo>
                  <a:lnTo>
                    <a:pt x="37" y="72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0546542C-4FB3-3349-8B0D-A1275ACBA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1225" y="2373313"/>
              <a:ext cx="19050" cy="31750"/>
            </a:xfrm>
            <a:custGeom>
              <a:avLst/>
              <a:gdLst>
                <a:gd name="T0" fmla="*/ 32 w 54"/>
                <a:gd name="T1" fmla="*/ 34 h 86"/>
                <a:gd name="T2" fmla="*/ 53 w 54"/>
                <a:gd name="T3" fmla="*/ 34 h 86"/>
                <a:gd name="T4" fmla="*/ 53 w 54"/>
                <a:gd name="T5" fmla="*/ 79 h 86"/>
                <a:gd name="T6" fmla="*/ 35 w 54"/>
                <a:gd name="T7" fmla="*/ 85 h 86"/>
                <a:gd name="T8" fmla="*/ 0 w 54"/>
                <a:gd name="T9" fmla="*/ 42 h 86"/>
                <a:gd name="T10" fmla="*/ 35 w 54"/>
                <a:gd name="T11" fmla="*/ 0 h 86"/>
                <a:gd name="T12" fmla="*/ 50 w 54"/>
                <a:gd name="T13" fmla="*/ 3 h 86"/>
                <a:gd name="T14" fmla="*/ 50 w 54"/>
                <a:gd name="T15" fmla="*/ 16 h 86"/>
                <a:gd name="T16" fmla="*/ 35 w 54"/>
                <a:gd name="T17" fmla="*/ 11 h 86"/>
                <a:gd name="T18" fmla="*/ 13 w 54"/>
                <a:gd name="T19" fmla="*/ 42 h 86"/>
                <a:gd name="T20" fmla="*/ 32 w 54"/>
                <a:gd name="T21" fmla="*/ 74 h 86"/>
                <a:gd name="T22" fmla="*/ 40 w 54"/>
                <a:gd name="T23" fmla="*/ 72 h 86"/>
                <a:gd name="T24" fmla="*/ 40 w 54"/>
                <a:gd name="T25" fmla="*/ 48 h 86"/>
                <a:gd name="T26" fmla="*/ 29 w 54"/>
                <a:gd name="T27" fmla="*/ 48 h 86"/>
                <a:gd name="T28" fmla="*/ 32 w 54"/>
                <a:gd name="T29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86">
                  <a:moveTo>
                    <a:pt x="32" y="34"/>
                  </a:moveTo>
                  <a:lnTo>
                    <a:pt x="53" y="34"/>
                  </a:lnTo>
                  <a:lnTo>
                    <a:pt x="53" y="79"/>
                  </a:lnTo>
                  <a:cubicBezTo>
                    <a:pt x="50" y="82"/>
                    <a:pt x="42" y="85"/>
                    <a:pt x="35" y="85"/>
                  </a:cubicBezTo>
                  <a:cubicBezTo>
                    <a:pt x="13" y="85"/>
                    <a:pt x="0" y="66"/>
                    <a:pt x="0" y="42"/>
                  </a:cubicBezTo>
                  <a:cubicBezTo>
                    <a:pt x="0" y="16"/>
                    <a:pt x="11" y="0"/>
                    <a:pt x="35" y="0"/>
                  </a:cubicBezTo>
                  <a:cubicBezTo>
                    <a:pt x="42" y="0"/>
                    <a:pt x="48" y="3"/>
                    <a:pt x="50" y="3"/>
                  </a:cubicBezTo>
                  <a:lnTo>
                    <a:pt x="50" y="16"/>
                  </a:lnTo>
                  <a:cubicBezTo>
                    <a:pt x="45" y="13"/>
                    <a:pt x="40" y="11"/>
                    <a:pt x="35" y="11"/>
                  </a:cubicBezTo>
                  <a:cubicBezTo>
                    <a:pt x="21" y="11"/>
                    <a:pt x="13" y="23"/>
                    <a:pt x="13" y="42"/>
                  </a:cubicBezTo>
                  <a:cubicBezTo>
                    <a:pt x="13" y="60"/>
                    <a:pt x="21" y="74"/>
                    <a:pt x="32" y="74"/>
                  </a:cubicBezTo>
                  <a:cubicBezTo>
                    <a:pt x="35" y="74"/>
                    <a:pt x="37" y="74"/>
                    <a:pt x="40" y="72"/>
                  </a:cubicBezTo>
                  <a:lnTo>
                    <a:pt x="40" y="48"/>
                  </a:lnTo>
                  <a:lnTo>
                    <a:pt x="29" y="48"/>
                  </a:lnTo>
                  <a:lnTo>
                    <a:pt x="32" y="3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3911898D-78F9-5940-A402-7972E83BD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5038" y="2371725"/>
              <a:ext cx="4762" cy="31750"/>
            </a:xfrm>
            <a:custGeom>
              <a:avLst/>
              <a:gdLst>
                <a:gd name="T0" fmla="*/ 6 w 14"/>
                <a:gd name="T1" fmla="*/ 85 h 86"/>
                <a:gd name="T2" fmla="*/ 0 w 14"/>
                <a:gd name="T3" fmla="*/ 85 h 86"/>
                <a:gd name="T4" fmla="*/ 0 w 14"/>
                <a:gd name="T5" fmla="*/ 0 h 86"/>
                <a:gd name="T6" fmla="*/ 13 w 14"/>
                <a:gd name="T7" fmla="*/ 0 h 86"/>
                <a:gd name="T8" fmla="*/ 13 w 14"/>
                <a:gd name="T9" fmla="*/ 85 h 86"/>
                <a:gd name="T10" fmla="*/ 6 w 14"/>
                <a:gd name="T11" fmla="*/ 8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6">
                  <a:moveTo>
                    <a:pt x="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6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4E7C5C36-B5CE-5148-B2D8-59E044FB2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1388" y="2371725"/>
              <a:ext cx="19050" cy="31750"/>
            </a:xfrm>
            <a:custGeom>
              <a:avLst/>
              <a:gdLst>
                <a:gd name="T0" fmla="*/ 53 w 54"/>
                <a:gd name="T1" fmla="*/ 43 h 86"/>
                <a:gd name="T2" fmla="*/ 27 w 54"/>
                <a:gd name="T3" fmla="*/ 85 h 86"/>
                <a:gd name="T4" fmla="*/ 0 w 54"/>
                <a:gd name="T5" fmla="*/ 43 h 86"/>
                <a:gd name="T6" fmla="*/ 27 w 54"/>
                <a:gd name="T7" fmla="*/ 0 h 86"/>
                <a:gd name="T8" fmla="*/ 53 w 54"/>
                <a:gd name="T9" fmla="*/ 43 h 86"/>
                <a:gd name="T10" fmla="*/ 40 w 54"/>
                <a:gd name="T11" fmla="*/ 43 h 86"/>
                <a:gd name="T12" fmla="*/ 27 w 54"/>
                <a:gd name="T13" fmla="*/ 11 h 86"/>
                <a:gd name="T14" fmla="*/ 13 w 54"/>
                <a:gd name="T15" fmla="*/ 43 h 86"/>
                <a:gd name="T16" fmla="*/ 27 w 54"/>
                <a:gd name="T17" fmla="*/ 75 h 86"/>
                <a:gd name="T18" fmla="*/ 40 w 54"/>
                <a:gd name="T19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86">
                  <a:moveTo>
                    <a:pt x="53" y="43"/>
                  </a:moveTo>
                  <a:cubicBezTo>
                    <a:pt x="53" y="75"/>
                    <a:pt x="41" y="85"/>
                    <a:pt x="27" y="85"/>
                  </a:cubicBezTo>
                  <a:cubicBezTo>
                    <a:pt x="14" y="85"/>
                    <a:pt x="0" y="72"/>
                    <a:pt x="0" y="43"/>
                  </a:cubicBezTo>
                  <a:cubicBezTo>
                    <a:pt x="0" y="14"/>
                    <a:pt x="14" y="0"/>
                    <a:pt x="27" y="0"/>
                  </a:cubicBezTo>
                  <a:cubicBezTo>
                    <a:pt x="41" y="0"/>
                    <a:pt x="53" y="14"/>
                    <a:pt x="53" y="43"/>
                  </a:cubicBezTo>
                  <a:close/>
                  <a:moveTo>
                    <a:pt x="40" y="43"/>
                  </a:moveTo>
                  <a:cubicBezTo>
                    <a:pt x="40" y="19"/>
                    <a:pt x="35" y="11"/>
                    <a:pt x="27" y="11"/>
                  </a:cubicBezTo>
                  <a:cubicBezTo>
                    <a:pt x="19" y="11"/>
                    <a:pt x="13" y="19"/>
                    <a:pt x="13" y="43"/>
                  </a:cubicBezTo>
                  <a:cubicBezTo>
                    <a:pt x="13" y="67"/>
                    <a:pt x="19" y="75"/>
                    <a:pt x="27" y="75"/>
                  </a:cubicBezTo>
                  <a:cubicBezTo>
                    <a:pt x="35" y="75"/>
                    <a:pt x="40" y="67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141E08A9-72CC-304E-A7E7-1B6406AED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3613" y="2371725"/>
              <a:ext cx="19050" cy="31750"/>
            </a:xfrm>
            <a:custGeom>
              <a:avLst/>
              <a:gdLst>
                <a:gd name="T0" fmla="*/ 0 w 51"/>
                <a:gd name="T1" fmla="*/ 0 h 86"/>
                <a:gd name="T2" fmla="*/ 16 w 51"/>
                <a:gd name="T3" fmla="*/ 0 h 86"/>
                <a:gd name="T4" fmla="*/ 37 w 51"/>
                <a:gd name="T5" fmla="*/ 67 h 86"/>
                <a:gd name="T6" fmla="*/ 37 w 51"/>
                <a:gd name="T7" fmla="*/ 67 h 86"/>
                <a:gd name="T8" fmla="*/ 37 w 51"/>
                <a:gd name="T9" fmla="*/ 0 h 86"/>
                <a:gd name="T10" fmla="*/ 50 w 51"/>
                <a:gd name="T11" fmla="*/ 0 h 86"/>
                <a:gd name="T12" fmla="*/ 50 w 51"/>
                <a:gd name="T13" fmla="*/ 85 h 86"/>
                <a:gd name="T14" fmla="*/ 35 w 51"/>
                <a:gd name="T15" fmla="*/ 85 h 86"/>
                <a:gd name="T16" fmla="*/ 13 w 51"/>
                <a:gd name="T17" fmla="*/ 19 h 86"/>
                <a:gd name="T18" fmla="*/ 11 w 51"/>
                <a:gd name="T19" fmla="*/ 19 h 86"/>
                <a:gd name="T20" fmla="*/ 11 w 51"/>
                <a:gd name="T21" fmla="*/ 85 h 86"/>
                <a:gd name="T22" fmla="*/ 0 w 51"/>
                <a:gd name="T23" fmla="*/ 85 h 86"/>
                <a:gd name="T24" fmla="*/ 0 w 51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86">
                  <a:moveTo>
                    <a:pt x="0" y="0"/>
                  </a:moveTo>
                  <a:lnTo>
                    <a:pt x="16" y="0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0"/>
                  </a:lnTo>
                  <a:lnTo>
                    <a:pt x="50" y="0"/>
                  </a:lnTo>
                  <a:lnTo>
                    <a:pt x="50" y="85"/>
                  </a:lnTo>
                  <a:lnTo>
                    <a:pt x="35" y="85"/>
                  </a:lnTo>
                  <a:lnTo>
                    <a:pt x="13" y="19"/>
                  </a:lnTo>
                  <a:lnTo>
                    <a:pt x="11" y="19"/>
                  </a:lnTo>
                  <a:lnTo>
                    <a:pt x="11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41A6CCAC-3593-7543-A6FA-4B71EFE28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1075" y="2371725"/>
              <a:ext cx="22225" cy="31750"/>
            </a:xfrm>
            <a:custGeom>
              <a:avLst/>
              <a:gdLst>
                <a:gd name="T0" fmla="*/ 43 w 60"/>
                <a:gd name="T1" fmla="*/ 64 h 86"/>
                <a:gd name="T2" fmla="*/ 19 w 60"/>
                <a:gd name="T3" fmla="*/ 64 h 86"/>
                <a:gd name="T4" fmla="*/ 14 w 60"/>
                <a:gd name="T5" fmla="*/ 85 h 86"/>
                <a:gd name="T6" fmla="*/ 0 w 60"/>
                <a:gd name="T7" fmla="*/ 85 h 86"/>
                <a:gd name="T8" fmla="*/ 24 w 60"/>
                <a:gd name="T9" fmla="*/ 0 h 86"/>
                <a:gd name="T10" fmla="*/ 37 w 60"/>
                <a:gd name="T11" fmla="*/ 0 h 86"/>
                <a:gd name="T12" fmla="*/ 59 w 60"/>
                <a:gd name="T13" fmla="*/ 85 h 86"/>
                <a:gd name="T14" fmla="*/ 45 w 60"/>
                <a:gd name="T15" fmla="*/ 85 h 86"/>
                <a:gd name="T16" fmla="*/ 43 w 60"/>
                <a:gd name="T17" fmla="*/ 64 h 86"/>
                <a:gd name="T18" fmla="*/ 40 w 60"/>
                <a:gd name="T19" fmla="*/ 53 h 86"/>
                <a:gd name="T20" fmla="*/ 32 w 60"/>
                <a:gd name="T21" fmla="*/ 14 h 86"/>
                <a:gd name="T22" fmla="*/ 32 w 60"/>
                <a:gd name="T23" fmla="*/ 14 h 86"/>
                <a:gd name="T24" fmla="*/ 22 w 60"/>
                <a:gd name="T25" fmla="*/ 53 h 86"/>
                <a:gd name="T26" fmla="*/ 40 w 60"/>
                <a:gd name="T27" fmla="*/ 5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6">
                  <a:moveTo>
                    <a:pt x="43" y="64"/>
                  </a:moveTo>
                  <a:lnTo>
                    <a:pt x="19" y="64"/>
                  </a:lnTo>
                  <a:lnTo>
                    <a:pt x="14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9" y="85"/>
                  </a:lnTo>
                  <a:lnTo>
                    <a:pt x="45" y="85"/>
                  </a:lnTo>
                  <a:lnTo>
                    <a:pt x="43" y="64"/>
                  </a:lnTo>
                  <a:close/>
                  <a:moveTo>
                    <a:pt x="40" y="53"/>
                  </a:moveTo>
                  <a:lnTo>
                    <a:pt x="32" y="14"/>
                  </a:lnTo>
                  <a:lnTo>
                    <a:pt x="32" y="14"/>
                  </a:lnTo>
                  <a:lnTo>
                    <a:pt x="22" y="53"/>
                  </a:lnTo>
                  <a:lnTo>
                    <a:pt x="40" y="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F6B8F1BC-427F-7D49-9D31-2B32A6934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888" y="237172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13 w 35"/>
                <a:gd name="T3" fmla="*/ 0 h 86"/>
                <a:gd name="T4" fmla="*/ 13 w 35"/>
                <a:gd name="T5" fmla="*/ 72 h 86"/>
                <a:gd name="T6" fmla="*/ 34 w 35"/>
                <a:gd name="T7" fmla="*/ 72 h 86"/>
                <a:gd name="T8" fmla="*/ 34 w 35"/>
                <a:gd name="T9" fmla="*/ 85 h 86"/>
                <a:gd name="T10" fmla="*/ 0 w 35"/>
                <a:gd name="T11" fmla="*/ 85 h 86"/>
                <a:gd name="T12" fmla="*/ 0 w 35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13" y="0"/>
                  </a:lnTo>
                  <a:lnTo>
                    <a:pt x="13" y="72"/>
                  </a:lnTo>
                  <a:lnTo>
                    <a:pt x="34" y="72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93F7AB70-DFA2-F44B-9F0E-5D2F83977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3938" y="2371725"/>
              <a:ext cx="20637" cy="31750"/>
            </a:xfrm>
            <a:custGeom>
              <a:avLst/>
              <a:gdLst>
                <a:gd name="T0" fmla="*/ 55 w 56"/>
                <a:gd name="T1" fmla="*/ 43 h 86"/>
                <a:gd name="T2" fmla="*/ 29 w 56"/>
                <a:gd name="T3" fmla="*/ 85 h 86"/>
                <a:gd name="T4" fmla="*/ 2 w 56"/>
                <a:gd name="T5" fmla="*/ 43 h 86"/>
                <a:gd name="T6" fmla="*/ 29 w 56"/>
                <a:gd name="T7" fmla="*/ 0 h 86"/>
                <a:gd name="T8" fmla="*/ 55 w 56"/>
                <a:gd name="T9" fmla="*/ 43 h 86"/>
                <a:gd name="T10" fmla="*/ 42 w 56"/>
                <a:gd name="T11" fmla="*/ 43 h 86"/>
                <a:gd name="T12" fmla="*/ 29 w 56"/>
                <a:gd name="T13" fmla="*/ 11 h 86"/>
                <a:gd name="T14" fmla="*/ 15 w 56"/>
                <a:gd name="T15" fmla="*/ 43 h 86"/>
                <a:gd name="T16" fmla="*/ 29 w 56"/>
                <a:gd name="T17" fmla="*/ 75 h 86"/>
                <a:gd name="T18" fmla="*/ 42 w 56"/>
                <a:gd name="T19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86">
                  <a:moveTo>
                    <a:pt x="55" y="43"/>
                  </a:moveTo>
                  <a:cubicBezTo>
                    <a:pt x="55" y="75"/>
                    <a:pt x="43" y="85"/>
                    <a:pt x="29" y="85"/>
                  </a:cubicBezTo>
                  <a:cubicBezTo>
                    <a:pt x="16" y="85"/>
                    <a:pt x="2" y="72"/>
                    <a:pt x="2" y="43"/>
                  </a:cubicBezTo>
                  <a:cubicBezTo>
                    <a:pt x="0" y="14"/>
                    <a:pt x="13" y="0"/>
                    <a:pt x="29" y="0"/>
                  </a:cubicBezTo>
                  <a:cubicBezTo>
                    <a:pt x="42" y="0"/>
                    <a:pt x="55" y="14"/>
                    <a:pt x="55" y="43"/>
                  </a:cubicBezTo>
                  <a:close/>
                  <a:moveTo>
                    <a:pt x="42" y="43"/>
                  </a:moveTo>
                  <a:cubicBezTo>
                    <a:pt x="42" y="19"/>
                    <a:pt x="37" y="11"/>
                    <a:pt x="29" y="11"/>
                  </a:cubicBezTo>
                  <a:cubicBezTo>
                    <a:pt x="21" y="11"/>
                    <a:pt x="15" y="19"/>
                    <a:pt x="15" y="43"/>
                  </a:cubicBezTo>
                  <a:cubicBezTo>
                    <a:pt x="13" y="67"/>
                    <a:pt x="21" y="75"/>
                    <a:pt x="29" y="75"/>
                  </a:cubicBezTo>
                  <a:cubicBezTo>
                    <a:pt x="37" y="75"/>
                    <a:pt x="42" y="67"/>
                    <a:pt x="42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6FF47D33-0D7B-2146-A8BF-7A17E7EEF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163" y="2371725"/>
              <a:ext cx="14287" cy="31750"/>
            </a:xfrm>
            <a:custGeom>
              <a:avLst/>
              <a:gdLst>
                <a:gd name="T0" fmla="*/ 0 w 39"/>
                <a:gd name="T1" fmla="*/ 0 h 86"/>
                <a:gd name="T2" fmla="*/ 38 w 39"/>
                <a:gd name="T3" fmla="*/ 0 h 86"/>
                <a:gd name="T4" fmla="*/ 38 w 39"/>
                <a:gd name="T5" fmla="*/ 14 h 86"/>
                <a:gd name="T6" fmla="*/ 14 w 39"/>
                <a:gd name="T7" fmla="*/ 14 h 86"/>
                <a:gd name="T8" fmla="*/ 14 w 39"/>
                <a:gd name="T9" fmla="*/ 37 h 86"/>
                <a:gd name="T10" fmla="*/ 35 w 39"/>
                <a:gd name="T11" fmla="*/ 37 h 86"/>
                <a:gd name="T12" fmla="*/ 35 w 39"/>
                <a:gd name="T13" fmla="*/ 48 h 86"/>
                <a:gd name="T14" fmla="*/ 14 w 39"/>
                <a:gd name="T15" fmla="*/ 48 h 86"/>
                <a:gd name="T16" fmla="*/ 14 w 39"/>
                <a:gd name="T17" fmla="*/ 85 h 86"/>
                <a:gd name="T18" fmla="*/ 0 w 39"/>
                <a:gd name="T19" fmla="*/ 85 h 86"/>
                <a:gd name="T20" fmla="*/ 0 w 39"/>
                <a:gd name="T2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86">
                  <a:moveTo>
                    <a:pt x="0" y="0"/>
                  </a:moveTo>
                  <a:lnTo>
                    <a:pt x="38" y="0"/>
                  </a:lnTo>
                  <a:lnTo>
                    <a:pt x="38" y="14"/>
                  </a:lnTo>
                  <a:lnTo>
                    <a:pt x="14" y="14"/>
                  </a:lnTo>
                  <a:lnTo>
                    <a:pt x="14" y="37"/>
                  </a:lnTo>
                  <a:lnTo>
                    <a:pt x="35" y="37"/>
                  </a:lnTo>
                  <a:lnTo>
                    <a:pt x="35" y="48"/>
                  </a:lnTo>
                  <a:lnTo>
                    <a:pt x="14" y="48"/>
                  </a:lnTo>
                  <a:lnTo>
                    <a:pt x="1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89CC4B84-079A-CB46-B06B-FD1361DDF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2038" y="237172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34 w 35"/>
                <a:gd name="T3" fmla="*/ 0 h 86"/>
                <a:gd name="T4" fmla="*/ 34 w 35"/>
                <a:gd name="T5" fmla="*/ 14 h 86"/>
                <a:gd name="T6" fmla="*/ 13 w 35"/>
                <a:gd name="T7" fmla="*/ 14 h 86"/>
                <a:gd name="T8" fmla="*/ 13 w 35"/>
                <a:gd name="T9" fmla="*/ 37 h 86"/>
                <a:gd name="T10" fmla="*/ 32 w 35"/>
                <a:gd name="T11" fmla="*/ 37 h 86"/>
                <a:gd name="T12" fmla="*/ 32 w 35"/>
                <a:gd name="T13" fmla="*/ 48 h 86"/>
                <a:gd name="T14" fmla="*/ 13 w 35"/>
                <a:gd name="T15" fmla="*/ 48 h 86"/>
                <a:gd name="T16" fmla="*/ 13 w 35"/>
                <a:gd name="T17" fmla="*/ 85 h 86"/>
                <a:gd name="T18" fmla="*/ 0 w 35"/>
                <a:gd name="T19" fmla="*/ 85 h 86"/>
                <a:gd name="T20" fmla="*/ 0 w 35"/>
                <a:gd name="T2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34" y="0"/>
                  </a:lnTo>
                  <a:lnTo>
                    <a:pt x="34" y="14"/>
                  </a:lnTo>
                  <a:lnTo>
                    <a:pt x="13" y="14"/>
                  </a:lnTo>
                  <a:lnTo>
                    <a:pt x="13" y="37"/>
                  </a:lnTo>
                  <a:lnTo>
                    <a:pt x="32" y="37"/>
                  </a:lnTo>
                  <a:lnTo>
                    <a:pt x="32" y="48"/>
                  </a:lnTo>
                  <a:lnTo>
                    <a:pt x="13" y="48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5D877D2C-A89E-5E4E-9B98-5DD6AE084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6325" y="2371725"/>
              <a:ext cx="4763" cy="31750"/>
            </a:xfrm>
            <a:custGeom>
              <a:avLst/>
              <a:gdLst>
                <a:gd name="T0" fmla="*/ 6 w 14"/>
                <a:gd name="T1" fmla="*/ 85 h 86"/>
                <a:gd name="T2" fmla="*/ 0 w 14"/>
                <a:gd name="T3" fmla="*/ 85 h 86"/>
                <a:gd name="T4" fmla="*/ 0 w 14"/>
                <a:gd name="T5" fmla="*/ 0 h 86"/>
                <a:gd name="T6" fmla="*/ 13 w 14"/>
                <a:gd name="T7" fmla="*/ 0 h 86"/>
                <a:gd name="T8" fmla="*/ 13 w 14"/>
                <a:gd name="T9" fmla="*/ 85 h 86"/>
                <a:gd name="T10" fmla="*/ 6 w 14"/>
                <a:gd name="T11" fmla="*/ 8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6">
                  <a:moveTo>
                    <a:pt x="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6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7EE88D1E-EB5A-814D-BC60-EA57B635B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2675" y="2371725"/>
              <a:ext cx="17463" cy="31750"/>
            </a:xfrm>
            <a:custGeom>
              <a:avLst/>
              <a:gdLst>
                <a:gd name="T0" fmla="*/ 48 w 49"/>
                <a:gd name="T1" fmla="*/ 82 h 86"/>
                <a:gd name="T2" fmla="*/ 32 w 49"/>
                <a:gd name="T3" fmla="*/ 85 h 86"/>
                <a:gd name="T4" fmla="*/ 0 w 49"/>
                <a:gd name="T5" fmla="*/ 43 h 86"/>
                <a:gd name="T6" fmla="*/ 32 w 49"/>
                <a:gd name="T7" fmla="*/ 0 h 86"/>
                <a:gd name="T8" fmla="*/ 48 w 49"/>
                <a:gd name="T9" fmla="*/ 3 h 86"/>
                <a:gd name="T10" fmla="*/ 48 w 49"/>
                <a:gd name="T11" fmla="*/ 16 h 86"/>
                <a:gd name="T12" fmla="*/ 35 w 49"/>
                <a:gd name="T13" fmla="*/ 11 h 86"/>
                <a:gd name="T14" fmla="*/ 16 w 49"/>
                <a:gd name="T15" fmla="*/ 43 h 86"/>
                <a:gd name="T16" fmla="*/ 35 w 49"/>
                <a:gd name="T17" fmla="*/ 75 h 86"/>
                <a:gd name="T18" fmla="*/ 48 w 49"/>
                <a:gd name="T19" fmla="*/ 69 h 86"/>
                <a:gd name="T20" fmla="*/ 48 w 49"/>
                <a:gd name="T21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86">
                  <a:moveTo>
                    <a:pt x="48" y="82"/>
                  </a:moveTo>
                  <a:cubicBezTo>
                    <a:pt x="45" y="85"/>
                    <a:pt x="40" y="85"/>
                    <a:pt x="32" y="85"/>
                  </a:cubicBezTo>
                  <a:cubicBezTo>
                    <a:pt x="11" y="85"/>
                    <a:pt x="0" y="67"/>
                    <a:pt x="0" y="43"/>
                  </a:cubicBezTo>
                  <a:cubicBezTo>
                    <a:pt x="0" y="19"/>
                    <a:pt x="11" y="0"/>
                    <a:pt x="32" y="0"/>
                  </a:cubicBezTo>
                  <a:cubicBezTo>
                    <a:pt x="40" y="0"/>
                    <a:pt x="45" y="3"/>
                    <a:pt x="48" y="3"/>
                  </a:cubicBezTo>
                  <a:lnTo>
                    <a:pt x="48" y="16"/>
                  </a:lnTo>
                  <a:cubicBezTo>
                    <a:pt x="45" y="14"/>
                    <a:pt x="42" y="11"/>
                    <a:pt x="35" y="11"/>
                  </a:cubicBezTo>
                  <a:cubicBezTo>
                    <a:pt x="24" y="11"/>
                    <a:pt x="16" y="19"/>
                    <a:pt x="16" y="43"/>
                  </a:cubicBezTo>
                  <a:cubicBezTo>
                    <a:pt x="16" y="64"/>
                    <a:pt x="24" y="75"/>
                    <a:pt x="35" y="75"/>
                  </a:cubicBezTo>
                  <a:cubicBezTo>
                    <a:pt x="40" y="75"/>
                    <a:pt x="45" y="72"/>
                    <a:pt x="48" y="69"/>
                  </a:cubicBezTo>
                  <a:lnTo>
                    <a:pt x="48" y="8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66C0DA03-5EB6-F84D-9A09-95D255469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1725" y="2371725"/>
              <a:ext cx="14288" cy="31750"/>
            </a:xfrm>
            <a:custGeom>
              <a:avLst/>
              <a:gdLst>
                <a:gd name="T0" fmla="*/ 0 w 38"/>
                <a:gd name="T1" fmla="*/ 0 h 86"/>
                <a:gd name="T2" fmla="*/ 37 w 38"/>
                <a:gd name="T3" fmla="*/ 0 h 86"/>
                <a:gd name="T4" fmla="*/ 37 w 38"/>
                <a:gd name="T5" fmla="*/ 14 h 86"/>
                <a:gd name="T6" fmla="*/ 13 w 38"/>
                <a:gd name="T7" fmla="*/ 14 h 86"/>
                <a:gd name="T8" fmla="*/ 13 w 38"/>
                <a:gd name="T9" fmla="*/ 35 h 86"/>
                <a:gd name="T10" fmla="*/ 34 w 38"/>
                <a:gd name="T11" fmla="*/ 35 h 86"/>
                <a:gd name="T12" fmla="*/ 34 w 38"/>
                <a:gd name="T13" fmla="*/ 48 h 86"/>
                <a:gd name="T14" fmla="*/ 13 w 38"/>
                <a:gd name="T15" fmla="*/ 48 h 86"/>
                <a:gd name="T16" fmla="*/ 13 w 38"/>
                <a:gd name="T17" fmla="*/ 72 h 86"/>
                <a:gd name="T18" fmla="*/ 37 w 38"/>
                <a:gd name="T19" fmla="*/ 72 h 86"/>
                <a:gd name="T20" fmla="*/ 37 w 38"/>
                <a:gd name="T21" fmla="*/ 85 h 86"/>
                <a:gd name="T22" fmla="*/ 0 w 38"/>
                <a:gd name="T23" fmla="*/ 85 h 86"/>
                <a:gd name="T24" fmla="*/ 0 w 3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7" y="0"/>
                  </a:lnTo>
                  <a:lnTo>
                    <a:pt x="37" y="14"/>
                  </a:lnTo>
                  <a:lnTo>
                    <a:pt x="13" y="14"/>
                  </a:lnTo>
                  <a:lnTo>
                    <a:pt x="13" y="35"/>
                  </a:lnTo>
                  <a:lnTo>
                    <a:pt x="34" y="35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72"/>
                  </a:lnTo>
                  <a:lnTo>
                    <a:pt x="37" y="72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7C153ADE-2DB9-1247-9B89-7F1B9577D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5538" y="2371725"/>
              <a:ext cx="12700" cy="31750"/>
            </a:xfrm>
            <a:custGeom>
              <a:avLst/>
              <a:gdLst>
                <a:gd name="T0" fmla="*/ 0 w 36"/>
                <a:gd name="T1" fmla="*/ 0 h 86"/>
                <a:gd name="T2" fmla="*/ 35 w 36"/>
                <a:gd name="T3" fmla="*/ 0 h 86"/>
                <a:gd name="T4" fmla="*/ 35 w 36"/>
                <a:gd name="T5" fmla="*/ 14 h 86"/>
                <a:gd name="T6" fmla="*/ 11 w 36"/>
                <a:gd name="T7" fmla="*/ 14 h 86"/>
                <a:gd name="T8" fmla="*/ 11 w 36"/>
                <a:gd name="T9" fmla="*/ 37 h 86"/>
                <a:gd name="T10" fmla="*/ 32 w 36"/>
                <a:gd name="T11" fmla="*/ 37 h 86"/>
                <a:gd name="T12" fmla="*/ 32 w 36"/>
                <a:gd name="T13" fmla="*/ 48 h 86"/>
                <a:gd name="T14" fmla="*/ 11 w 36"/>
                <a:gd name="T15" fmla="*/ 48 h 86"/>
                <a:gd name="T16" fmla="*/ 11 w 36"/>
                <a:gd name="T17" fmla="*/ 85 h 86"/>
                <a:gd name="T18" fmla="*/ 0 w 36"/>
                <a:gd name="T19" fmla="*/ 85 h 86"/>
                <a:gd name="T20" fmla="*/ 0 w 36"/>
                <a:gd name="T2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86">
                  <a:moveTo>
                    <a:pt x="0" y="0"/>
                  </a:moveTo>
                  <a:lnTo>
                    <a:pt x="35" y="0"/>
                  </a:lnTo>
                  <a:lnTo>
                    <a:pt x="35" y="14"/>
                  </a:lnTo>
                  <a:lnTo>
                    <a:pt x="11" y="14"/>
                  </a:lnTo>
                  <a:lnTo>
                    <a:pt x="11" y="37"/>
                  </a:lnTo>
                  <a:lnTo>
                    <a:pt x="32" y="37"/>
                  </a:lnTo>
                  <a:lnTo>
                    <a:pt x="32" y="48"/>
                  </a:lnTo>
                  <a:lnTo>
                    <a:pt x="11" y="48"/>
                  </a:lnTo>
                  <a:lnTo>
                    <a:pt x="11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A6012BB1-ABA6-CA43-A384-0F10B422F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8238" y="2371725"/>
              <a:ext cx="19050" cy="31750"/>
            </a:xfrm>
            <a:custGeom>
              <a:avLst/>
              <a:gdLst>
                <a:gd name="T0" fmla="*/ 53 w 54"/>
                <a:gd name="T1" fmla="*/ 43 h 86"/>
                <a:gd name="T2" fmla="*/ 27 w 54"/>
                <a:gd name="T3" fmla="*/ 85 h 86"/>
                <a:gd name="T4" fmla="*/ 0 w 54"/>
                <a:gd name="T5" fmla="*/ 43 h 86"/>
                <a:gd name="T6" fmla="*/ 27 w 54"/>
                <a:gd name="T7" fmla="*/ 0 h 86"/>
                <a:gd name="T8" fmla="*/ 53 w 54"/>
                <a:gd name="T9" fmla="*/ 43 h 86"/>
                <a:gd name="T10" fmla="*/ 40 w 54"/>
                <a:gd name="T11" fmla="*/ 43 h 86"/>
                <a:gd name="T12" fmla="*/ 27 w 54"/>
                <a:gd name="T13" fmla="*/ 11 h 86"/>
                <a:gd name="T14" fmla="*/ 14 w 54"/>
                <a:gd name="T15" fmla="*/ 43 h 86"/>
                <a:gd name="T16" fmla="*/ 27 w 54"/>
                <a:gd name="T17" fmla="*/ 75 h 86"/>
                <a:gd name="T18" fmla="*/ 40 w 54"/>
                <a:gd name="T19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86">
                  <a:moveTo>
                    <a:pt x="53" y="43"/>
                  </a:moveTo>
                  <a:cubicBezTo>
                    <a:pt x="53" y="75"/>
                    <a:pt x="40" y="85"/>
                    <a:pt x="27" y="85"/>
                  </a:cubicBezTo>
                  <a:cubicBezTo>
                    <a:pt x="14" y="85"/>
                    <a:pt x="0" y="72"/>
                    <a:pt x="0" y="43"/>
                  </a:cubicBezTo>
                  <a:cubicBezTo>
                    <a:pt x="0" y="14"/>
                    <a:pt x="14" y="0"/>
                    <a:pt x="27" y="0"/>
                  </a:cubicBezTo>
                  <a:cubicBezTo>
                    <a:pt x="40" y="0"/>
                    <a:pt x="53" y="14"/>
                    <a:pt x="53" y="43"/>
                  </a:cubicBezTo>
                  <a:close/>
                  <a:moveTo>
                    <a:pt x="40" y="43"/>
                  </a:moveTo>
                  <a:cubicBezTo>
                    <a:pt x="40" y="19"/>
                    <a:pt x="35" y="11"/>
                    <a:pt x="27" y="11"/>
                  </a:cubicBezTo>
                  <a:cubicBezTo>
                    <a:pt x="19" y="11"/>
                    <a:pt x="14" y="19"/>
                    <a:pt x="14" y="43"/>
                  </a:cubicBezTo>
                  <a:cubicBezTo>
                    <a:pt x="14" y="67"/>
                    <a:pt x="19" y="75"/>
                    <a:pt x="27" y="75"/>
                  </a:cubicBezTo>
                  <a:cubicBezTo>
                    <a:pt x="35" y="75"/>
                    <a:pt x="40" y="67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AF3BAC1B-755B-0243-8774-F4F4DDE33E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0463" y="2371725"/>
              <a:ext cx="17462" cy="31750"/>
            </a:xfrm>
            <a:custGeom>
              <a:avLst/>
              <a:gdLst>
                <a:gd name="T0" fmla="*/ 2 w 48"/>
                <a:gd name="T1" fmla="*/ 0 h 89"/>
                <a:gd name="T2" fmla="*/ 23 w 48"/>
                <a:gd name="T3" fmla="*/ 0 h 89"/>
                <a:gd name="T4" fmla="*/ 45 w 48"/>
                <a:gd name="T5" fmla="*/ 22 h 89"/>
                <a:gd name="T6" fmla="*/ 31 w 48"/>
                <a:gd name="T7" fmla="*/ 43 h 89"/>
                <a:gd name="T8" fmla="*/ 31 w 48"/>
                <a:gd name="T9" fmla="*/ 43 h 89"/>
                <a:gd name="T10" fmla="*/ 39 w 48"/>
                <a:gd name="T11" fmla="*/ 53 h 89"/>
                <a:gd name="T12" fmla="*/ 47 w 48"/>
                <a:gd name="T13" fmla="*/ 85 h 89"/>
                <a:gd name="T14" fmla="*/ 34 w 48"/>
                <a:gd name="T15" fmla="*/ 85 h 89"/>
                <a:gd name="T16" fmla="*/ 26 w 48"/>
                <a:gd name="T17" fmla="*/ 59 h 89"/>
                <a:gd name="T18" fmla="*/ 15 w 48"/>
                <a:gd name="T19" fmla="*/ 51 h 89"/>
                <a:gd name="T20" fmla="*/ 13 w 48"/>
                <a:gd name="T21" fmla="*/ 51 h 89"/>
                <a:gd name="T22" fmla="*/ 13 w 48"/>
                <a:gd name="T23" fmla="*/ 88 h 89"/>
                <a:gd name="T24" fmla="*/ 0 w 48"/>
                <a:gd name="T25" fmla="*/ 88 h 89"/>
                <a:gd name="T26" fmla="*/ 2 w 48"/>
                <a:gd name="T27" fmla="*/ 0 h 89"/>
                <a:gd name="T28" fmla="*/ 18 w 48"/>
                <a:gd name="T29" fmla="*/ 37 h 89"/>
                <a:gd name="T30" fmla="*/ 29 w 48"/>
                <a:gd name="T31" fmla="*/ 24 h 89"/>
                <a:gd name="T32" fmla="*/ 18 w 48"/>
                <a:gd name="T33" fmla="*/ 11 h 89"/>
                <a:gd name="T34" fmla="*/ 13 w 48"/>
                <a:gd name="T35" fmla="*/ 11 h 89"/>
                <a:gd name="T36" fmla="*/ 13 w 48"/>
                <a:gd name="T37" fmla="*/ 35 h 89"/>
                <a:gd name="T38" fmla="*/ 18 w 48"/>
                <a:gd name="T39" fmla="*/ 35 h 89"/>
                <a:gd name="T40" fmla="*/ 18 w 48"/>
                <a:gd name="T41" fmla="*/ 3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89">
                  <a:moveTo>
                    <a:pt x="2" y="0"/>
                  </a:moveTo>
                  <a:lnTo>
                    <a:pt x="23" y="0"/>
                  </a:lnTo>
                  <a:cubicBezTo>
                    <a:pt x="37" y="0"/>
                    <a:pt x="45" y="8"/>
                    <a:pt x="45" y="22"/>
                  </a:cubicBezTo>
                  <a:cubicBezTo>
                    <a:pt x="45" y="32"/>
                    <a:pt x="39" y="40"/>
                    <a:pt x="31" y="43"/>
                  </a:cubicBezTo>
                  <a:lnTo>
                    <a:pt x="31" y="43"/>
                  </a:lnTo>
                  <a:cubicBezTo>
                    <a:pt x="34" y="43"/>
                    <a:pt x="37" y="45"/>
                    <a:pt x="39" y="53"/>
                  </a:cubicBezTo>
                  <a:lnTo>
                    <a:pt x="47" y="85"/>
                  </a:lnTo>
                  <a:lnTo>
                    <a:pt x="34" y="85"/>
                  </a:lnTo>
                  <a:lnTo>
                    <a:pt x="26" y="59"/>
                  </a:lnTo>
                  <a:cubicBezTo>
                    <a:pt x="23" y="51"/>
                    <a:pt x="21" y="51"/>
                    <a:pt x="15" y="51"/>
                  </a:cubicBezTo>
                  <a:lnTo>
                    <a:pt x="13" y="51"/>
                  </a:lnTo>
                  <a:lnTo>
                    <a:pt x="13" y="88"/>
                  </a:lnTo>
                  <a:lnTo>
                    <a:pt x="0" y="88"/>
                  </a:lnTo>
                  <a:lnTo>
                    <a:pt x="2" y="0"/>
                  </a:lnTo>
                  <a:close/>
                  <a:moveTo>
                    <a:pt x="18" y="37"/>
                  </a:moveTo>
                  <a:cubicBezTo>
                    <a:pt x="26" y="37"/>
                    <a:pt x="29" y="32"/>
                    <a:pt x="29" y="24"/>
                  </a:cubicBezTo>
                  <a:cubicBezTo>
                    <a:pt x="29" y="14"/>
                    <a:pt x="23" y="11"/>
                    <a:pt x="18" y="11"/>
                  </a:cubicBezTo>
                  <a:lnTo>
                    <a:pt x="13" y="11"/>
                  </a:lnTo>
                  <a:lnTo>
                    <a:pt x="13" y="35"/>
                  </a:lnTo>
                  <a:lnTo>
                    <a:pt x="18" y="35"/>
                  </a:lnTo>
                  <a:lnTo>
                    <a:pt x="18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9AD84315-ECD2-134F-A3CD-AE211F94A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100" y="2371725"/>
              <a:ext cx="15875" cy="31750"/>
            </a:xfrm>
            <a:custGeom>
              <a:avLst/>
              <a:gdLst>
                <a:gd name="T0" fmla="*/ 16 w 46"/>
                <a:gd name="T1" fmla="*/ 14 h 86"/>
                <a:gd name="T2" fmla="*/ 0 w 46"/>
                <a:gd name="T3" fmla="*/ 14 h 86"/>
                <a:gd name="T4" fmla="*/ 0 w 46"/>
                <a:gd name="T5" fmla="*/ 0 h 86"/>
                <a:gd name="T6" fmla="*/ 45 w 46"/>
                <a:gd name="T7" fmla="*/ 0 h 86"/>
                <a:gd name="T8" fmla="*/ 45 w 46"/>
                <a:gd name="T9" fmla="*/ 14 h 86"/>
                <a:gd name="T10" fmla="*/ 30 w 46"/>
                <a:gd name="T11" fmla="*/ 14 h 86"/>
                <a:gd name="T12" fmla="*/ 30 w 46"/>
                <a:gd name="T13" fmla="*/ 85 h 86"/>
                <a:gd name="T14" fmla="*/ 16 w 46"/>
                <a:gd name="T15" fmla="*/ 85 h 86"/>
                <a:gd name="T16" fmla="*/ 16 w 46"/>
                <a:gd name="T17" fmla="*/ 1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86">
                  <a:moveTo>
                    <a:pt x="16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14"/>
                  </a:lnTo>
                  <a:lnTo>
                    <a:pt x="30" y="14"/>
                  </a:lnTo>
                  <a:lnTo>
                    <a:pt x="30" y="85"/>
                  </a:lnTo>
                  <a:lnTo>
                    <a:pt x="16" y="85"/>
                  </a:lnTo>
                  <a:lnTo>
                    <a:pt x="16" y="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774143B0-D844-FA4D-9968-3EA5EA2B7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8563" y="2371725"/>
              <a:ext cx="15875" cy="31750"/>
            </a:xfrm>
            <a:custGeom>
              <a:avLst/>
              <a:gdLst>
                <a:gd name="T0" fmla="*/ 0 w 46"/>
                <a:gd name="T1" fmla="*/ 0 h 86"/>
                <a:gd name="T2" fmla="*/ 13 w 46"/>
                <a:gd name="T3" fmla="*/ 0 h 86"/>
                <a:gd name="T4" fmla="*/ 13 w 46"/>
                <a:gd name="T5" fmla="*/ 35 h 86"/>
                <a:gd name="T6" fmla="*/ 35 w 46"/>
                <a:gd name="T7" fmla="*/ 35 h 86"/>
                <a:gd name="T8" fmla="*/ 35 w 46"/>
                <a:gd name="T9" fmla="*/ 0 h 86"/>
                <a:gd name="T10" fmla="*/ 45 w 46"/>
                <a:gd name="T11" fmla="*/ 0 h 86"/>
                <a:gd name="T12" fmla="*/ 45 w 46"/>
                <a:gd name="T13" fmla="*/ 85 h 86"/>
                <a:gd name="T14" fmla="*/ 35 w 46"/>
                <a:gd name="T15" fmla="*/ 85 h 86"/>
                <a:gd name="T16" fmla="*/ 35 w 46"/>
                <a:gd name="T17" fmla="*/ 48 h 86"/>
                <a:gd name="T18" fmla="*/ 13 w 46"/>
                <a:gd name="T19" fmla="*/ 48 h 86"/>
                <a:gd name="T20" fmla="*/ 13 w 46"/>
                <a:gd name="T21" fmla="*/ 85 h 86"/>
                <a:gd name="T22" fmla="*/ 0 w 46"/>
                <a:gd name="T23" fmla="*/ 85 h 86"/>
                <a:gd name="T24" fmla="*/ 0 w 46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86">
                  <a:moveTo>
                    <a:pt x="0" y="0"/>
                  </a:moveTo>
                  <a:lnTo>
                    <a:pt x="13" y="0"/>
                  </a:lnTo>
                  <a:lnTo>
                    <a:pt x="13" y="35"/>
                  </a:lnTo>
                  <a:lnTo>
                    <a:pt x="35" y="35"/>
                  </a:lnTo>
                  <a:lnTo>
                    <a:pt x="35" y="0"/>
                  </a:lnTo>
                  <a:lnTo>
                    <a:pt x="45" y="0"/>
                  </a:lnTo>
                  <a:lnTo>
                    <a:pt x="45" y="85"/>
                  </a:lnTo>
                  <a:lnTo>
                    <a:pt x="35" y="85"/>
                  </a:lnTo>
                  <a:lnTo>
                    <a:pt x="35" y="48"/>
                  </a:lnTo>
                  <a:lnTo>
                    <a:pt x="13" y="48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084866F7-6D07-2441-861D-06BC96EE4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9200" y="2371725"/>
              <a:ext cx="14288" cy="31750"/>
            </a:xfrm>
            <a:custGeom>
              <a:avLst/>
              <a:gdLst>
                <a:gd name="T0" fmla="*/ 0 w 38"/>
                <a:gd name="T1" fmla="*/ 0 h 86"/>
                <a:gd name="T2" fmla="*/ 37 w 38"/>
                <a:gd name="T3" fmla="*/ 0 h 86"/>
                <a:gd name="T4" fmla="*/ 37 w 38"/>
                <a:gd name="T5" fmla="*/ 14 h 86"/>
                <a:gd name="T6" fmla="*/ 13 w 38"/>
                <a:gd name="T7" fmla="*/ 14 h 86"/>
                <a:gd name="T8" fmla="*/ 13 w 38"/>
                <a:gd name="T9" fmla="*/ 35 h 86"/>
                <a:gd name="T10" fmla="*/ 34 w 38"/>
                <a:gd name="T11" fmla="*/ 35 h 86"/>
                <a:gd name="T12" fmla="*/ 34 w 38"/>
                <a:gd name="T13" fmla="*/ 48 h 86"/>
                <a:gd name="T14" fmla="*/ 13 w 38"/>
                <a:gd name="T15" fmla="*/ 48 h 86"/>
                <a:gd name="T16" fmla="*/ 13 w 38"/>
                <a:gd name="T17" fmla="*/ 72 h 86"/>
                <a:gd name="T18" fmla="*/ 37 w 38"/>
                <a:gd name="T19" fmla="*/ 72 h 86"/>
                <a:gd name="T20" fmla="*/ 37 w 38"/>
                <a:gd name="T21" fmla="*/ 85 h 86"/>
                <a:gd name="T22" fmla="*/ 0 w 38"/>
                <a:gd name="T23" fmla="*/ 85 h 86"/>
                <a:gd name="T24" fmla="*/ 0 w 3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7" y="0"/>
                  </a:lnTo>
                  <a:lnTo>
                    <a:pt x="37" y="14"/>
                  </a:lnTo>
                  <a:lnTo>
                    <a:pt x="13" y="14"/>
                  </a:lnTo>
                  <a:lnTo>
                    <a:pt x="13" y="35"/>
                  </a:lnTo>
                  <a:lnTo>
                    <a:pt x="34" y="35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72"/>
                  </a:lnTo>
                  <a:lnTo>
                    <a:pt x="37" y="72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1B2983B4-8F2B-CE43-B6FB-70B1B16BFC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25" y="2038350"/>
              <a:ext cx="355600" cy="273050"/>
            </a:xfrm>
            <a:custGeom>
              <a:avLst/>
              <a:gdLst>
                <a:gd name="T0" fmla="*/ 177 w 986"/>
                <a:gd name="T1" fmla="*/ 582 h 758"/>
                <a:gd name="T2" fmla="*/ 209 w 986"/>
                <a:gd name="T3" fmla="*/ 537 h 758"/>
                <a:gd name="T4" fmla="*/ 820 w 986"/>
                <a:gd name="T5" fmla="*/ 452 h 758"/>
                <a:gd name="T6" fmla="*/ 320 w 986"/>
                <a:gd name="T7" fmla="*/ 725 h 758"/>
                <a:gd name="T8" fmla="*/ 664 w 986"/>
                <a:gd name="T9" fmla="*/ 725 h 758"/>
                <a:gd name="T10" fmla="*/ 79 w 986"/>
                <a:gd name="T11" fmla="*/ 299 h 758"/>
                <a:gd name="T12" fmla="*/ 847 w 986"/>
                <a:gd name="T13" fmla="*/ 206 h 758"/>
                <a:gd name="T14" fmla="*/ 881 w 986"/>
                <a:gd name="T15" fmla="*/ 442 h 758"/>
                <a:gd name="T16" fmla="*/ 519 w 986"/>
                <a:gd name="T17" fmla="*/ 129 h 758"/>
                <a:gd name="T18" fmla="*/ 519 w 986"/>
                <a:gd name="T19" fmla="*/ 37 h 758"/>
                <a:gd name="T20" fmla="*/ 338 w 986"/>
                <a:gd name="T21" fmla="*/ 174 h 758"/>
                <a:gd name="T22" fmla="*/ 669 w 986"/>
                <a:gd name="T23" fmla="*/ 127 h 758"/>
                <a:gd name="T24" fmla="*/ 646 w 986"/>
                <a:gd name="T25" fmla="*/ 156 h 758"/>
                <a:gd name="T26" fmla="*/ 566 w 986"/>
                <a:gd name="T27" fmla="*/ 227 h 758"/>
                <a:gd name="T28" fmla="*/ 537 w 986"/>
                <a:gd name="T29" fmla="*/ 256 h 758"/>
                <a:gd name="T30" fmla="*/ 561 w 986"/>
                <a:gd name="T31" fmla="*/ 545 h 758"/>
                <a:gd name="T32" fmla="*/ 474 w 986"/>
                <a:gd name="T33" fmla="*/ 566 h 758"/>
                <a:gd name="T34" fmla="*/ 365 w 986"/>
                <a:gd name="T35" fmla="*/ 455 h 758"/>
                <a:gd name="T36" fmla="*/ 455 w 986"/>
                <a:gd name="T37" fmla="*/ 352 h 758"/>
                <a:gd name="T38" fmla="*/ 352 w 986"/>
                <a:gd name="T39" fmla="*/ 174 h 758"/>
                <a:gd name="T40" fmla="*/ 360 w 986"/>
                <a:gd name="T41" fmla="*/ 113 h 758"/>
                <a:gd name="T42" fmla="*/ 815 w 986"/>
                <a:gd name="T43" fmla="*/ 323 h 758"/>
                <a:gd name="T44" fmla="*/ 553 w 986"/>
                <a:gd name="T45" fmla="*/ 235 h 758"/>
                <a:gd name="T46" fmla="*/ 542 w 986"/>
                <a:gd name="T47" fmla="*/ 241 h 758"/>
                <a:gd name="T48" fmla="*/ 717 w 986"/>
                <a:gd name="T49" fmla="*/ 190 h 758"/>
                <a:gd name="T50" fmla="*/ 685 w 986"/>
                <a:gd name="T51" fmla="*/ 193 h 758"/>
                <a:gd name="T52" fmla="*/ 680 w 986"/>
                <a:gd name="T53" fmla="*/ 246 h 758"/>
                <a:gd name="T54" fmla="*/ 656 w 986"/>
                <a:gd name="T55" fmla="*/ 209 h 758"/>
                <a:gd name="T56" fmla="*/ 683 w 986"/>
                <a:gd name="T57" fmla="*/ 219 h 758"/>
                <a:gd name="T58" fmla="*/ 690 w 986"/>
                <a:gd name="T59" fmla="*/ 260 h 758"/>
                <a:gd name="T60" fmla="*/ 672 w 986"/>
                <a:gd name="T61" fmla="*/ 294 h 758"/>
                <a:gd name="T62" fmla="*/ 648 w 986"/>
                <a:gd name="T63" fmla="*/ 299 h 758"/>
                <a:gd name="T64" fmla="*/ 582 w 986"/>
                <a:gd name="T65" fmla="*/ 262 h 758"/>
                <a:gd name="T66" fmla="*/ 571 w 986"/>
                <a:gd name="T67" fmla="*/ 429 h 758"/>
                <a:gd name="T68" fmla="*/ 667 w 986"/>
                <a:gd name="T69" fmla="*/ 270 h 758"/>
                <a:gd name="T70" fmla="*/ 654 w 986"/>
                <a:gd name="T71" fmla="*/ 270 h 758"/>
                <a:gd name="T72" fmla="*/ 627 w 986"/>
                <a:gd name="T73" fmla="*/ 259 h 758"/>
                <a:gd name="T74" fmla="*/ 590 w 986"/>
                <a:gd name="T75" fmla="*/ 235 h 758"/>
                <a:gd name="T76" fmla="*/ 603 w 986"/>
                <a:gd name="T77" fmla="*/ 384 h 758"/>
                <a:gd name="T78" fmla="*/ 624 w 986"/>
                <a:gd name="T79" fmla="*/ 362 h 758"/>
                <a:gd name="T80" fmla="*/ 640 w 986"/>
                <a:gd name="T81" fmla="*/ 341 h 758"/>
                <a:gd name="T82" fmla="*/ 627 w 986"/>
                <a:gd name="T83" fmla="*/ 516 h 758"/>
                <a:gd name="T84" fmla="*/ 617 w 986"/>
                <a:gd name="T85" fmla="*/ 537 h 758"/>
                <a:gd name="T86" fmla="*/ 654 w 986"/>
                <a:gd name="T87" fmla="*/ 479 h 758"/>
                <a:gd name="T88" fmla="*/ 680 w 986"/>
                <a:gd name="T89" fmla="*/ 503 h 758"/>
                <a:gd name="T90" fmla="*/ 328 w 986"/>
                <a:gd name="T91" fmla="*/ 346 h 758"/>
                <a:gd name="T92" fmla="*/ 352 w 986"/>
                <a:gd name="T93" fmla="*/ 360 h 758"/>
                <a:gd name="T94" fmla="*/ 354 w 986"/>
                <a:gd name="T95" fmla="*/ 328 h 758"/>
                <a:gd name="T96" fmla="*/ 320 w 986"/>
                <a:gd name="T97" fmla="*/ 349 h 758"/>
                <a:gd name="T98" fmla="*/ 394 w 986"/>
                <a:gd name="T99" fmla="*/ 352 h 758"/>
                <a:gd name="T100" fmla="*/ 423 w 986"/>
                <a:gd name="T101" fmla="*/ 370 h 758"/>
                <a:gd name="T102" fmla="*/ 391 w 986"/>
                <a:gd name="T103" fmla="*/ 233 h 758"/>
                <a:gd name="T104" fmla="*/ 360 w 986"/>
                <a:gd name="T105" fmla="*/ 272 h 758"/>
                <a:gd name="T106" fmla="*/ 304 w 986"/>
                <a:gd name="T107" fmla="*/ 479 h 758"/>
                <a:gd name="T108" fmla="*/ 272 w 986"/>
                <a:gd name="T109" fmla="*/ 394 h 758"/>
                <a:gd name="T110" fmla="*/ 211 w 986"/>
                <a:gd name="T111" fmla="*/ 399 h 758"/>
                <a:gd name="T112" fmla="*/ 209 w 986"/>
                <a:gd name="T113" fmla="*/ 434 h 758"/>
                <a:gd name="T114" fmla="*/ 240 w 986"/>
                <a:gd name="T115" fmla="*/ 439 h 758"/>
                <a:gd name="T116" fmla="*/ 230 w 986"/>
                <a:gd name="T117" fmla="*/ 333 h 758"/>
                <a:gd name="T118" fmla="*/ 640 w 986"/>
                <a:gd name="T119" fmla="*/ 79 h 758"/>
                <a:gd name="T120" fmla="*/ 630 w 986"/>
                <a:gd name="T121" fmla="*/ 222 h 758"/>
                <a:gd name="T122" fmla="*/ 619 w 986"/>
                <a:gd name="T123" fmla="*/ 238 h 758"/>
                <a:gd name="T124" fmla="*/ 466 w 986"/>
                <a:gd name="T125" fmla="*/ 259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86" h="758">
                  <a:moveTo>
                    <a:pt x="855" y="140"/>
                  </a:moveTo>
                  <a:cubicBezTo>
                    <a:pt x="842" y="76"/>
                    <a:pt x="791" y="26"/>
                    <a:pt x="733" y="13"/>
                  </a:cubicBezTo>
                  <a:cubicBezTo>
                    <a:pt x="762" y="34"/>
                    <a:pt x="767" y="62"/>
                    <a:pt x="786" y="84"/>
                  </a:cubicBezTo>
                  <a:cubicBezTo>
                    <a:pt x="805" y="105"/>
                    <a:pt x="836" y="119"/>
                    <a:pt x="855" y="140"/>
                  </a:cubicBezTo>
                  <a:close/>
                  <a:moveTo>
                    <a:pt x="209" y="95"/>
                  </a:moveTo>
                  <a:cubicBezTo>
                    <a:pt x="195" y="121"/>
                    <a:pt x="129" y="132"/>
                    <a:pt x="98" y="196"/>
                  </a:cubicBezTo>
                  <a:cubicBezTo>
                    <a:pt x="113" y="156"/>
                    <a:pt x="105" y="98"/>
                    <a:pt x="132" y="66"/>
                  </a:cubicBezTo>
                  <a:cubicBezTo>
                    <a:pt x="55" y="124"/>
                    <a:pt x="90" y="217"/>
                    <a:pt x="84" y="246"/>
                  </a:cubicBezTo>
                  <a:cubicBezTo>
                    <a:pt x="124" y="158"/>
                    <a:pt x="185" y="177"/>
                    <a:pt x="209" y="95"/>
                  </a:cubicBezTo>
                  <a:close/>
                  <a:moveTo>
                    <a:pt x="177" y="582"/>
                  </a:moveTo>
                  <a:cubicBezTo>
                    <a:pt x="143" y="542"/>
                    <a:pt x="68" y="534"/>
                    <a:pt x="39" y="476"/>
                  </a:cubicBezTo>
                  <a:cubicBezTo>
                    <a:pt x="76" y="619"/>
                    <a:pt x="174" y="590"/>
                    <a:pt x="219" y="622"/>
                  </a:cubicBezTo>
                  <a:cubicBezTo>
                    <a:pt x="182" y="566"/>
                    <a:pt x="211" y="532"/>
                    <a:pt x="158" y="452"/>
                  </a:cubicBezTo>
                  <a:cubicBezTo>
                    <a:pt x="166" y="487"/>
                    <a:pt x="145" y="534"/>
                    <a:pt x="177" y="582"/>
                  </a:cubicBezTo>
                  <a:close/>
                  <a:moveTo>
                    <a:pt x="135" y="357"/>
                  </a:moveTo>
                  <a:cubicBezTo>
                    <a:pt x="132" y="399"/>
                    <a:pt x="103" y="421"/>
                    <a:pt x="121" y="500"/>
                  </a:cubicBezTo>
                  <a:cubicBezTo>
                    <a:pt x="87" y="434"/>
                    <a:pt x="34" y="407"/>
                    <a:pt x="18" y="362"/>
                  </a:cubicBezTo>
                  <a:cubicBezTo>
                    <a:pt x="18" y="489"/>
                    <a:pt x="121" y="508"/>
                    <a:pt x="148" y="542"/>
                  </a:cubicBezTo>
                  <a:cubicBezTo>
                    <a:pt x="127" y="463"/>
                    <a:pt x="164" y="434"/>
                    <a:pt x="135" y="357"/>
                  </a:cubicBezTo>
                  <a:close/>
                  <a:moveTo>
                    <a:pt x="209" y="537"/>
                  </a:moveTo>
                  <a:cubicBezTo>
                    <a:pt x="227" y="564"/>
                    <a:pt x="209" y="598"/>
                    <a:pt x="264" y="651"/>
                  </a:cubicBezTo>
                  <a:cubicBezTo>
                    <a:pt x="209" y="619"/>
                    <a:pt x="132" y="632"/>
                    <a:pt x="95" y="590"/>
                  </a:cubicBezTo>
                  <a:cubicBezTo>
                    <a:pt x="161" y="712"/>
                    <a:pt x="272" y="662"/>
                    <a:pt x="304" y="677"/>
                  </a:cubicBezTo>
                  <a:cubicBezTo>
                    <a:pt x="275" y="635"/>
                    <a:pt x="293" y="614"/>
                    <a:pt x="209" y="537"/>
                  </a:cubicBezTo>
                  <a:close/>
                  <a:moveTo>
                    <a:pt x="770" y="540"/>
                  </a:moveTo>
                  <a:cubicBezTo>
                    <a:pt x="685" y="614"/>
                    <a:pt x="707" y="638"/>
                    <a:pt x="675" y="680"/>
                  </a:cubicBezTo>
                  <a:cubicBezTo>
                    <a:pt x="707" y="664"/>
                    <a:pt x="818" y="715"/>
                    <a:pt x="881" y="593"/>
                  </a:cubicBezTo>
                  <a:cubicBezTo>
                    <a:pt x="847" y="635"/>
                    <a:pt x="770" y="619"/>
                    <a:pt x="714" y="654"/>
                  </a:cubicBezTo>
                  <a:cubicBezTo>
                    <a:pt x="773" y="601"/>
                    <a:pt x="754" y="566"/>
                    <a:pt x="770" y="540"/>
                  </a:cubicBezTo>
                  <a:close/>
                  <a:moveTo>
                    <a:pt x="820" y="452"/>
                  </a:moveTo>
                  <a:cubicBezTo>
                    <a:pt x="767" y="532"/>
                    <a:pt x="797" y="566"/>
                    <a:pt x="759" y="619"/>
                  </a:cubicBezTo>
                  <a:cubicBezTo>
                    <a:pt x="805" y="587"/>
                    <a:pt x="902" y="617"/>
                    <a:pt x="940" y="474"/>
                  </a:cubicBezTo>
                  <a:cubicBezTo>
                    <a:pt x="910" y="532"/>
                    <a:pt x="836" y="542"/>
                    <a:pt x="802" y="582"/>
                  </a:cubicBezTo>
                  <a:cubicBezTo>
                    <a:pt x="836" y="534"/>
                    <a:pt x="815" y="487"/>
                    <a:pt x="820" y="452"/>
                  </a:cubicBezTo>
                  <a:close/>
                  <a:moveTo>
                    <a:pt x="574" y="670"/>
                  </a:moveTo>
                  <a:cubicBezTo>
                    <a:pt x="542" y="670"/>
                    <a:pt x="513" y="675"/>
                    <a:pt x="489" y="683"/>
                  </a:cubicBezTo>
                  <a:cubicBezTo>
                    <a:pt x="466" y="675"/>
                    <a:pt x="436" y="667"/>
                    <a:pt x="405" y="670"/>
                  </a:cubicBezTo>
                  <a:cubicBezTo>
                    <a:pt x="378" y="670"/>
                    <a:pt x="346" y="675"/>
                    <a:pt x="312" y="683"/>
                  </a:cubicBezTo>
                  <a:cubicBezTo>
                    <a:pt x="262" y="696"/>
                    <a:pt x="217" y="707"/>
                    <a:pt x="180" y="688"/>
                  </a:cubicBezTo>
                  <a:cubicBezTo>
                    <a:pt x="217" y="720"/>
                    <a:pt x="259" y="733"/>
                    <a:pt x="320" y="725"/>
                  </a:cubicBezTo>
                  <a:cubicBezTo>
                    <a:pt x="370" y="720"/>
                    <a:pt x="413" y="693"/>
                    <a:pt x="463" y="693"/>
                  </a:cubicBezTo>
                  <a:lnTo>
                    <a:pt x="466" y="693"/>
                  </a:lnTo>
                  <a:cubicBezTo>
                    <a:pt x="415" y="720"/>
                    <a:pt x="386" y="754"/>
                    <a:pt x="386" y="754"/>
                  </a:cubicBezTo>
                  <a:lnTo>
                    <a:pt x="410" y="757"/>
                  </a:lnTo>
                  <a:cubicBezTo>
                    <a:pt x="410" y="757"/>
                    <a:pt x="434" y="707"/>
                    <a:pt x="492" y="696"/>
                  </a:cubicBezTo>
                  <a:cubicBezTo>
                    <a:pt x="548" y="709"/>
                    <a:pt x="574" y="757"/>
                    <a:pt x="574" y="757"/>
                  </a:cubicBezTo>
                  <a:lnTo>
                    <a:pt x="598" y="754"/>
                  </a:lnTo>
                  <a:cubicBezTo>
                    <a:pt x="598" y="754"/>
                    <a:pt x="569" y="717"/>
                    <a:pt x="519" y="693"/>
                  </a:cubicBezTo>
                  <a:lnTo>
                    <a:pt x="521" y="693"/>
                  </a:lnTo>
                  <a:cubicBezTo>
                    <a:pt x="569" y="693"/>
                    <a:pt x="611" y="720"/>
                    <a:pt x="664" y="725"/>
                  </a:cubicBezTo>
                  <a:cubicBezTo>
                    <a:pt x="725" y="730"/>
                    <a:pt x="770" y="720"/>
                    <a:pt x="805" y="688"/>
                  </a:cubicBezTo>
                  <a:cubicBezTo>
                    <a:pt x="762" y="707"/>
                    <a:pt x="717" y="696"/>
                    <a:pt x="667" y="683"/>
                  </a:cubicBezTo>
                  <a:cubicBezTo>
                    <a:pt x="632" y="675"/>
                    <a:pt x="601" y="670"/>
                    <a:pt x="574" y="670"/>
                  </a:cubicBezTo>
                  <a:close/>
                  <a:moveTo>
                    <a:pt x="87" y="402"/>
                  </a:moveTo>
                  <a:cubicBezTo>
                    <a:pt x="68" y="328"/>
                    <a:pt x="26" y="301"/>
                    <a:pt x="29" y="256"/>
                  </a:cubicBezTo>
                  <a:cubicBezTo>
                    <a:pt x="0" y="378"/>
                    <a:pt x="76" y="391"/>
                    <a:pt x="98" y="444"/>
                  </a:cubicBezTo>
                  <a:cubicBezTo>
                    <a:pt x="95" y="370"/>
                    <a:pt x="143" y="354"/>
                    <a:pt x="137" y="270"/>
                  </a:cubicBezTo>
                  <a:cubicBezTo>
                    <a:pt x="116" y="309"/>
                    <a:pt x="84" y="317"/>
                    <a:pt x="87" y="402"/>
                  </a:cubicBezTo>
                  <a:close/>
                  <a:moveTo>
                    <a:pt x="135" y="206"/>
                  </a:moveTo>
                  <a:cubicBezTo>
                    <a:pt x="108" y="227"/>
                    <a:pt x="87" y="256"/>
                    <a:pt x="79" y="299"/>
                  </a:cubicBezTo>
                  <a:cubicBezTo>
                    <a:pt x="82" y="254"/>
                    <a:pt x="52" y="190"/>
                    <a:pt x="71" y="143"/>
                  </a:cubicBezTo>
                  <a:cubicBezTo>
                    <a:pt x="0" y="243"/>
                    <a:pt x="76" y="304"/>
                    <a:pt x="79" y="339"/>
                  </a:cubicBezTo>
                  <a:cubicBezTo>
                    <a:pt x="98" y="270"/>
                    <a:pt x="140" y="270"/>
                    <a:pt x="166" y="177"/>
                  </a:cubicBezTo>
                  <a:cubicBezTo>
                    <a:pt x="158" y="188"/>
                    <a:pt x="153" y="190"/>
                    <a:pt x="135" y="206"/>
                  </a:cubicBezTo>
                  <a:close/>
                  <a:moveTo>
                    <a:pt x="847" y="206"/>
                  </a:moveTo>
                  <a:cubicBezTo>
                    <a:pt x="828" y="190"/>
                    <a:pt x="823" y="185"/>
                    <a:pt x="815" y="177"/>
                  </a:cubicBezTo>
                  <a:cubicBezTo>
                    <a:pt x="844" y="270"/>
                    <a:pt x="887" y="270"/>
                    <a:pt x="905" y="341"/>
                  </a:cubicBezTo>
                  <a:cubicBezTo>
                    <a:pt x="908" y="304"/>
                    <a:pt x="985" y="246"/>
                    <a:pt x="913" y="145"/>
                  </a:cubicBezTo>
                  <a:cubicBezTo>
                    <a:pt x="926" y="190"/>
                    <a:pt x="900" y="254"/>
                    <a:pt x="902" y="299"/>
                  </a:cubicBezTo>
                  <a:cubicBezTo>
                    <a:pt x="895" y="256"/>
                    <a:pt x="873" y="230"/>
                    <a:pt x="847" y="206"/>
                  </a:cubicBezTo>
                  <a:close/>
                  <a:moveTo>
                    <a:pt x="860" y="500"/>
                  </a:moveTo>
                  <a:cubicBezTo>
                    <a:pt x="879" y="421"/>
                    <a:pt x="850" y="399"/>
                    <a:pt x="847" y="357"/>
                  </a:cubicBezTo>
                  <a:cubicBezTo>
                    <a:pt x="818" y="434"/>
                    <a:pt x="855" y="463"/>
                    <a:pt x="834" y="542"/>
                  </a:cubicBezTo>
                  <a:cubicBezTo>
                    <a:pt x="860" y="508"/>
                    <a:pt x="961" y="489"/>
                    <a:pt x="963" y="362"/>
                  </a:cubicBezTo>
                  <a:cubicBezTo>
                    <a:pt x="948" y="407"/>
                    <a:pt x="895" y="434"/>
                    <a:pt x="860" y="500"/>
                  </a:cubicBezTo>
                  <a:close/>
                  <a:moveTo>
                    <a:pt x="881" y="442"/>
                  </a:moveTo>
                  <a:cubicBezTo>
                    <a:pt x="902" y="391"/>
                    <a:pt x="979" y="376"/>
                    <a:pt x="950" y="254"/>
                  </a:cubicBezTo>
                  <a:cubicBezTo>
                    <a:pt x="950" y="301"/>
                    <a:pt x="908" y="328"/>
                    <a:pt x="892" y="399"/>
                  </a:cubicBezTo>
                  <a:cubicBezTo>
                    <a:pt x="895" y="320"/>
                    <a:pt x="863" y="309"/>
                    <a:pt x="842" y="270"/>
                  </a:cubicBezTo>
                  <a:cubicBezTo>
                    <a:pt x="836" y="354"/>
                    <a:pt x="884" y="368"/>
                    <a:pt x="881" y="442"/>
                  </a:cubicBezTo>
                  <a:close/>
                  <a:moveTo>
                    <a:pt x="246" y="13"/>
                  </a:moveTo>
                  <a:cubicBezTo>
                    <a:pt x="188" y="26"/>
                    <a:pt x="137" y="76"/>
                    <a:pt x="124" y="140"/>
                  </a:cubicBezTo>
                  <a:cubicBezTo>
                    <a:pt x="145" y="119"/>
                    <a:pt x="177" y="106"/>
                    <a:pt x="193" y="84"/>
                  </a:cubicBezTo>
                  <a:cubicBezTo>
                    <a:pt x="211" y="63"/>
                    <a:pt x="217" y="34"/>
                    <a:pt x="246" y="13"/>
                  </a:cubicBezTo>
                  <a:close/>
                  <a:moveTo>
                    <a:pt x="895" y="246"/>
                  </a:moveTo>
                  <a:cubicBezTo>
                    <a:pt x="889" y="217"/>
                    <a:pt x="924" y="124"/>
                    <a:pt x="844" y="66"/>
                  </a:cubicBezTo>
                  <a:cubicBezTo>
                    <a:pt x="871" y="98"/>
                    <a:pt x="863" y="156"/>
                    <a:pt x="879" y="196"/>
                  </a:cubicBezTo>
                  <a:cubicBezTo>
                    <a:pt x="850" y="132"/>
                    <a:pt x="783" y="121"/>
                    <a:pt x="770" y="95"/>
                  </a:cubicBezTo>
                  <a:cubicBezTo>
                    <a:pt x="797" y="177"/>
                    <a:pt x="855" y="158"/>
                    <a:pt x="895" y="246"/>
                  </a:cubicBezTo>
                  <a:close/>
                  <a:moveTo>
                    <a:pt x="519" y="129"/>
                  </a:moveTo>
                  <a:lnTo>
                    <a:pt x="519" y="140"/>
                  </a:lnTo>
                  <a:cubicBezTo>
                    <a:pt x="534" y="143"/>
                    <a:pt x="548" y="145"/>
                    <a:pt x="564" y="153"/>
                  </a:cubicBezTo>
                  <a:cubicBezTo>
                    <a:pt x="564" y="148"/>
                    <a:pt x="566" y="145"/>
                    <a:pt x="566" y="143"/>
                  </a:cubicBezTo>
                  <a:cubicBezTo>
                    <a:pt x="550" y="137"/>
                    <a:pt x="534" y="132"/>
                    <a:pt x="519" y="129"/>
                  </a:cubicBezTo>
                  <a:close/>
                  <a:moveTo>
                    <a:pt x="553" y="39"/>
                  </a:moveTo>
                  <a:lnTo>
                    <a:pt x="556" y="37"/>
                  </a:lnTo>
                  <a:lnTo>
                    <a:pt x="550" y="34"/>
                  </a:lnTo>
                  <a:lnTo>
                    <a:pt x="534" y="34"/>
                  </a:lnTo>
                  <a:lnTo>
                    <a:pt x="529" y="37"/>
                  </a:lnTo>
                  <a:lnTo>
                    <a:pt x="519" y="37"/>
                  </a:lnTo>
                  <a:lnTo>
                    <a:pt x="519" y="39"/>
                  </a:lnTo>
                  <a:cubicBezTo>
                    <a:pt x="524" y="39"/>
                    <a:pt x="529" y="39"/>
                    <a:pt x="534" y="42"/>
                  </a:cubicBezTo>
                  <a:lnTo>
                    <a:pt x="542" y="42"/>
                  </a:lnTo>
                  <a:lnTo>
                    <a:pt x="553" y="39"/>
                  </a:lnTo>
                  <a:close/>
                  <a:moveTo>
                    <a:pt x="516" y="373"/>
                  </a:moveTo>
                  <a:lnTo>
                    <a:pt x="516" y="391"/>
                  </a:lnTo>
                  <a:cubicBezTo>
                    <a:pt x="519" y="389"/>
                    <a:pt x="524" y="386"/>
                    <a:pt x="524" y="381"/>
                  </a:cubicBezTo>
                  <a:cubicBezTo>
                    <a:pt x="524" y="378"/>
                    <a:pt x="521" y="376"/>
                    <a:pt x="516" y="373"/>
                  </a:cubicBezTo>
                  <a:close/>
                  <a:moveTo>
                    <a:pt x="336" y="180"/>
                  </a:moveTo>
                  <a:cubicBezTo>
                    <a:pt x="336" y="177"/>
                    <a:pt x="336" y="177"/>
                    <a:pt x="338" y="174"/>
                  </a:cubicBezTo>
                  <a:lnTo>
                    <a:pt x="333" y="174"/>
                  </a:lnTo>
                  <a:lnTo>
                    <a:pt x="336" y="180"/>
                  </a:lnTo>
                  <a:close/>
                  <a:moveTo>
                    <a:pt x="815" y="323"/>
                  </a:moveTo>
                  <a:cubicBezTo>
                    <a:pt x="815" y="156"/>
                    <a:pt x="685" y="18"/>
                    <a:pt x="521" y="2"/>
                  </a:cubicBezTo>
                  <a:lnTo>
                    <a:pt x="521" y="5"/>
                  </a:lnTo>
                  <a:cubicBezTo>
                    <a:pt x="521" y="8"/>
                    <a:pt x="521" y="10"/>
                    <a:pt x="519" y="13"/>
                  </a:cubicBezTo>
                  <a:cubicBezTo>
                    <a:pt x="593" y="21"/>
                    <a:pt x="659" y="53"/>
                    <a:pt x="709" y="100"/>
                  </a:cubicBezTo>
                  <a:lnTo>
                    <a:pt x="672" y="135"/>
                  </a:lnTo>
                  <a:lnTo>
                    <a:pt x="675" y="129"/>
                  </a:lnTo>
                  <a:lnTo>
                    <a:pt x="669" y="127"/>
                  </a:lnTo>
                  <a:lnTo>
                    <a:pt x="664" y="127"/>
                  </a:lnTo>
                  <a:lnTo>
                    <a:pt x="667" y="121"/>
                  </a:lnTo>
                  <a:lnTo>
                    <a:pt x="662" y="106"/>
                  </a:lnTo>
                  <a:lnTo>
                    <a:pt x="654" y="95"/>
                  </a:lnTo>
                  <a:lnTo>
                    <a:pt x="624" y="79"/>
                  </a:lnTo>
                  <a:lnTo>
                    <a:pt x="622" y="82"/>
                  </a:lnTo>
                  <a:lnTo>
                    <a:pt x="617" y="84"/>
                  </a:lnTo>
                  <a:cubicBezTo>
                    <a:pt x="627" y="98"/>
                    <a:pt x="632" y="113"/>
                    <a:pt x="632" y="132"/>
                  </a:cubicBezTo>
                  <a:lnTo>
                    <a:pt x="632" y="137"/>
                  </a:lnTo>
                  <a:lnTo>
                    <a:pt x="646" y="156"/>
                  </a:lnTo>
                  <a:lnTo>
                    <a:pt x="640" y="158"/>
                  </a:lnTo>
                  <a:lnTo>
                    <a:pt x="646" y="164"/>
                  </a:lnTo>
                  <a:lnTo>
                    <a:pt x="632" y="177"/>
                  </a:lnTo>
                  <a:lnTo>
                    <a:pt x="627" y="166"/>
                  </a:lnTo>
                  <a:cubicBezTo>
                    <a:pt x="624" y="172"/>
                    <a:pt x="622" y="180"/>
                    <a:pt x="617" y="185"/>
                  </a:cubicBezTo>
                  <a:lnTo>
                    <a:pt x="619" y="188"/>
                  </a:lnTo>
                  <a:lnTo>
                    <a:pt x="582" y="225"/>
                  </a:lnTo>
                  <a:cubicBezTo>
                    <a:pt x="579" y="222"/>
                    <a:pt x="577" y="219"/>
                    <a:pt x="574" y="219"/>
                  </a:cubicBezTo>
                  <a:cubicBezTo>
                    <a:pt x="571" y="222"/>
                    <a:pt x="566" y="222"/>
                    <a:pt x="564" y="225"/>
                  </a:cubicBezTo>
                  <a:lnTo>
                    <a:pt x="566" y="227"/>
                  </a:lnTo>
                  <a:lnTo>
                    <a:pt x="569" y="230"/>
                  </a:lnTo>
                  <a:lnTo>
                    <a:pt x="553" y="246"/>
                  </a:lnTo>
                  <a:lnTo>
                    <a:pt x="553" y="243"/>
                  </a:lnTo>
                  <a:lnTo>
                    <a:pt x="537" y="246"/>
                  </a:lnTo>
                  <a:lnTo>
                    <a:pt x="534" y="248"/>
                  </a:lnTo>
                  <a:lnTo>
                    <a:pt x="533" y="248"/>
                  </a:lnTo>
                  <a:lnTo>
                    <a:pt x="532" y="251"/>
                  </a:lnTo>
                  <a:lnTo>
                    <a:pt x="534" y="251"/>
                  </a:lnTo>
                  <a:lnTo>
                    <a:pt x="534" y="256"/>
                  </a:lnTo>
                  <a:lnTo>
                    <a:pt x="537" y="256"/>
                  </a:lnTo>
                  <a:lnTo>
                    <a:pt x="537" y="262"/>
                  </a:lnTo>
                  <a:lnTo>
                    <a:pt x="532" y="262"/>
                  </a:lnTo>
                  <a:lnTo>
                    <a:pt x="526" y="262"/>
                  </a:lnTo>
                  <a:lnTo>
                    <a:pt x="513" y="254"/>
                  </a:lnTo>
                  <a:lnTo>
                    <a:pt x="513" y="309"/>
                  </a:lnTo>
                  <a:cubicBezTo>
                    <a:pt x="545" y="320"/>
                    <a:pt x="579" y="336"/>
                    <a:pt x="579" y="378"/>
                  </a:cubicBezTo>
                  <a:cubicBezTo>
                    <a:pt x="579" y="397"/>
                    <a:pt x="571" y="410"/>
                    <a:pt x="556" y="421"/>
                  </a:cubicBezTo>
                  <a:cubicBezTo>
                    <a:pt x="542" y="429"/>
                    <a:pt x="526" y="434"/>
                    <a:pt x="511" y="439"/>
                  </a:cubicBezTo>
                  <a:lnTo>
                    <a:pt x="511" y="468"/>
                  </a:lnTo>
                  <a:cubicBezTo>
                    <a:pt x="534" y="479"/>
                    <a:pt x="564" y="497"/>
                    <a:pt x="561" y="545"/>
                  </a:cubicBezTo>
                  <a:cubicBezTo>
                    <a:pt x="561" y="556"/>
                    <a:pt x="556" y="561"/>
                    <a:pt x="553" y="561"/>
                  </a:cubicBezTo>
                  <a:cubicBezTo>
                    <a:pt x="540" y="564"/>
                    <a:pt x="526" y="566"/>
                    <a:pt x="511" y="566"/>
                  </a:cubicBezTo>
                  <a:lnTo>
                    <a:pt x="511" y="577"/>
                  </a:lnTo>
                  <a:cubicBezTo>
                    <a:pt x="574" y="572"/>
                    <a:pt x="630" y="545"/>
                    <a:pt x="675" y="505"/>
                  </a:cubicBezTo>
                  <a:lnTo>
                    <a:pt x="712" y="542"/>
                  </a:lnTo>
                  <a:cubicBezTo>
                    <a:pt x="656" y="595"/>
                    <a:pt x="577" y="630"/>
                    <a:pt x="492" y="630"/>
                  </a:cubicBezTo>
                  <a:cubicBezTo>
                    <a:pt x="407" y="630"/>
                    <a:pt x="331" y="598"/>
                    <a:pt x="275" y="542"/>
                  </a:cubicBezTo>
                  <a:lnTo>
                    <a:pt x="312" y="505"/>
                  </a:lnTo>
                  <a:cubicBezTo>
                    <a:pt x="354" y="545"/>
                    <a:pt x="410" y="572"/>
                    <a:pt x="474" y="577"/>
                  </a:cubicBezTo>
                  <a:lnTo>
                    <a:pt x="474" y="566"/>
                  </a:lnTo>
                  <a:cubicBezTo>
                    <a:pt x="415" y="561"/>
                    <a:pt x="362" y="537"/>
                    <a:pt x="320" y="500"/>
                  </a:cubicBezTo>
                  <a:lnTo>
                    <a:pt x="331" y="489"/>
                  </a:lnTo>
                  <a:lnTo>
                    <a:pt x="344" y="492"/>
                  </a:lnTo>
                  <a:lnTo>
                    <a:pt x="352" y="484"/>
                  </a:lnTo>
                  <a:lnTo>
                    <a:pt x="370" y="484"/>
                  </a:lnTo>
                  <a:lnTo>
                    <a:pt x="373" y="476"/>
                  </a:lnTo>
                  <a:lnTo>
                    <a:pt x="373" y="474"/>
                  </a:lnTo>
                  <a:cubicBezTo>
                    <a:pt x="402" y="495"/>
                    <a:pt x="434" y="508"/>
                    <a:pt x="471" y="513"/>
                  </a:cubicBezTo>
                  <a:lnTo>
                    <a:pt x="471" y="503"/>
                  </a:lnTo>
                  <a:cubicBezTo>
                    <a:pt x="431" y="497"/>
                    <a:pt x="394" y="482"/>
                    <a:pt x="365" y="455"/>
                  </a:cubicBezTo>
                  <a:lnTo>
                    <a:pt x="402" y="418"/>
                  </a:lnTo>
                  <a:cubicBezTo>
                    <a:pt x="410" y="426"/>
                    <a:pt x="421" y="434"/>
                    <a:pt x="434" y="439"/>
                  </a:cubicBezTo>
                  <a:cubicBezTo>
                    <a:pt x="434" y="437"/>
                    <a:pt x="436" y="431"/>
                    <a:pt x="436" y="429"/>
                  </a:cubicBezTo>
                  <a:cubicBezTo>
                    <a:pt x="426" y="423"/>
                    <a:pt x="418" y="418"/>
                    <a:pt x="410" y="410"/>
                  </a:cubicBezTo>
                  <a:lnTo>
                    <a:pt x="447" y="373"/>
                  </a:lnTo>
                  <a:cubicBezTo>
                    <a:pt x="452" y="378"/>
                    <a:pt x="460" y="381"/>
                    <a:pt x="468" y="384"/>
                  </a:cubicBezTo>
                  <a:lnTo>
                    <a:pt x="468" y="373"/>
                  </a:lnTo>
                  <a:cubicBezTo>
                    <a:pt x="463" y="370"/>
                    <a:pt x="460" y="368"/>
                    <a:pt x="455" y="365"/>
                  </a:cubicBezTo>
                  <a:lnTo>
                    <a:pt x="466" y="354"/>
                  </a:lnTo>
                  <a:cubicBezTo>
                    <a:pt x="463" y="354"/>
                    <a:pt x="458" y="352"/>
                    <a:pt x="455" y="352"/>
                  </a:cubicBezTo>
                  <a:lnTo>
                    <a:pt x="447" y="360"/>
                  </a:lnTo>
                  <a:cubicBezTo>
                    <a:pt x="444" y="354"/>
                    <a:pt x="439" y="352"/>
                    <a:pt x="439" y="346"/>
                  </a:cubicBezTo>
                  <a:cubicBezTo>
                    <a:pt x="434" y="344"/>
                    <a:pt x="426" y="341"/>
                    <a:pt x="421" y="336"/>
                  </a:cubicBezTo>
                  <a:cubicBezTo>
                    <a:pt x="397" y="320"/>
                    <a:pt x="386" y="299"/>
                    <a:pt x="386" y="272"/>
                  </a:cubicBezTo>
                  <a:cubicBezTo>
                    <a:pt x="386" y="251"/>
                    <a:pt x="391" y="235"/>
                    <a:pt x="402" y="225"/>
                  </a:cubicBezTo>
                  <a:lnTo>
                    <a:pt x="365" y="188"/>
                  </a:lnTo>
                  <a:cubicBezTo>
                    <a:pt x="391" y="161"/>
                    <a:pt x="429" y="145"/>
                    <a:pt x="466" y="137"/>
                  </a:cubicBezTo>
                  <a:lnTo>
                    <a:pt x="466" y="127"/>
                  </a:lnTo>
                  <a:cubicBezTo>
                    <a:pt x="423" y="132"/>
                    <a:pt x="386" y="151"/>
                    <a:pt x="357" y="180"/>
                  </a:cubicBezTo>
                  <a:lnTo>
                    <a:pt x="352" y="174"/>
                  </a:lnTo>
                  <a:cubicBezTo>
                    <a:pt x="349" y="177"/>
                    <a:pt x="349" y="180"/>
                    <a:pt x="346" y="185"/>
                  </a:cubicBezTo>
                  <a:lnTo>
                    <a:pt x="352" y="190"/>
                  </a:lnTo>
                  <a:cubicBezTo>
                    <a:pt x="320" y="225"/>
                    <a:pt x="299" y="270"/>
                    <a:pt x="299" y="320"/>
                  </a:cubicBezTo>
                  <a:lnTo>
                    <a:pt x="246" y="320"/>
                  </a:lnTo>
                  <a:cubicBezTo>
                    <a:pt x="246" y="254"/>
                    <a:pt x="272" y="196"/>
                    <a:pt x="315" y="151"/>
                  </a:cubicBezTo>
                  <a:lnTo>
                    <a:pt x="331" y="166"/>
                  </a:lnTo>
                  <a:lnTo>
                    <a:pt x="333" y="166"/>
                  </a:lnTo>
                  <a:cubicBezTo>
                    <a:pt x="336" y="166"/>
                    <a:pt x="338" y="166"/>
                    <a:pt x="344" y="164"/>
                  </a:cubicBezTo>
                  <a:lnTo>
                    <a:pt x="323" y="143"/>
                  </a:lnTo>
                  <a:cubicBezTo>
                    <a:pt x="333" y="132"/>
                    <a:pt x="346" y="121"/>
                    <a:pt x="360" y="113"/>
                  </a:cubicBezTo>
                  <a:cubicBezTo>
                    <a:pt x="360" y="111"/>
                    <a:pt x="362" y="106"/>
                    <a:pt x="362" y="106"/>
                  </a:cubicBezTo>
                  <a:cubicBezTo>
                    <a:pt x="362" y="106"/>
                    <a:pt x="368" y="100"/>
                    <a:pt x="370" y="95"/>
                  </a:cubicBezTo>
                  <a:cubicBezTo>
                    <a:pt x="349" y="106"/>
                    <a:pt x="331" y="119"/>
                    <a:pt x="315" y="135"/>
                  </a:cubicBezTo>
                  <a:lnTo>
                    <a:pt x="278" y="98"/>
                  </a:lnTo>
                  <a:cubicBezTo>
                    <a:pt x="328" y="50"/>
                    <a:pt x="394" y="18"/>
                    <a:pt x="466" y="10"/>
                  </a:cubicBezTo>
                  <a:lnTo>
                    <a:pt x="466" y="8"/>
                  </a:lnTo>
                  <a:cubicBezTo>
                    <a:pt x="466" y="5"/>
                    <a:pt x="466" y="2"/>
                    <a:pt x="463" y="0"/>
                  </a:cubicBezTo>
                  <a:cubicBezTo>
                    <a:pt x="299" y="15"/>
                    <a:pt x="169" y="153"/>
                    <a:pt x="169" y="320"/>
                  </a:cubicBezTo>
                  <a:cubicBezTo>
                    <a:pt x="164" y="500"/>
                    <a:pt x="309" y="646"/>
                    <a:pt x="489" y="646"/>
                  </a:cubicBezTo>
                  <a:cubicBezTo>
                    <a:pt x="669" y="646"/>
                    <a:pt x="815" y="500"/>
                    <a:pt x="815" y="323"/>
                  </a:cubicBezTo>
                  <a:close/>
                  <a:moveTo>
                    <a:pt x="564" y="230"/>
                  </a:moveTo>
                  <a:lnTo>
                    <a:pt x="558" y="233"/>
                  </a:lnTo>
                  <a:lnTo>
                    <a:pt x="556" y="238"/>
                  </a:lnTo>
                  <a:lnTo>
                    <a:pt x="556" y="235"/>
                  </a:lnTo>
                  <a:lnTo>
                    <a:pt x="558" y="233"/>
                  </a:lnTo>
                  <a:lnTo>
                    <a:pt x="558" y="230"/>
                  </a:lnTo>
                  <a:lnTo>
                    <a:pt x="564" y="227"/>
                  </a:lnTo>
                  <a:lnTo>
                    <a:pt x="566" y="227"/>
                  </a:lnTo>
                  <a:lnTo>
                    <a:pt x="564" y="230"/>
                  </a:lnTo>
                  <a:close/>
                  <a:moveTo>
                    <a:pt x="553" y="235"/>
                  </a:moveTo>
                  <a:lnTo>
                    <a:pt x="545" y="238"/>
                  </a:lnTo>
                  <a:lnTo>
                    <a:pt x="548" y="241"/>
                  </a:lnTo>
                  <a:lnTo>
                    <a:pt x="553" y="238"/>
                  </a:lnTo>
                  <a:lnTo>
                    <a:pt x="556" y="238"/>
                  </a:lnTo>
                  <a:lnTo>
                    <a:pt x="553" y="235"/>
                  </a:lnTo>
                  <a:close/>
                  <a:moveTo>
                    <a:pt x="532" y="248"/>
                  </a:moveTo>
                  <a:lnTo>
                    <a:pt x="535" y="246"/>
                  </a:lnTo>
                  <a:lnTo>
                    <a:pt x="533" y="248"/>
                  </a:lnTo>
                  <a:lnTo>
                    <a:pt x="532" y="248"/>
                  </a:lnTo>
                  <a:close/>
                  <a:moveTo>
                    <a:pt x="542" y="241"/>
                  </a:moveTo>
                  <a:lnTo>
                    <a:pt x="540" y="238"/>
                  </a:lnTo>
                  <a:lnTo>
                    <a:pt x="535" y="246"/>
                  </a:lnTo>
                  <a:lnTo>
                    <a:pt x="542" y="241"/>
                  </a:lnTo>
                  <a:close/>
                  <a:moveTo>
                    <a:pt x="720" y="108"/>
                  </a:moveTo>
                  <a:cubicBezTo>
                    <a:pt x="773" y="164"/>
                    <a:pt x="807" y="238"/>
                    <a:pt x="807" y="320"/>
                  </a:cubicBezTo>
                  <a:lnTo>
                    <a:pt x="754" y="320"/>
                  </a:lnTo>
                  <a:cubicBezTo>
                    <a:pt x="754" y="280"/>
                    <a:pt x="744" y="241"/>
                    <a:pt x="725" y="206"/>
                  </a:cubicBezTo>
                  <a:lnTo>
                    <a:pt x="728" y="209"/>
                  </a:lnTo>
                  <a:lnTo>
                    <a:pt x="728" y="206"/>
                  </a:lnTo>
                  <a:lnTo>
                    <a:pt x="717" y="190"/>
                  </a:lnTo>
                  <a:lnTo>
                    <a:pt x="707" y="174"/>
                  </a:lnTo>
                  <a:lnTo>
                    <a:pt x="693" y="164"/>
                  </a:lnTo>
                  <a:cubicBezTo>
                    <a:pt x="688" y="158"/>
                    <a:pt x="683" y="153"/>
                    <a:pt x="680" y="148"/>
                  </a:cubicBezTo>
                  <a:lnTo>
                    <a:pt x="720" y="108"/>
                  </a:lnTo>
                  <a:close/>
                  <a:moveTo>
                    <a:pt x="651" y="174"/>
                  </a:moveTo>
                  <a:lnTo>
                    <a:pt x="664" y="174"/>
                  </a:lnTo>
                  <a:lnTo>
                    <a:pt x="667" y="177"/>
                  </a:lnTo>
                  <a:lnTo>
                    <a:pt x="664" y="182"/>
                  </a:lnTo>
                  <a:lnTo>
                    <a:pt x="683" y="193"/>
                  </a:lnTo>
                  <a:lnTo>
                    <a:pt x="685" y="193"/>
                  </a:lnTo>
                  <a:lnTo>
                    <a:pt x="709" y="219"/>
                  </a:lnTo>
                  <a:lnTo>
                    <a:pt x="720" y="217"/>
                  </a:lnTo>
                  <a:cubicBezTo>
                    <a:pt x="733" y="248"/>
                    <a:pt x="744" y="283"/>
                    <a:pt x="744" y="317"/>
                  </a:cubicBezTo>
                  <a:lnTo>
                    <a:pt x="691" y="317"/>
                  </a:lnTo>
                  <a:cubicBezTo>
                    <a:pt x="691" y="304"/>
                    <a:pt x="688" y="291"/>
                    <a:pt x="685" y="278"/>
                  </a:cubicBezTo>
                  <a:lnTo>
                    <a:pt x="688" y="275"/>
                  </a:lnTo>
                  <a:lnTo>
                    <a:pt x="690" y="262"/>
                  </a:lnTo>
                  <a:lnTo>
                    <a:pt x="685" y="262"/>
                  </a:lnTo>
                  <a:cubicBezTo>
                    <a:pt x="685" y="262"/>
                    <a:pt x="680" y="251"/>
                    <a:pt x="677" y="248"/>
                  </a:cubicBezTo>
                  <a:lnTo>
                    <a:pt x="680" y="246"/>
                  </a:lnTo>
                  <a:lnTo>
                    <a:pt x="675" y="241"/>
                  </a:lnTo>
                  <a:lnTo>
                    <a:pt x="675" y="235"/>
                  </a:lnTo>
                  <a:lnTo>
                    <a:pt x="672" y="230"/>
                  </a:lnTo>
                  <a:lnTo>
                    <a:pt x="667" y="230"/>
                  </a:lnTo>
                  <a:cubicBezTo>
                    <a:pt x="664" y="227"/>
                    <a:pt x="664" y="225"/>
                    <a:pt x="662" y="222"/>
                  </a:cubicBezTo>
                  <a:lnTo>
                    <a:pt x="664" y="219"/>
                  </a:lnTo>
                  <a:lnTo>
                    <a:pt x="662" y="217"/>
                  </a:lnTo>
                  <a:lnTo>
                    <a:pt x="656" y="219"/>
                  </a:lnTo>
                  <a:lnTo>
                    <a:pt x="659" y="211"/>
                  </a:lnTo>
                  <a:lnTo>
                    <a:pt x="656" y="209"/>
                  </a:lnTo>
                  <a:lnTo>
                    <a:pt x="654" y="214"/>
                  </a:lnTo>
                  <a:cubicBezTo>
                    <a:pt x="648" y="206"/>
                    <a:pt x="640" y="198"/>
                    <a:pt x="635" y="190"/>
                  </a:cubicBezTo>
                  <a:lnTo>
                    <a:pt x="651" y="174"/>
                  </a:lnTo>
                  <a:close/>
                  <a:moveTo>
                    <a:pt x="690" y="260"/>
                  </a:moveTo>
                  <a:lnTo>
                    <a:pt x="691" y="262"/>
                  </a:lnTo>
                  <a:lnTo>
                    <a:pt x="690" y="262"/>
                  </a:lnTo>
                  <a:lnTo>
                    <a:pt x="690" y="260"/>
                  </a:lnTo>
                  <a:close/>
                  <a:moveTo>
                    <a:pt x="691" y="259"/>
                  </a:moveTo>
                  <a:lnTo>
                    <a:pt x="688" y="241"/>
                  </a:lnTo>
                  <a:lnTo>
                    <a:pt x="683" y="219"/>
                  </a:lnTo>
                  <a:lnTo>
                    <a:pt x="667" y="198"/>
                  </a:lnTo>
                  <a:lnTo>
                    <a:pt x="669" y="201"/>
                  </a:lnTo>
                  <a:lnTo>
                    <a:pt x="672" y="198"/>
                  </a:lnTo>
                  <a:lnTo>
                    <a:pt x="659" y="190"/>
                  </a:lnTo>
                  <a:lnTo>
                    <a:pt x="659" y="193"/>
                  </a:lnTo>
                  <a:lnTo>
                    <a:pt x="672" y="209"/>
                  </a:lnTo>
                  <a:lnTo>
                    <a:pt x="680" y="222"/>
                  </a:lnTo>
                  <a:lnTo>
                    <a:pt x="685" y="235"/>
                  </a:lnTo>
                  <a:lnTo>
                    <a:pt x="688" y="246"/>
                  </a:lnTo>
                  <a:lnTo>
                    <a:pt x="690" y="260"/>
                  </a:lnTo>
                  <a:lnTo>
                    <a:pt x="691" y="259"/>
                  </a:lnTo>
                  <a:close/>
                  <a:moveTo>
                    <a:pt x="640" y="299"/>
                  </a:moveTo>
                  <a:lnTo>
                    <a:pt x="651" y="294"/>
                  </a:lnTo>
                  <a:lnTo>
                    <a:pt x="662" y="291"/>
                  </a:lnTo>
                  <a:lnTo>
                    <a:pt x="664" y="286"/>
                  </a:lnTo>
                  <a:lnTo>
                    <a:pt x="669" y="283"/>
                  </a:lnTo>
                  <a:lnTo>
                    <a:pt x="672" y="278"/>
                  </a:lnTo>
                  <a:lnTo>
                    <a:pt x="675" y="270"/>
                  </a:lnTo>
                  <a:cubicBezTo>
                    <a:pt x="675" y="272"/>
                    <a:pt x="677" y="275"/>
                    <a:pt x="677" y="278"/>
                  </a:cubicBezTo>
                  <a:lnTo>
                    <a:pt x="672" y="294"/>
                  </a:lnTo>
                  <a:lnTo>
                    <a:pt x="672" y="299"/>
                  </a:lnTo>
                  <a:lnTo>
                    <a:pt x="680" y="288"/>
                  </a:lnTo>
                  <a:cubicBezTo>
                    <a:pt x="683" y="296"/>
                    <a:pt x="683" y="307"/>
                    <a:pt x="683" y="317"/>
                  </a:cubicBezTo>
                  <a:lnTo>
                    <a:pt x="635" y="317"/>
                  </a:lnTo>
                  <a:lnTo>
                    <a:pt x="635" y="312"/>
                  </a:lnTo>
                  <a:lnTo>
                    <a:pt x="640" y="307"/>
                  </a:lnTo>
                  <a:lnTo>
                    <a:pt x="640" y="304"/>
                  </a:lnTo>
                  <a:lnTo>
                    <a:pt x="643" y="301"/>
                  </a:lnTo>
                  <a:lnTo>
                    <a:pt x="648" y="301"/>
                  </a:lnTo>
                  <a:lnTo>
                    <a:pt x="648" y="299"/>
                  </a:lnTo>
                  <a:lnTo>
                    <a:pt x="640" y="299"/>
                  </a:lnTo>
                  <a:close/>
                  <a:moveTo>
                    <a:pt x="577" y="264"/>
                  </a:moveTo>
                  <a:lnTo>
                    <a:pt x="582" y="264"/>
                  </a:lnTo>
                  <a:lnTo>
                    <a:pt x="577" y="262"/>
                  </a:lnTo>
                  <a:lnTo>
                    <a:pt x="579" y="251"/>
                  </a:lnTo>
                  <a:lnTo>
                    <a:pt x="585" y="246"/>
                  </a:lnTo>
                  <a:cubicBezTo>
                    <a:pt x="587" y="251"/>
                    <a:pt x="593" y="254"/>
                    <a:pt x="595" y="259"/>
                  </a:cubicBezTo>
                  <a:lnTo>
                    <a:pt x="593" y="264"/>
                  </a:lnTo>
                  <a:lnTo>
                    <a:pt x="587" y="262"/>
                  </a:lnTo>
                  <a:lnTo>
                    <a:pt x="582" y="262"/>
                  </a:lnTo>
                  <a:lnTo>
                    <a:pt x="585" y="264"/>
                  </a:lnTo>
                  <a:lnTo>
                    <a:pt x="587" y="264"/>
                  </a:lnTo>
                  <a:lnTo>
                    <a:pt x="585" y="270"/>
                  </a:lnTo>
                  <a:lnTo>
                    <a:pt x="582" y="267"/>
                  </a:lnTo>
                  <a:lnTo>
                    <a:pt x="577" y="264"/>
                  </a:lnTo>
                  <a:close/>
                  <a:moveTo>
                    <a:pt x="595" y="439"/>
                  </a:moveTo>
                  <a:lnTo>
                    <a:pt x="585" y="437"/>
                  </a:lnTo>
                  <a:lnTo>
                    <a:pt x="582" y="437"/>
                  </a:lnTo>
                  <a:lnTo>
                    <a:pt x="577" y="431"/>
                  </a:lnTo>
                  <a:lnTo>
                    <a:pt x="571" y="429"/>
                  </a:lnTo>
                  <a:lnTo>
                    <a:pt x="579" y="421"/>
                  </a:lnTo>
                  <a:lnTo>
                    <a:pt x="590" y="429"/>
                  </a:lnTo>
                  <a:lnTo>
                    <a:pt x="598" y="431"/>
                  </a:lnTo>
                  <a:lnTo>
                    <a:pt x="595" y="439"/>
                  </a:lnTo>
                  <a:close/>
                  <a:moveTo>
                    <a:pt x="627" y="198"/>
                  </a:moveTo>
                  <a:lnTo>
                    <a:pt x="651" y="230"/>
                  </a:lnTo>
                  <a:lnTo>
                    <a:pt x="646" y="230"/>
                  </a:lnTo>
                  <a:lnTo>
                    <a:pt x="646" y="238"/>
                  </a:lnTo>
                  <a:lnTo>
                    <a:pt x="659" y="246"/>
                  </a:lnTo>
                  <a:lnTo>
                    <a:pt x="667" y="270"/>
                  </a:lnTo>
                  <a:lnTo>
                    <a:pt x="664" y="272"/>
                  </a:lnTo>
                  <a:lnTo>
                    <a:pt x="659" y="275"/>
                  </a:lnTo>
                  <a:lnTo>
                    <a:pt x="659" y="283"/>
                  </a:lnTo>
                  <a:lnTo>
                    <a:pt x="656" y="286"/>
                  </a:lnTo>
                  <a:lnTo>
                    <a:pt x="654" y="288"/>
                  </a:lnTo>
                  <a:lnTo>
                    <a:pt x="651" y="288"/>
                  </a:lnTo>
                  <a:lnTo>
                    <a:pt x="646" y="288"/>
                  </a:lnTo>
                  <a:lnTo>
                    <a:pt x="648" y="283"/>
                  </a:lnTo>
                  <a:lnTo>
                    <a:pt x="651" y="272"/>
                  </a:lnTo>
                  <a:lnTo>
                    <a:pt x="654" y="270"/>
                  </a:lnTo>
                  <a:lnTo>
                    <a:pt x="643" y="259"/>
                  </a:lnTo>
                  <a:lnTo>
                    <a:pt x="635" y="262"/>
                  </a:lnTo>
                  <a:lnTo>
                    <a:pt x="632" y="270"/>
                  </a:lnTo>
                  <a:lnTo>
                    <a:pt x="627" y="275"/>
                  </a:lnTo>
                  <a:lnTo>
                    <a:pt x="622" y="270"/>
                  </a:lnTo>
                  <a:lnTo>
                    <a:pt x="619" y="264"/>
                  </a:lnTo>
                  <a:lnTo>
                    <a:pt x="622" y="262"/>
                  </a:lnTo>
                  <a:lnTo>
                    <a:pt x="624" y="264"/>
                  </a:lnTo>
                  <a:lnTo>
                    <a:pt x="627" y="264"/>
                  </a:lnTo>
                  <a:lnTo>
                    <a:pt x="627" y="259"/>
                  </a:lnTo>
                  <a:lnTo>
                    <a:pt x="624" y="259"/>
                  </a:lnTo>
                  <a:lnTo>
                    <a:pt x="624" y="262"/>
                  </a:lnTo>
                  <a:lnTo>
                    <a:pt x="622" y="262"/>
                  </a:lnTo>
                  <a:lnTo>
                    <a:pt x="611" y="248"/>
                  </a:lnTo>
                  <a:lnTo>
                    <a:pt x="606" y="246"/>
                  </a:lnTo>
                  <a:lnTo>
                    <a:pt x="609" y="243"/>
                  </a:lnTo>
                  <a:lnTo>
                    <a:pt x="603" y="243"/>
                  </a:lnTo>
                  <a:lnTo>
                    <a:pt x="606" y="246"/>
                  </a:lnTo>
                  <a:lnTo>
                    <a:pt x="601" y="246"/>
                  </a:lnTo>
                  <a:cubicBezTo>
                    <a:pt x="598" y="246"/>
                    <a:pt x="595" y="241"/>
                    <a:pt x="590" y="235"/>
                  </a:cubicBezTo>
                  <a:lnTo>
                    <a:pt x="627" y="198"/>
                  </a:lnTo>
                  <a:close/>
                  <a:moveTo>
                    <a:pt x="609" y="434"/>
                  </a:moveTo>
                  <a:lnTo>
                    <a:pt x="603" y="429"/>
                  </a:lnTo>
                  <a:lnTo>
                    <a:pt x="606" y="423"/>
                  </a:lnTo>
                  <a:lnTo>
                    <a:pt x="611" y="413"/>
                  </a:lnTo>
                  <a:lnTo>
                    <a:pt x="609" y="410"/>
                  </a:lnTo>
                  <a:lnTo>
                    <a:pt x="611" y="402"/>
                  </a:lnTo>
                  <a:lnTo>
                    <a:pt x="611" y="394"/>
                  </a:lnTo>
                  <a:lnTo>
                    <a:pt x="609" y="386"/>
                  </a:lnTo>
                  <a:lnTo>
                    <a:pt x="603" y="384"/>
                  </a:lnTo>
                  <a:lnTo>
                    <a:pt x="601" y="386"/>
                  </a:lnTo>
                  <a:lnTo>
                    <a:pt x="598" y="386"/>
                  </a:lnTo>
                  <a:cubicBezTo>
                    <a:pt x="603" y="381"/>
                    <a:pt x="606" y="373"/>
                    <a:pt x="609" y="368"/>
                  </a:cubicBezTo>
                  <a:lnTo>
                    <a:pt x="614" y="365"/>
                  </a:lnTo>
                  <a:lnTo>
                    <a:pt x="617" y="362"/>
                  </a:lnTo>
                  <a:lnTo>
                    <a:pt x="617" y="365"/>
                  </a:lnTo>
                  <a:lnTo>
                    <a:pt x="619" y="362"/>
                  </a:lnTo>
                  <a:lnTo>
                    <a:pt x="617" y="360"/>
                  </a:lnTo>
                  <a:lnTo>
                    <a:pt x="619" y="360"/>
                  </a:lnTo>
                  <a:lnTo>
                    <a:pt x="624" y="362"/>
                  </a:lnTo>
                  <a:lnTo>
                    <a:pt x="632" y="362"/>
                  </a:lnTo>
                  <a:lnTo>
                    <a:pt x="638" y="360"/>
                  </a:lnTo>
                  <a:lnTo>
                    <a:pt x="651" y="357"/>
                  </a:lnTo>
                  <a:lnTo>
                    <a:pt x="648" y="352"/>
                  </a:lnTo>
                  <a:lnTo>
                    <a:pt x="648" y="346"/>
                  </a:lnTo>
                  <a:lnTo>
                    <a:pt x="656" y="349"/>
                  </a:lnTo>
                  <a:lnTo>
                    <a:pt x="659" y="346"/>
                  </a:lnTo>
                  <a:lnTo>
                    <a:pt x="659" y="341"/>
                  </a:lnTo>
                  <a:lnTo>
                    <a:pt x="651" y="344"/>
                  </a:lnTo>
                  <a:lnTo>
                    <a:pt x="640" y="341"/>
                  </a:lnTo>
                  <a:lnTo>
                    <a:pt x="632" y="325"/>
                  </a:lnTo>
                  <a:lnTo>
                    <a:pt x="675" y="325"/>
                  </a:lnTo>
                  <a:cubicBezTo>
                    <a:pt x="672" y="373"/>
                    <a:pt x="654" y="415"/>
                    <a:pt x="622" y="447"/>
                  </a:cubicBezTo>
                  <a:lnTo>
                    <a:pt x="617" y="442"/>
                  </a:lnTo>
                  <a:lnTo>
                    <a:pt x="619" y="434"/>
                  </a:lnTo>
                  <a:lnTo>
                    <a:pt x="614" y="418"/>
                  </a:lnTo>
                  <a:lnTo>
                    <a:pt x="609" y="434"/>
                  </a:lnTo>
                  <a:close/>
                  <a:moveTo>
                    <a:pt x="622" y="527"/>
                  </a:moveTo>
                  <a:lnTo>
                    <a:pt x="619" y="521"/>
                  </a:lnTo>
                  <a:lnTo>
                    <a:pt x="627" y="516"/>
                  </a:lnTo>
                  <a:lnTo>
                    <a:pt x="627" y="513"/>
                  </a:lnTo>
                  <a:lnTo>
                    <a:pt x="622" y="511"/>
                  </a:lnTo>
                  <a:lnTo>
                    <a:pt x="627" y="500"/>
                  </a:lnTo>
                  <a:lnTo>
                    <a:pt x="635" y="489"/>
                  </a:lnTo>
                  <a:lnTo>
                    <a:pt x="627" y="482"/>
                  </a:lnTo>
                  <a:lnTo>
                    <a:pt x="619" y="482"/>
                  </a:lnTo>
                  <a:lnTo>
                    <a:pt x="617" y="476"/>
                  </a:lnTo>
                  <a:cubicBezTo>
                    <a:pt x="619" y="474"/>
                    <a:pt x="622" y="471"/>
                    <a:pt x="627" y="468"/>
                  </a:cubicBezTo>
                  <a:lnTo>
                    <a:pt x="664" y="505"/>
                  </a:lnTo>
                  <a:cubicBezTo>
                    <a:pt x="651" y="516"/>
                    <a:pt x="635" y="529"/>
                    <a:pt x="617" y="537"/>
                  </a:cubicBezTo>
                  <a:lnTo>
                    <a:pt x="622" y="527"/>
                  </a:lnTo>
                  <a:close/>
                  <a:moveTo>
                    <a:pt x="664" y="489"/>
                  </a:moveTo>
                  <a:lnTo>
                    <a:pt x="669" y="484"/>
                  </a:lnTo>
                  <a:lnTo>
                    <a:pt x="667" y="463"/>
                  </a:lnTo>
                  <a:lnTo>
                    <a:pt x="664" y="463"/>
                  </a:lnTo>
                  <a:lnTo>
                    <a:pt x="667" y="460"/>
                  </a:lnTo>
                  <a:lnTo>
                    <a:pt x="659" y="458"/>
                  </a:lnTo>
                  <a:lnTo>
                    <a:pt x="656" y="466"/>
                  </a:lnTo>
                  <a:lnTo>
                    <a:pt x="656" y="476"/>
                  </a:lnTo>
                  <a:lnTo>
                    <a:pt x="654" y="479"/>
                  </a:lnTo>
                  <a:lnTo>
                    <a:pt x="638" y="463"/>
                  </a:lnTo>
                  <a:cubicBezTo>
                    <a:pt x="669" y="429"/>
                    <a:pt x="691" y="384"/>
                    <a:pt x="693" y="336"/>
                  </a:cubicBezTo>
                  <a:lnTo>
                    <a:pt x="746" y="336"/>
                  </a:lnTo>
                  <a:cubicBezTo>
                    <a:pt x="744" y="399"/>
                    <a:pt x="717" y="458"/>
                    <a:pt x="675" y="503"/>
                  </a:cubicBezTo>
                  <a:lnTo>
                    <a:pt x="664" y="489"/>
                  </a:lnTo>
                  <a:close/>
                  <a:moveTo>
                    <a:pt x="680" y="503"/>
                  </a:moveTo>
                  <a:cubicBezTo>
                    <a:pt x="725" y="458"/>
                    <a:pt x="752" y="397"/>
                    <a:pt x="754" y="331"/>
                  </a:cubicBezTo>
                  <a:lnTo>
                    <a:pt x="807" y="331"/>
                  </a:lnTo>
                  <a:cubicBezTo>
                    <a:pt x="805" y="413"/>
                    <a:pt x="773" y="487"/>
                    <a:pt x="717" y="542"/>
                  </a:cubicBezTo>
                  <a:lnTo>
                    <a:pt x="680" y="503"/>
                  </a:lnTo>
                  <a:close/>
                  <a:moveTo>
                    <a:pt x="357" y="452"/>
                  </a:moveTo>
                  <a:cubicBezTo>
                    <a:pt x="354" y="447"/>
                    <a:pt x="349" y="444"/>
                    <a:pt x="346" y="439"/>
                  </a:cubicBezTo>
                  <a:lnTo>
                    <a:pt x="349" y="426"/>
                  </a:lnTo>
                  <a:lnTo>
                    <a:pt x="344" y="413"/>
                  </a:lnTo>
                  <a:lnTo>
                    <a:pt x="344" y="391"/>
                  </a:lnTo>
                  <a:lnTo>
                    <a:pt x="338" y="378"/>
                  </a:lnTo>
                  <a:lnTo>
                    <a:pt x="341" y="370"/>
                  </a:lnTo>
                  <a:lnTo>
                    <a:pt x="333" y="357"/>
                  </a:lnTo>
                  <a:lnTo>
                    <a:pt x="325" y="354"/>
                  </a:lnTo>
                  <a:lnTo>
                    <a:pt x="328" y="346"/>
                  </a:lnTo>
                  <a:lnTo>
                    <a:pt x="325" y="341"/>
                  </a:lnTo>
                  <a:lnTo>
                    <a:pt x="328" y="333"/>
                  </a:lnTo>
                  <a:lnTo>
                    <a:pt x="336" y="333"/>
                  </a:lnTo>
                  <a:lnTo>
                    <a:pt x="338" y="328"/>
                  </a:lnTo>
                  <a:lnTo>
                    <a:pt x="352" y="328"/>
                  </a:lnTo>
                  <a:lnTo>
                    <a:pt x="354" y="331"/>
                  </a:lnTo>
                  <a:lnTo>
                    <a:pt x="352" y="344"/>
                  </a:lnTo>
                  <a:lnTo>
                    <a:pt x="349" y="346"/>
                  </a:lnTo>
                  <a:lnTo>
                    <a:pt x="354" y="357"/>
                  </a:lnTo>
                  <a:lnTo>
                    <a:pt x="352" y="360"/>
                  </a:lnTo>
                  <a:lnTo>
                    <a:pt x="349" y="357"/>
                  </a:lnTo>
                  <a:lnTo>
                    <a:pt x="352" y="362"/>
                  </a:lnTo>
                  <a:lnTo>
                    <a:pt x="354" y="370"/>
                  </a:lnTo>
                  <a:lnTo>
                    <a:pt x="357" y="370"/>
                  </a:lnTo>
                  <a:lnTo>
                    <a:pt x="357" y="365"/>
                  </a:lnTo>
                  <a:lnTo>
                    <a:pt x="354" y="362"/>
                  </a:lnTo>
                  <a:lnTo>
                    <a:pt x="354" y="357"/>
                  </a:lnTo>
                  <a:lnTo>
                    <a:pt x="354" y="349"/>
                  </a:lnTo>
                  <a:lnTo>
                    <a:pt x="357" y="333"/>
                  </a:lnTo>
                  <a:lnTo>
                    <a:pt x="354" y="328"/>
                  </a:lnTo>
                  <a:lnTo>
                    <a:pt x="362" y="328"/>
                  </a:lnTo>
                  <a:cubicBezTo>
                    <a:pt x="365" y="360"/>
                    <a:pt x="378" y="389"/>
                    <a:pt x="399" y="413"/>
                  </a:cubicBezTo>
                  <a:lnTo>
                    <a:pt x="357" y="452"/>
                  </a:lnTo>
                  <a:close/>
                  <a:moveTo>
                    <a:pt x="320" y="349"/>
                  </a:moveTo>
                  <a:lnTo>
                    <a:pt x="315" y="357"/>
                  </a:lnTo>
                  <a:lnTo>
                    <a:pt x="307" y="357"/>
                  </a:lnTo>
                  <a:cubicBezTo>
                    <a:pt x="304" y="349"/>
                    <a:pt x="304" y="341"/>
                    <a:pt x="304" y="331"/>
                  </a:cubicBezTo>
                  <a:lnTo>
                    <a:pt x="320" y="331"/>
                  </a:lnTo>
                  <a:lnTo>
                    <a:pt x="317" y="344"/>
                  </a:lnTo>
                  <a:lnTo>
                    <a:pt x="320" y="349"/>
                  </a:lnTo>
                  <a:close/>
                  <a:moveTo>
                    <a:pt x="338" y="312"/>
                  </a:moveTo>
                  <a:lnTo>
                    <a:pt x="338" y="301"/>
                  </a:lnTo>
                  <a:lnTo>
                    <a:pt x="344" y="299"/>
                  </a:lnTo>
                  <a:lnTo>
                    <a:pt x="354" y="301"/>
                  </a:lnTo>
                  <a:lnTo>
                    <a:pt x="357" y="304"/>
                  </a:lnTo>
                  <a:cubicBezTo>
                    <a:pt x="357" y="309"/>
                    <a:pt x="354" y="317"/>
                    <a:pt x="354" y="323"/>
                  </a:cubicBezTo>
                  <a:lnTo>
                    <a:pt x="341" y="323"/>
                  </a:lnTo>
                  <a:lnTo>
                    <a:pt x="338" y="312"/>
                  </a:lnTo>
                  <a:close/>
                  <a:moveTo>
                    <a:pt x="391" y="352"/>
                  </a:moveTo>
                  <a:lnTo>
                    <a:pt x="394" y="352"/>
                  </a:lnTo>
                  <a:lnTo>
                    <a:pt x="402" y="357"/>
                  </a:lnTo>
                  <a:lnTo>
                    <a:pt x="399" y="360"/>
                  </a:lnTo>
                  <a:lnTo>
                    <a:pt x="407" y="365"/>
                  </a:lnTo>
                  <a:lnTo>
                    <a:pt x="407" y="360"/>
                  </a:lnTo>
                  <a:lnTo>
                    <a:pt x="413" y="352"/>
                  </a:lnTo>
                  <a:lnTo>
                    <a:pt x="418" y="357"/>
                  </a:lnTo>
                  <a:lnTo>
                    <a:pt x="423" y="362"/>
                  </a:lnTo>
                  <a:lnTo>
                    <a:pt x="415" y="365"/>
                  </a:lnTo>
                  <a:lnTo>
                    <a:pt x="418" y="373"/>
                  </a:lnTo>
                  <a:lnTo>
                    <a:pt x="423" y="370"/>
                  </a:lnTo>
                  <a:lnTo>
                    <a:pt x="423" y="368"/>
                  </a:lnTo>
                  <a:lnTo>
                    <a:pt x="429" y="365"/>
                  </a:lnTo>
                  <a:lnTo>
                    <a:pt x="431" y="354"/>
                  </a:lnTo>
                  <a:cubicBezTo>
                    <a:pt x="434" y="362"/>
                    <a:pt x="439" y="368"/>
                    <a:pt x="444" y="373"/>
                  </a:cubicBezTo>
                  <a:lnTo>
                    <a:pt x="407" y="410"/>
                  </a:lnTo>
                  <a:cubicBezTo>
                    <a:pt x="389" y="391"/>
                    <a:pt x="378" y="368"/>
                    <a:pt x="373" y="339"/>
                  </a:cubicBezTo>
                  <a:lnTo>
                    <a:pt x="381" y="346"/>
                  </a:lnTo>
                  <a:lnTo>
                    <a:pt x="389" y="346"/>
                  </a:lnTo>
                  <a:lnTo>
                    <a:pt x="391" y="352"/>
                  </a:lnTo>
                  <a:close/>
                  <a:moveTo>
                    <a:pt x="391" y="233"/>
                  </a:moveTo>
                  <a:cubicBezTo>
                    <a:pt x="383" y="241"/>
                    <a:pt x="376" y="251"/>
                    <a:pt x="370" y="262"/>
                  </a:cubicBezTo>
                  <a:lnTo>
                    <a:pt x="368" y="262"/>
                  </a:lnTo>
                  <a:lnTo>
                    <a:pt x="362" y="264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62" y="270"/>
                  </a:lnTo>
                  <a:lnTo>
                    <a:pt x="368" y="267"/>
                  </a:lnTo>
                  <a:lnTo>
                    <a:pt x="368" y="270"/>
                  </a:lnTo>
                  <a:lnTo>
                    <a:pt x="362" y="272"/>
                  </a:lnTo>
                  <a:lnTo>
                    <a:pt x="360" y="272"/>
                  </a:lnTo>
                  <a:lnTo>
                    <a:pt x="352" y="278"/>
                  </a:lnTo>
                  <a:lnTo>
                    <a:pt x="344" y="278"/>
                  </a:lnTo>
                  <a:lnTo>
                    <a:pt x="333" y="299"/>
                  </a:lnTo>
                  <a:lnTo>
                    <a:pt x="336" y="304"/>
                  </a:lnTo>
                  <a:lnTo>
                    <a:pt x="331" y="312"/>
                  </a:lnTo>
                  <a:lnTo>
                    <a:pt x="331" y="320"/>
                  </a:lnTo>
                  <a:lnTo>
                    <a:pt x="307" y="320"/>
                  </a:lnTo>
                  <a:cubicBezTo>
                    <a:pt x="304" y="272"/>
                    <a:pt x="323" y="230"/>
                    <a:pt x="354" y="196"/>
                  </a:cubicBezTo>
                  <a:lnTo>
                    <a:pt x="391" y="233"/>
                  </a:lnTo>
                  <a:close/>
                  <a:moveTo>
                    <a:pt x="304" y="479"/>
                  </a:moveTo>
                  <a:lnTo>
                    <a:pt x="317" y="487"/>
                  </a:lnTo>
                  <a:lnTo>
                    <a:pt x="320" y="489"/>
                  </a:lnTo>
                  <a:lnTo>
                    <a:pt x="312" y="497"/>
                  </a:lnTo>
                  <a:cubicBezTo>
                    <a:pt x="307" y="492"/>
                    <a:pt x="304" y="489"/>
                    <a:pt x="301" y="484"/>
                  </a:cubicBezTo>
                  <a:lnTo>
                    <a:pt x="304" y="479"/>
                  </a:lnTo>
                  <a:close/>
                  <a:moveTo>
                    <a:pt x="293" y="346"/>
                  </a:moveTo>
                  <a:lnTo>
                    <a:pt x="288" y="349"/>
                  </a:lnTo>
                  <a:lnTo>
                    <a:pt x="286" y="354"/>
                  </a:lnTo>
                  <a:lnTo>
                    <a:pt x="272" y="370"/>
                  </a:lnTo>
                  <a:lnTo>
                    <a:pt x="272" y="394"/>
                  </a:lnTo>
                  <a:lnTo>
                    <a:pt x="259" y="399"/>
                  </a:lnTo>
                  <a:lnTo>
                    <a:pt x="251" y="399"/>
                  </a:lnTo>
                  <a:cubicBezTo>
                    <a:pt x="243" y="378"/>
                    <a:pt x="240" y="354"/>
                    <a:pt x="238" y="331"/>
                  </a:cubicBezTo>
                  <a:lnTo>
                    <a:pt x="293" y="331"/>
                  </a:lnTo>
                  <a:lnTo>
                    <a:pt x="293" y="346"/>
                  </a:lnTo>
                  <a:close/>
                  <a:moveTo>
                    <a:pt x="238" y="399"/>
                  </a:moveTo>
                  <a:lnTo>
                    <a:pt x="235" y="397"/>
                  </a:lnTo>
                  <a:lnTo>
                    <a:pt x="219" y="397"/>
                  </a:lnTo>
                  <a:lnTo>
                    <a:pt x="225" y="402"/>
                  </a:lnTo>
                  <a:lnTo>
                    <a:pt x="211" y="399"/>
                  </a:lnTo>
                  <a:lnTo>
                    <a:pt x="214" y="397"/>
                  </a:lnTo>
                  <a:lnTo>
                    <a:pt x="211" y="394"/>
                  </a:lnTo>
                  <a:lnTo>
                    <a:pt x="201" y="399"/>
                  </a:lnTo>
                  <a:lnTo>
                    <a:pt x="198" y="407"/>
                  </a:lnTo>
                  <a:lnTo>
                    <a:pt x="201" y="423"/>
                  </a:lnTo>
                  <a:lnTo>
                    <a:pt x="211" y="450"/>
                  </a:lnTo>
                  <a:lnTo>
                    <a:pt x="217" y="458"/>
                  </a:lnTo>
                  <a:lnTo>
                    <a:pt x="219" y="458"/>
                  </a:lnTo>
                  <a:lnTo>
                    <a:pt x="211" y="442"/>
                  </a:lnTo>
                  <a:lnTo>
                    <a:pt x="209" y="434"/>
                  </a:lnTo>
                  <a:lnTo>
                    <a:pt x="211" y="431"/>
                  </a:lnTo>
                  <a:lnTo>
                    <a:pt x="211" y="426"/>
                  </a:lnTo>
                  <a:lnTo>
                    <a:pt x="217" y="426"/>
                  </a:lnTo>
                  <a:lnTo>
                    <a:pt x="225" y="439"/>
                  </a:lnTo>
                  <a:lnTo>
                    <a:pt x="227" y="439"/>
                  </a:lnTo>
                  <a:lnTo>
                    <a:pt x="227" y="431"/>
                  </a:lnTo>
                  <a:lnTo>
                    <a:pt x="230" y="434"/>
                  </a:lnTo>
                  <a:lnTo>
                    <a:pt x="230" y="439"/>
                  </a:lnTo>
                  <a:lnTo>
                    <a:pt x="238" y="442"/>
                  </a:lnTo>
                  <a:lnTo>
                    <a:pt x="240" y="439"/>
                  </a:lnTo>
                  <a:lnTo>
                    <a:pt x="240" y="444"/>
                  </a:lnTo>
                  <a:lnTo>
                    <a:pt x="243" y="450"/>
                  </a:lnTo>
                  <a:lnTo>
                    <a:pt x="248" y="450"/>
                  </a:lnTo>
                  <a:lnTo>
                    <a:pt x="259" y="466"/>
                  </a:lnTo>
                  <a:lnTo>
                    <a:pt x="264" y="468"/>
                  </a:lnTo>
                  <a:lnTo>
                    <a:pt x="267" y="460"/>
                  </a:lnTo>
                  <a:cubicBezTo>
                    <a:pt x="278" y="476"/>
                    <a:pt x="291" y="492"/>
                    <a:pt x="304" y="508"/>
                  </a:cubicBezTo>
                  <a:lnTo>
                    <a:pt x="267" y="545"/>
                  </a:lnTo>
                  <a:cubicBezTo>
                    <a:pt x="211" y="489"/>
                    <a:pt x="180" y="415"/>
                    <a:pt x="177" y="333"/>
                  </a:cubicBezTo>
                  <a:lnTo>
                    <a:pt x="230" y="333"/>
                  </a:lnTo>
                  <a:cubicBezTo>
                    <a:pt x="230" y="354"/>
                    <a:pt x="233" y="378"/>
                    <a:pt x="240" y="399"/>
                  </a:cubicBezTo>
                  <a:lnTo>
                    <a:pt x="238" y="399"/>
                  </a:lnTo>
                  <a:close/>
                  <a:moveTo>
                    <a:pt x="299" y="143"/>
                  </a:moveTo>
                  <a:cubicBezTo>
                    <a:pt x="254" y="188"/>
                    <a:pt x="227" y="251"/>
                    <a:pt x="227" y="317"/>
                  </a:cubicBezTo>
                  <a:lnTo>
                    <a:pt x="174" y="317"/>
                  </a:lnTo>
                  <a:cubicBezTo>
                    <a:pt x="174" y="238"/>
                    <a:pt x="209" y="161"/>
                    <a:pt x="262" y="106"/>
                  </a:cubicBezTo>
                  <a:lnTo>
                    <a:pt x="299" y="143"/>
                  </a:lnTo>
                  <a:close/>
                  <a:moveTo>
                    <a:pt x="651" y="87"/>
                  </a:moveTo>
                  <a:lnTo>
                    <a:pt x="648" y="82"/>
                  </a:lnTo>
                  <a:lnTo>
                    <a:pt x="640" y="79"/>
                  </a:lnTo>
                  <a:lnTo>
                    <a:pt x="635" y="84"/>
                  </a:lnTo>
                  <a:lnTo>
                    <a:pt x="643" y="87"/>
                  </a:lnTo>
                  <a:lnTo>
                    <a:pt x="651" y="92"/>
                  </a:lnTo>
                  <a:lnTo>
                    <a:pt x="651" y="87"/>
                  </a:lnTo>
                  <a:close/>
                  <a:moveTo>
                    <a:pt x="619" y="238"/>
                  </a:moveTo>
                  <a:lnTo>
                    <a:pt x="619" y="243"/>
                  </a:lnTo>
                  <a:lnTo>
                    <a:pt x="630" y="241"/>
                  </a:lnTo>
                  <a:lnTo>
                    <a:pt x="632" y="235"/>
                  </a:lnTo>
                  <a:lnTo>
                    <a:pt x="627" y="227"/>
                  </a:lnTo>
                  <a:lnTo>
                    <a:pt x="630" y="222"/>
                  </a:lnTo>
                  <a:lnTo>
                    <a:pt x="638" y="227"/>
                  </a:lnTo>
                  <a:lnTo>
                    <a:pt x="635" y="225"/>
                  </a:lnTo>
                  <a:lnTo>
                    <a:pt x="638" y="222"/>
                  </a:lnTo>
                  <a:lnTo>
                    <a:pt x="635" y="217"/>
                  </a:lnTo>
                  <a:lnTo>
                    <a:pt x="627" y="222"/>
                  </a:lnTo>
                  <a:lnTo>
                    <a:pt x="624" y="227"/>
                  </a:lnTo>
                  <a:lnTo>
                    <a:pt x="622" y="233"/>
                  </a:lnTo>
                  <a:lnTo>
                    <a:pt x="624" y="238"/>
                  </a:lnTo>
                  <a:lnTo>
                    <a:pt x="624" y="241"/>
                  </a:lnTo>
                  <a:lnTo>
                    <a:pt x="619" y="238"/>
                  </a:lnTo>
                  <a:close/>
                  <a:moveTo>
                    <a:pt x="230" y="476"/>
                  </a:moveTo>
                  <a:lnTo>
                    <a:pt x="225" y="463"/>
                  </a:lnTo>
                  <a:lnTo>
                    <a:pt x="219" y="460"/>
                  </a:lnTo>
                  <a:lnTo>
                    <a:pt x="230" y="476"/>
                  </a:lnTo>
                  <a:close/>
                  <a:moveTo>
                    <a:pt x="466" y="296"/>
                  </a:moveTo>
                  <a:lnTo>
                    <a:pt x="466" y="294"/>
                  </a:lnTo>
                  <a:lnTo>
                    <a:pt x="460" y="288"/>
                  </a:lnTo>
                  <a:lnTo>
                    <a:pt x="463" y="283"/>
                  </a:lnTo>
                  <a:lnTo>
                    <a:pt x="466" y="283"/>
                  </a:lnTo>
                  <a:lnTo>
                    <a:pt x="466" y="259"/>
                  </a:lnTo>
                  <a:cubicBezTo>
                    <a:pt x="455" y="262"/>
                    <a:pt x="450" y="267"/>
                    <a:pt x="450" y="275"/>
                  </a:cubicBezTo>
                  <a:cubicBezTo>
                    <a:pt x="450" y="283"/>
                    <a:pt x="455" y="291"/>
                    <a:pt x="466" y="29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31">
              <a:extLst>
                <a:ext uri="{FF2B5EF4-FFF2-40B4-BE49-F238E27FC236}">
                  <a16:creationId xmlns:a16="http://schemas.microsoft.com/office/drawing/2014/main" id="{D221E438-7481-BE4F-B2A2-2A1F6D30F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75" y="2212975"/>
              <a:ext cx="15875" cy="23813"/>
            </a:xfrm>
            <a:custGeom>
              <a:avLst/>
              <a:gdLst>
                <a:gd name="T0" fmla="*/ 39 w 43"/>
                <a:gd name="T1" fmla="*/ 64 h 65"/>
                <a:gd name="T2" fmla="*/ 0 w 43"/>
                <a:gd name="T3" fmla="*/ 0 h 65"/>
                <a:gd name="T4" fmla="*/ 0 w 43"/>
                <a:gd name="T5" fmla="*/ 21 h 65"/>
                <a:gd name="T6" fmla="*/ 39 w 43"/>
                <a:gd name="T7" fmla="*/ 6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65">
                  <a:moveTo>
                    <a:pt x="39" y="64"/>
                  </a:moveTo>
                  <a:cubicBezTo>
                    <a:pt x="42" y="27"/>
                    <a:pt x="21" y="11"/>
                    <a:pt x="0" y="0"/>
                  </a:cubicBezTo>
                  <a:lnTo>
                    <a:pt x="0" y="21"/>
                  </a:lnTo>
                  <a:cubicBezTo>
                    <a:pt x="15" y="29"/>
                    <a:pt x="31" y="43"/>
                    <a:pt x="39" y="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id="{75B8F950-F32C-4D40-A995-339FB3389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4413" y="2055813"/>
              <a:ext cx="82550" cy="106362"/>
            </a:xfrm>
            <a:custGeom>
              <a:avLst/>
              <a:gdLst>
                <a:gd name="T0" fmla="*/ 143 w 229"/>
                <a:gd name="T1" fmla="*/ 3 h 297"/>
                <a:gd name="T2" fmla="*/ 125 w 229"/>
                <a:gd name="T3" fmla="*/ 0 h 297"/>
                <a:gd name="T4" fmla="*/ 125 w 229"/>
                <a:gd name="T5" fmla="*/ 16 h 297"/>
                <a:gd name="T6" fmla="*/ 125 w 229"/>
                <a:gd name="T7" fmla="*/ 34 h 297"/>
                <a:gd name="T8" fmla="*/ 135 w 229"/>
                <a:gd name="T9" fmla="*/ 37 h 297"/>
                <a:gd name="T10" fmla="*/ 183 w 229"/>
                <a:gd name="T11" fmla="*/ 85 h 297"/>
                <a:gd name="T12" fmla="*/ 122 w 229"/>
                <a:gd name="T13" fmla="*/ 138 h 297"/>
                <a:gd name="T14" fmla="*/ 111 w 229"/>
                <a:gd name="T15" fmla="*/ 140 h 297"/>
                <a:gd name="T16" fmla="*/ 80 w 229"/>
                <a:gd name="T17" fmla="*/ 148 h 297"/>
                <a:gd name="T18" fmla="*/ 69 w 229"/>
                <a:gd name="T19" fmla="*/ 151 h 297"/>
                <a:gd name="T20" fmla="*/ 0 w 229"/>
                <a:gd name="T21" fmla="*/ 225 h 297"/>
                <a:gd name="T22" fmla="*/ 72 w 229"/>
                <a:gd name="T23" fmla="*/ 296 h 297"/>
                <a:gd name="T24" fmla="*/ 72 w 229"/>
                <a:gd name="T25" fmla="*/ 257 h 297"/>
                <a:gd name="T26" fmla="*/ 45 w 229"/>
                <a:gd name="T27" fmla="*/ 225 h 297"/>
                <a:gd name="T28" fmla="*/ 72 w 229"/>
                <a:gd name="T29" fmla="*/ 193 h 297"/>
                <a:gd name="T30" fmla="*/ 82 w 229"/>
                <a:gd name="T31" fmla="*/ 188 h 297"/>
                <a:gd name="T32" fmla="*/ 111 w 229"/>
                <a:gd name="T33" fmla="*/ 180 h 297"/>
                <a:gd name="T34" fmla="*/ 122 w 229"/>
                <a:gd name="T35" fmla="*/ 177 h 297"/>
                <a:gd name="T36" fmla="*/ 228 w 229"/>
                <a:gd name="T37" fmla="*/ 85 h 297"/>
                <a:gd name="T38" fmla="*/ 143 w 229"/>
                <a:gd name="T39" fmla="*/ 3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9" h="297">
                  <a:moveTo>
                    <a:pt x="143" y="3"/>
                  </a:moveTo>
                  <a:cubicBezTo>
                    <a:pt x="138" y="3"/>
                    <a:pt x="132" y="0"/>
                    <a:pt x="125" y="0"/>
                  </a:cubicBezTo>
                  <a:lnTo>
                    <a:pt x="125" y="16"/>
                  </a:lnTo>
                  <a:lnTo>
                    <a:pt x="125" y="34"/>
                  </a:lnTo>
                  <a:cubicBezTo>
                    <a:pt x="130" y="34"/>
                    <a:pt x="135" y="34"/>
                    <a:pt x="135" y="37"/>
                  </a:cubicBezTo>
                  <a:cubicBezTo>
                    <a:pt x="170" y="45"/>
                    <a:pt x="183" y="66"/>
                    <a:pt x="183" y="85"/>
                  </a:cubicBezTo>
                  <a:cubicBezTo>
                    <a:pt x="183" y="116"/>
                    <a:pt x="156" y="127"/>
                    <a:pt x="122" y="138"/>
                  </a:cubicBezTo>
                  <a:cubicBezTo>
                    <a:pt x="119" y="138"/>
                    <a:pt x="114" y="140"/>
                    <a:pt x="111" y="140"/>
                  </a:cubicBezTo>
                  <a:lnTo>
                    <a:pt x="80" y="148"/>
                  </a:lnTo>
                  <a:cubicBezTo>
                    <a:pt x="77" y="148"/>
                    <a:pt x="72" y="151"/>
                    <a:pt x="69" y="151"/>
                  </a:cubicBezTo>
                  <a:cubicBezTo>
                    <a:pt x="32" y="161"/>
                    <a:pt x="0" y="180"/>
                    <a:pt x="0" y="225"/>
                  </a:cubicBezTo>
                  <a:cubicBezTo>
                    <a:pt x="0" y="270"/>
                    <a:pt x="37" y="286"/>
                    <a:pt x="72" y="296"/>
                  </a:cubicBezTo>
                  <a:lnTo>
                    <a:pt x="72" y="257"/>
                  </a:lnTo>
                  <a:cubicBezTo>
                    <a:pt x="56" y="249"/>
                    <a:pt x="45" y="241"/>
                    <a:pt x="45" y="225"/>
                  </a:cubicBezTo>
                  <a:cubicBezTo>
                    <a:pt x="45" y="209"/>
                    <a:pt x="56" y="198"/>
                    <a:pt x="72" y="193"/>
                  </a:cubicBezTo>
                  <a:cubicBezTo>
                    <a:pt x="74" y="191"/>
                    <a:pt x="80" y="191"/>
                    <a:pt x="82" y="188"/>
                  </a:cubicBezTo>
                  <a:cubicBezTo>
                    <a:pt x="90" y="185"/>
                    <a:pt x="101" y="183"/>
                    <a:pt x="111" y="180"/>
                  </a:cubicBezTo>
                  <a:cubicBezTo>
                    <a:pt x="114" y="180"/>
                    <a:pt x="119" y="177"/>
                    <a:pt x="122" y="177"/>
                  </a:cubicBezTo>
                  <a:cubicBezTo>
                    <a:pt x="172" y="167"/>
                    <a:pt x="228" y="151"/>
                    <a:pt x="228" y="85"/>
                  </a:cubicBezTo>
                  <a:cubicBezTo>
                    <a:pt x="228" y="50"/>
                    <a:pt x="204" y="16"/>
                    <a:pt x="143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C4EE42AF-9CCA-374F-93FC-B9634C0D0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75" y="2155825"/>
              <a:ext cx="46038" cy="57150"/>
            </a:xfrm>
            <a:custGeom>
              <a:avLst/>
              <a:gdLst>
                <a:gd name="T0" fmla="*/ 26 w 128"/>
                <a:gd name="T1" fmla="*/ 159 h 160"/>
                <a:gd name="T2" fmla="*/ 26 w 128"/>
                <a:gd name="T3" fmla="*/ 127 h 160"/>
                <a:gd name="T4" fmla="*/ 37 w 128"/>
                <a:gd name="T5" fmla="*/ 116 h 160"/>
                <a:gd name="T6" fmla="*/ 58 w 128"/>
                <a:gd name="T7" fmla="*/ 109 h 160"/>
                <a:gd name="T8" fmla="*/ 69 w 128"/>
                <a:gd name="T9" fmla="*/ 106 h 160"/>
                <a:gd name="T10" fmla="*/ 127 w 128"/>
                <a:gd name="T11" fmla="*/ 56 h 160"/>
                <a:gd name="T12" fmla="*/ 71 w 128"/>
                <a:gd name="T13" fmla="*/ 0 h 160"/>
                <a:gd name="T14" fmla="*/ 71 w 128"/>
                <a:gd name="T15" fmla="*/ 37 h 160"/>
                <a:gd name="T16" fmla="*/ 92 w 128"/>
                <a:gd name="T17" fmla="*/ 58 h 160"/>
                <a:gd name="T18" fmla="*/ 71 w 128"/>
                <a:gd name="T19" fmla="*/ 79 h 160"/>
                <a:gd name="T20" fmla="*/ 61 w 128"/>
                <a:gd name="T21" fmla="*/ 82 h 160"/>
                <a:gd name="T22" fmla="*/ 39 w 128"/>
                <a:gd name="T23" fmla="*/ 90 h 160"/>
                <a:gd name="T24" fmla="*/ 29 w 128"/>
                <a:gd name="T25" fmla="*/ 95 h 160"/>
                <a:gd name="T26" fmla="*/ 0 w 128"/>
                <a:gd name="T27" fmla="*/ 124 h 160"/>
                <a:gd name="T28" fmla="*/ 26 w 128"/>
                <a:gd name="T29" fmla="*/ 15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60">
                  <a:moveTo>
                    <a:pt x="26" y="159"/>
                  </a:moveTo>
                  <a:lnTo>
                    <a:pt x="26" y="127"/>
                  </a:lnTo>
                  <a:cubicBezTo>
                    <a:pt x="26" y="122"/>
                    <a:pt x="32" y="118"/>
                    <a:pt x="37" y="116"/>
                  </a:cubicBezTo>
                  <a:cubicBezTo>
                    <a:pt x="42" y="113"/>
                    <a:pt x="50" y="111"/>
                    <a:pt x="58" y="109"/>
                  </a:cubicBezTo>
                  <a:cubicBezTo>
                    <a:pt x="63" y="106"/>
                    <a:pt x="66" y="106"/>
                    <a:pt x="69" y="106"/>
                  </a:cubicBezTo>
                  <a:cubicBezTo>
                    <a:pt x="95" y="98"/>
                    <a:pt x="127" y="87"/>
                    <a:pt x="127" y="56"/>
                  </a:cubicBezTo>
                  <a:cubicBezTo>
                    <a:pt x="127" y="24"/>
                    <a:pt x="100" y="11"/>
                    <a:pt x="71" y="0"/>
                  </a:cubicBezTo>
                  <a:lnTo>
                    <a:pt x="71" y="37"/>
                  </a:lnTo>
                  <a:cubicBezTo>
                    <a:pt x="84" y="42"/>
                    <a:pt x="92" y="47"/>
                    <a:pt x="92" y="58"/>
                  </a:cubicBezTo>
                  <a:cubicBezTo>
                    <a:pt x="92" y="68"/>
                    <a:pt x="79" y="77"/>
                    <a:pt x="71" y="79"/>
                  </a:cubicBezTo>
                  <a:cubicBezTo>
                    <a:pt x="69" y="82"/>
                    <a:pt x="61" y="82"/>
                    <a:pt x="61" y="82"/>
                  </a:cubicBezTo>
                  <a:cubicBezTo>
                    <a:pt x="53" y="85"/>
                    <a:pt x="45" y="87"/>
                    <a:pt x="39" y="90"/>
                  </a:cubicBezTo>
                  <a:cubicBezTo>
                    <a:pt x="37" y="93"/>
                    <a:pt x="32" y="93"/>
                    <a:pt x="29" y="95"/>
                  </a:cubicBezTo>
                  <a:cubicBezTo>
                    <a:pt x="13" y="98"/>
                    <a:pt x="0" y="105"/>
                    <a:pt x="0" y="124"/>
                  </a:cubicBezTo>
                  <a:cubicBezTo>
                    <a:pt x="0" y="142"/>
                    <a:pt x="13" y="154"/>
                    <a:pt x="26" y="15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B5C8C593-C0AB-3940-97A0-24DAC9F39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188" y="2057400"/>
              <a:ext cx="47625" cy="47625"/>
            </a:xfrm>
            <a:custGeom>
              <a:avLst/>
              <a:gdLst>
                <a:gd name="T0" fmla="*/ 98 w 133"/>
                <a:gd name="T1" fmla="*/ 13 h 131"/>
                <a:gd name="T2" fmla="*/ 52 w 133"/>
                <a:gd name="T3" fmla="*/ 37 h 131"/>
                <a:gd name="T4" fmla="*/ 37 w 133"/>
                <a:gd name="T5" fmla="*/ 58 h 131"/>
                <a:gd name="T6" fmla="*/ 29 w 133"/>
                <a:gd name="T7" fmla="*/ 85 h 131"/>
                <a:gd name="T8" fmla="*/ 23 w 133"/>
                <a:gd name="T9" fmla="*/ 98 h 131"/>
                <a:gd name="T10" fmla="*/ 18 w 133"/>
                <a:gd name="T11" fmla="*/ 109 h 131"/>
                <a:gd name="T12" fmla="*/ 0 w 133"/>
                <a:gd name="T13" fmla="*/ 117 h 131"/>
                <a:gd name="T14" fmla="*/ 15 w 133"/>
                <a:gd name="T15" fmla="*/ 114 h 131"/>
                <a:gd name="T16" fmla="*/ 10 w 133"/>
                <a:gd name="T17" fmla="*/ 130 h 131"/>
                <a:gd name="T18" fmla="*/ 29 w 133"/>
                <a:gd name="T19" fmla="*/ 101 h 131"/>
                <a:gd name="T20" fmla="*/ 55 w 133"/>
                <a:gd name="T21" fmla="*/ 93 h 131"/>
                <a:gd name="T22" fmla="*/ 103 w 133"/>
                <a:gd name="T23" fmla="*/ 58 h 131"/>
                <a:gd name="T24" fmla="*/ 132 w 133"/>
                <a:gd name="T25" fmla="*/ 37 h 131"/>
                <a:gd name="T26" fmla="*/ 129 w 133"/>
                <a:gd name="T27" fmla="*/ 0 h 131"/>
                <a:gd name="T28" fmla="*/ 98 w 133"/>
                <a:gd name="T29" fmla="*/ 13 h 131"/>
                <a:gd name="T30" fmla="*/ 58 w 133"/>
                <a:gd name="T31" fmla="*/ 64 h 131"/>
                <a:gd name="T32" fmla="*/ 50 w 133"/>
                <a:gd name="T33" fmla="*/ 66 h 131"/>
                <a:gd name="T34" fmla="*/ 63 w 133"/>
                <a:gd name="T35" fmla="*/ 48 h 131"/>
                <a:gd name="T36" fmla="*/ 74 w 133"/>
                <a:gd name="T37" fmla="*/ 48 h 131"/>
                <a:gd name="T38" fmla="*/ 58 w 133"/>
                <a:gd name="T39" fmla="*/ 6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3" h="131">
                  <a:moveTo>
                    <a:pt x="98" y="13"/>
                  </a:moveTo>
                  <a:cubicBezTo>
                    <a:pt x="87" y="16"/>
                    <a:pt x="68" y="19"/>
                    <a:pt x="52" y="37"/>
                  </a:cubicBezTo>
                  <a:cubicBezTo>
                    <a:pt x="50" y="40"/>
                    <a:pt x="42" y="51"/>
                    <a:pt x="37" y="58"/>
                  </a:cubicBezTo>
                  <a:cubicBezTo>
                    <a:pt x="31" y="66"/>
                    <a:pt x="31" y="77"/>
                    <a:pt x="29" y="85"/>
                  </a:cubicBezTo>
                  <a:cubicBezTo>
                    <a:pt x="23" y="93"/>
                    <a:pt x="23" y="98"/>
                    <a:pt x="23" y="98"/>
                  </a:cubicBezTo>
                  <a:cubicBezTo>
                    <a:pt x="23" y="98"/>
                    <a:pt x="23" y="103"/>
                    <a:pt x="18" y="109"/>
                  </a:cubicBezTo>
                  <a:cubicBezTo>
                    <a:pt x="13" y="113"/>
                    <a:pt x="7" y="118"/>
                    <a:pt x="0" y="117"/>
                  </a:cubicBezTo>
                  <a:cubicBezTo>
                    <a:pt x="7" y="118"/>
                    <a:pt x="15" y="114"/>
                    <a:pt x="15" y="114"/>
                  </a:cubicBezTo>
                  <a:cubicBezTo>
                    <a:pt x="15" y="114"/>
                    <a:pt x="13" y="119"/>
                    <a:pt x="10" y="130"/>
                  </a:cubicBezTo>
                  <a:cubicBezTo>
                    <a:pt x="18" y="111"/>
                    <a:pt x="26" y="103"/>
                    <a:pt x="29" y="101"/>
                  </a:cubicBezTo>
                  <a:cubicBezTo>
                    <a:pt x="31" y="101"/>
                    <a:pt x="39" y="101"/>
                    <a:pt x="55" y="93"/>
                  </a:cubicBezTo>
                  <a:cubicBezTo>
                    <a:pt x="71" y="82"/>
                    <a:pt x="95" y="68"/>
                    <a:pt x="103" y="58"/>
                  </a:cubicBezTo>
                  <a:cubicBezTo>
                    <a:pt x="111" y="47"/>
                    <a:pt x="121" y="43"/>
                    <a:pt x="132" y="37"/>
                  </a:cubicBezTo>
                  <a:cubicBezTo>
                    <a:pt x="129" y="24"/>
                    <a:pt x="129" y="11"/>
                    <a:pt x="129" y="0"/>
                  </a:cubicBezTo>
                  <a:cubicBezTo>
                    <a:pt x="111" y="5"/>
                    <a:pt x="100" y="11"/>
                    <a:pt x="98" y="13"/>
                  </a:cubicBezTo>
                  <a:close/>
                  <a:moveTo>
                    <a:pt x="58" y="64"/>
                  </a:moveTo>
                  <a:lnTo>
                    <a:pt x="50" y="66"/>
                  </a:lnTo>
                  <a:lnTo>
                    <a:pt x="63" y="48"/>
                  </a:lnTo>
                  <a:lnTo>
                    <a:pt x="74" y="48"/>
                  </a:lnTo>
                  <a:lnTo>
                    <a:pt x="58" y="6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F359559E-39CE-F34C-861B-B8DBA4A404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163" y="2198688"/>
              <a:ext cx="7937" cy="66675"/>
            </a:xfrm>
            <a:custGeom>
              <a:avLst/>
              <a:gdLst>
                <a:gd name="T0" fmla="*/ 6 w 23"/>
                <a:gd name="T1" fmla="*/ 8 h 184"/>
                <a:gd name="T2" fmla="*/ 0 w 23"/>
                <a:gd name="T3" fmla="*/ 11 h 184"/>
                <a:gd name="T4" fmla="*/ 3 w 23"/>
                <a:gd name="T5" fmla="*/ 154 h 184"/>
                <a:gd name="T6" fmla="*/ 19 w 23"/>
                <a:gd name="T7" fmla="*/ 154 h 184"/>
                <a:gd name="T8" fmla="*/ 22 w 23"/>
                <a:gd name="T9" fmla="*/ 0 h 184"/>
                <a:gd name="T10" fmla="*/ 14 w 23"/>
                <a:gd name="T11" fmla="*/ 6 h 184"/>
                <a:gd name="T12" fmla="*/ 6 w 23"/>
                <a:gd name="T13" fmla="*/ 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84">
                  <a:moveTo>
                    <a:pt x="6" y="8"/>
                  </a:moveTo>
                  <a:cubicBezTo>
                    <a:pt x="4" y="8"/>
                    <a:pt x="0" y="11"/>
                    <a:pt x="0" y="11"/>
                  </a:cubicBezTo>
                  <a:cubicBezTo>
                    <a:pt x="0" y="11"/>
                    <a:pt x="3" y="151"/>
                    <a:pt x="3" y="154"/>
                  </a:cubicBezTo>
                  <a:cubicBezTo>
                    <a:pt x="3" y="183"/>
                    <a:pt x="19" y="183"/>
                    <a:pt x="19" y="154"/>
                  </a:cubicBezTo>
                  <a:cubicBezTo>
                    <a:pt x="19" y="151"/>
                    <a:pt x="22" y="0"/>
                    <a:pt x="22" y="0"/>
                  </a:cubicBezTo>
                  <a:cubicBezTo>
                    <a:pt x="22" y="0"/>
                    <a:pt x="16" y="6"/>
                    <a:pt x="14" y="6"/>
                  </a:cubicBezTo>
                  <a:cubicBezTo>
                    <a:pt x="11" y="6"/>
                    <a:pt x="9" y="8"/>
                    <a:pt x="6" y="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6DA71BD5-88D5-A34E-8A40-9F1FACE7FC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2125663"/>
              <a:ext cx="11112" cy="58737"/>
            </a:xfrm>
            <a:custGeom>
              <a:avLst/>
              <a:gdLst>
                <a:gd name="T0" fmla="*/ 18 w 30"/>
                <a:gd name="T1" fmla="*/ 156 h 162"/>
                <a:gd name="T2" fmla="*/ 26 w 30"/>
                <a:gd name="T3" fmla="*/ 153 h 162"/>
                <a:gd name="T4" fmla="*/ 29 w 30"/>
                <a:gd name="T5" fmla="*/ 0 h 162"/>
                <a:gd name="T6" fmla="*/ 0 w 30"/>
                <a:gd name="T7" fmla="*/ 7 h 162"/>
                <a:gd name="T8" fmla="*/ 5 w 30"/>
                <a:gd name="T9" fmla="*/ 161 h 162"/>
                <a:gd name="T10" fmla="*/ 18 w 30"/>
                <a:gd name="T11" fmla="*/ 15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62">
                  <a:moveTo>
                    <a:pt x="18" y="156"/>
                  </a:moveTo>
                  <a:cubicBezTo>
                    <a:pt x="21" y="156"/>
                    <a:pt x="23" y="153"/>
                    <a:pt x="26" y="153"/>
                  </a:cubicBezTo>
                  <a:cubicBezTo>
                    <a:pt x="26" y="145"/>
                    <a:pt x="29" y="21"/>
                    <a:pt x="29" y="0"/>
                  </a:cubicBezTo>
                  <a:cubicBezTo>
                    <a:pt x="18" y="2"/>
                    <a:pt x="7" y="5"/>
                    <a:pt x="0" y="7"/>
                  </a:cubicBezTo>
                  <a:cubicBezTo>
                    <a:pt x="2" y="26"/>
                    <a:pt x="5" y="148"/>
                    <a:pt x="5" y="161"/>
                  </a:cubicBezTo>
                  <a:cubicBezTo>
                    <a:pt x="10" y="158"/>
                    <a:pt x="13" y="158"/>
                    <a:pt x="18" y="15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C14907B5-6A91-8D48-8177-4B2A15161A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5050" y="2014538"/>
              <a:ext cx="30163" cy="90487"/>
            </a:xfrm>
            <a:custGeom>
              <a:avLst/>
              <a:gdLst>
                <a:gd name="T0" fmla="*/ 21 w 85"/>
                <a:gd name="T1" fmla="*/ 82 h 253"/>
                <a:gd name="T2" fmla="*/ 26 w 85"/>
                <a:gd name="T3" fmla="*/ 252 h 253"/>
                <a:gd name="T4" fmla="*/ 45 w 85"/>
                <a:gd name="T5" fmla="*/ 247 h 253"/>
                <a:gd name="T6" fmla="*/ 58 w 85"/>
                <a:gd name="T7" fmla="*/ 244 h 253"/>
                <a:gd name="T8" fmla="*/ 61 w 85"/>
                <a:gd name="T9" fmla="*/ 82 h 253"/>
                <a:gd name="T10" fmla="*/ 42 w 85"/>
                <a:gd name="T11" fmla="*/ 0 h 253"/>
                <a:gd name="T12" fmla="*/ 21 w 85"/>
                <a:gd name="T13" fmla="*/ 8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53">
                  <a:moveTo>
                    <a:pt x="21" y="82"/>
                  </a:moveTo>
                  <a:cubicBezTo>
                    <a:pt x="21" y="82"/>
                    <a:pt x="24" y="220"/>
                    <a:pt x="26" y="252"/>
                  </a:cubicBezTo>
                  <a:cubicBezTo>
                    <a:pt x="31" y="249"/>
                    <a:pt x="39" y="249"/>
                    <a:pt x="45" y="247"/>
                  </a:cubicBezTo>
                  <a:cubicBezTo>
                    <a:pt x="50" y="247"/>
                    <a:pt x="53" y="244"/>
                    <a:pt x="58" y="244"/>
                  </a:cubicBezTo>
                  <a:cubicBezTo>
                    <a:pt x="58" y="215"/>
                    <a:pt x="61" y="82"/>
                    <a:pt x="61" y="82"/>
                  </a:cubicBezTo>
                  <a:cubicBezTo>
                    <a:pt x="63" y="61"/>
                    <a:pt x="84" y="0"/>
                    <a:pt x="42" y="0"/>
                  </a:cubicBezTo>
                  <a:cubicBezTo>
                    <a:pt x="0" y="0"/>
                    <a:pt x="18" y="61"/>
                    <a:pt x="21" y="8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C926CDD9-F108-B244-A49E-4E9442356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9363" y="2070100"/>
              <a:ext cx="93662" cy="85725"/>
            </a:xfrm>
            <a:custGeom>
              <a:avLst/>
              <a:gdLst>
                <a:gd name="T0" fmla="*/ 130 w 261"/>
                <a:gd name="T1" fmla="*/ 42 h 237"/>
                <a:gd name="T2" fmla="*/ 130 w 261"/>
                <a:gd name="T3" fmla="*/ 42 h 237"/>
                <a:gd name="T4" fmla="*/ 96 w 261"/>
                <a:gd name="T5" fmla="*/ 236 h 237"/>
                <a:gd name="T6" fmla="*/ 45 w 261"/>
                <a:gd name="T7" fmla="*/ 236 h 237"/>
                <a:gd name="T8" fmla="*/ 0 w 261"/>
                <a:gd name="T9" fmla="*/ 0 h 237"/>
                <a:gd name="T10" fmla="*/ 40 w 261"/>
                <a:gd name="T11" fmla="*/ 0 h 237"/>
                <a:gd name="T12" fmla="*/ 72 w 261"/>
                <a:gd name="T13" fmla="*/ 180 h 237"/>
                <a:gd name="T14" fmla="*/ 72 w 261"/>
                <a:gd name="T15" fmla="*/ 180 h 237"/>
                <a:gd name="T16" fmla="*/ 106 w 261"/>
                <a:gd name="T17" fmla="*/ 0 h 237"/>
                <a:gd name="T18" fmla="*/ 157 w 261"/>
                <a:gd name="T19" fmla="*/ 0 h 237"/>
                <a:gd name="T20" fmla="*/ 188 w 261"/>
                <a:gd name="T21" fmla="*/ 180 h 237"/>
                <a:gd name="T22" fmla="*/ 188 w 261"/>
                <a:gd name="T23" fmla="*/ 180 h 237"/>
                <a:gd name="T24" fmla="*/ 223 w 261"/>
                <a:gd name="T25" fmla="*/ 0 h 237"/>
                <a:gd name="T26" fmla="*/ 260 w 261"/>
                <a:gd name="T27" fmla="*/ 0 h 237"/>
                <a:gd name="T28" fmla="*/ 212 w 261"/>
                <a:gd name="T29" fmla="*/ 236 h 237"/>
                <a:gd name="T30" fmla="*/ 165 w 261"/>
                <a:gd name="T31" fmla="*/ 236 h 237"/>
                <a:gd name="T32" fmla="*/ 130 w 261"/>
                <a:gd name="T33" fmla="*/ 4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1" h="237">
                  <a:moveTo>
                    <a:pt x="130" y="42"/>
                  </a:moveTo>
                  <a:lnTo>
                    <a:pt x="130" y="42"/>
                  </a:lnTo>
                  <a:lnTo>
                    <a:pt x="96" y="236"/>
                  </a:lnTo>
                  <a:lnTo>
                    <a:pt x="45" y="236"/>
                  </a:lnTo>
                  <a:lnTo>
                    <a:pt x="0" y="0"/>
                  </a:lnTo>
                  <a:lnTo>
                    <a:pt x="40" y="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106" y="0"/>
                  </a:lnTo>
                  <a:lnTo>
                    <a:pt x="157" y="0"/>
                  </a:lnTo>
                  <a:lnTo>
                    <a:pt x="188" y="180"/>
                  </a:lnTo>
                  <a:lnTo>
                    <a:pt x="188" y="180"/>
                  </a:lnTo>
                  <a:lnTo>
                    <a:pt x="223" y="0"/>
                  </a:lnTo>
                  <a:lnTo>
                    <a:pt x="260" y="0"/>
                  </a:lnTo>
                  <a:lnTo>
                    <a:pt x="212" y="236"/>
                  </a:lnTo>
                  <a:lnTo>
                    <a:pt x="165" y="236"/>
                  </a:lnTo>
                  <a:lnTo>
                    <a:pt x="130" y="4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6AA4F7AE-EBD9-CD41-A038-D1F981FB9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438" y="2092325"/>
              <a:ext cx="53975" cy="65088"/>
            </a:xfrm>
            <a:custGeom>
              <a:avLst/>
              <a:gdLst>
                <a:gd name="T0" fmla="*/ 148 w 149"/>
                <a:gd name="T1" fmla="*/ 90 h 181"/>
                <a:gd name="T2" fmla="*/ 74 w 149"/>
                <a:gd name="T3" fmla="*/ 180 h 181"/>
                <a:gd name="T4" fmla="*/ 0 w 149"/>
                <a:gd name="T5" fmla="*/ 90 h 181"/>
                <a:gd name="T6" fmla="*/ 74 w 149"/>
                <a:gd name="T7" fmla="*/ 0 h 181"/>
                <a:gd name="T8" fmla="*/ 148 w 149"/>
                <a:gd name="T9" fmla="*/ 90 h 181"/>
                <a:gd name="T10" fmla="*/ 106 w 149"/>
                <a:gd name="T11" fmla="*/ 87 h 181"/>
                <a:gd name="T12" fmla="*/ 74 w 149"/>
                <a:gd name="T13" fmla="*/ 29 h 181"/>
                <a:gd name="T14" fmla="*/ 42 w 149"/>
                <a:gd name="T15" fmla="*/ 87 h 181"/>
                <a:gd name="T16" fmla="*/ 74 w 149"/>
                <a:gd name="T17" fmla="*/ 148 h 181"/>
                <a:gd name="T18" fmla="*/ 106 w 149"/>
                <a:gd name="T19" fmla="*/ 8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81">
                  <a:moveTo>
                    <a:pt x="148" y="90"/>
                  </a:moveTo>
                  <a:cubicBezTo>
                    <a:pt x="148" y="161"/>
                    <a:pt x="109" y="180"/>
                    <a:pt x="74" y="180"/>
                  </a:cubicBezTo>
                  <a:cubicBezTo>
                    <a:pt x="40" y="180"/>
                    <a:pt x="0" y="164"/>
                    <a:pt x="0" y="90"/>
                  </a:cubicBezTo>
                  <a:cubicBezTo>
                    <a:pt x="0" y="16"/>
                    <a:pt x="40" y="0"/>
                    <a:pt x="74" y="0"/>
                  </a:cubicBezTo>
                  <a:cubicBezTo>
                    <a:pt x="109" y="0"/>
                    <a:pt x="148" y="18"/>
                    <a:pt x="148" y="90"/>
                  </a:cubicBezTo>
                  <a:close/>
                  <a:moveTo>
                    <a:pt x="106" y="87"/>
                  </a:moveTo>
                  <a:cubicBezTo>
                    <a:pt x="106" y="58"/>
                    <a:pt x="101" y="29"/>
                    <a:pt x="74" y="29"/>
                  </a:cubicBezTo>
                  <a:cubicBezTo>
                    <a:pt x="48" y="29"/>
                    <a:pt x="42" y="58"/>
                    <a:pt x="42" y="87"/>
                  </a:cubicBezTo>
                  <a:cubicBezTo>
                    <a:pt x="42" y="116"/>
                    <a:pt x="48" y="148"/>
                    <a:pt x="74" y="148"/>
                  </a:cubicBezTo>
                  <a:cubicBezTo>
                    <a:pt x="101" y="148"/>
                    <a:pt x="106" y="116"/>
                    <a:pt x="106" y="8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DD958501-DD1D-614E-9F56-0C6890188A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3350" y="2090738"/>
              <a:ext cx="31750" cy="63500"/>
            </a:xfrm>
            <a:custGeom>
              <a:avLst/>
              <a:gdLst>
                <a:gd name="T0" fmla="*/ 0 w 88"/>
                <a:gd name="T1" fmla="*/ 32 h 176"/>
                <a:gd name="T2" fmla="*/ 0 w 88"/>
                <a:gd name="T3" fmla="*/ 3 h 176"/>
                <a:gd name="T4" fmla="*/ 37 w 88"/>
                <a:gd name="T5" fmla="*/ 3 h 176"/>
                <a:gd name="T6" fmla="*/ 37 w 88"/>
                <a:gd name="T7" fmla="*/ 35 h 176"/>
                <a:gd name="T8" fmla="*/ 37 w 88"/>
                <a:gd name="T9" fmla="*/ 35 h 176"/>
                <a:gd name="T10" fmla="*/ 79 w 88"/>
                <a:gd name="T11" fmla="*/ 0 h 176"/>
                <a:gd name="T12" fmla="*/ 87 w 88"/>
                <a:gd name="T13" fmla="*/ 0 h 176"/>
                <a:gd name="T14" fmla="*/ 87 w 88"/>
                <a:gd name="T15" fmla="*/ 40 h 176"/>
                <a:gd name="T16" fmla="*/ 77 w 88"/>
                <a:gd name="T17" fmla="*/ 37 h 176"/>
                <a:gd name="T18" fmla="*/ 42 w 88"/>
                <a:gd name="T19" fmla="*/ 80 h 176"/>
                <a:gd name="T20" fmla="*/ 42 w 88"/>
                <a:gd name="T21" fmla="*/ 175 h 176"/>
                <a:gd name="T22" fmla="*/ 2 w 88"/>
                <a:gd name="T23" fmla="*/ 175 h 176"/>
                <a:gd name="T24" fmla="*/ 0 w 88"/>
                <a:gd name="T25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3"/>
                    <a:pt x="37" y="24"/>
                    <a:pt x="37" y="35"/>
                  </a:cubicBezTo>
                  <a:lnTo>
                    <a:pt x="37" y="35"/>
                  </a:lnTo>
                  <a:cubicBezTo>
                    <a:pt x="42" y="21"/>
                    <a:pt x="55" y="0"/>
                    <a:pt x="79" y="0"/>
                  </a:cubicBezTo>
                  <a:cubicBezTo>
                    <a:pt x="82" y="0"/>
                    <a:pt x="85" y="0"/>
                    <a:pt x="87" y="0"/>
                  </a:cubicBezTo>
                  <a:lnTo>
                    <a:pt x="87" y="40"/>
                  </a:lnTo>
                  <a:cubicBezTo>
                    <a:pt x="85" y="40"/>
                    <a:pt x="79" y="37"/>
                    <a:pt x="77" y="37"/>
                  </a:cubicBezTo>
                  <a:cubicBezTo>
                    <a:pt x="61" y="37"/>
                    <a:pt x="42" y="48"/>
                    <a:pt x="42" y="80"/>
                  </a:cubicBezTo>
                  <a:lnTo>
                    <a:pt x="42" y="175"/>
                  </a:lnTo>
                  <a:lnTo>
                    <a:pt x="2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96EA8492-63F5-0844-97F4-D5435CEF4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3038" y="2063750"/>
              <a:ext cx="14287" cy="90488"/>
            </a:xfrm>
            <a:custGeom>
              <a:avLst/>
              <a:gdLst>
                <a:gd name="T0" fmla="*/ 20 w 41"/>
                <a:gd name="T1" fmla="*/ 252 h 253"/>
                <a:gd name="T2" fmla="*/ 0 w 41"/>
                <a:gd name="T3" fmla="*/ 252 h 253"/>
                <a:gd name="T4" fmla="*/ 0 w 41"/>
                <a:gd name="T5" fmla="*/ 0 h 253"/>
                <a:gd name="T6" fmla="*/ 40 w 41"/>
                <a:gd name="T7" fmla="*/ 0 h 253"/>
                <a:gd name="T8" fmla="*/ 40 w 41"/>
                <a:gd name="T9" fmla="*/ 252 h 253"/>
                <a:gd name="T10" fmla="*/ 20 w 41"/>
                <a:gd name="T11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53">
                  <a:moveTo>
                    <a:pt x="20" y="252"/>
                  </a:moveTo>
                  <a:lnTo>
                    <a:pt x="0" y="252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252"/>
                  </a:lnTo>
                  <a:lnTo>
                    <a:pt x="20" y="25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61A36D75-3E3A-744C-8A4F-129DF8FFF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2063750"/>
              <a:ext cx="50800" cy="92075"/>
            </a:xfrm>
            <a:custGeom>
              <a:avLst/>
              <a:gdLst>
                <a:gd name="T0" fmla="*/ 141 w 142"/>
                <a:gd name="T1" fmla="*/ 0 h 255"/>
                <a:gd name="T2" fmla="*/ 141 w 142"/>
                <a:gd name="T3" fmla="*/ 223 h 255"/>
                <a:gd name="T4" fmla="*/ 141 w 142"/>
                <a:gd name="T5" fmla="*/ 252 h 255"/>
                <a:gd name="T6" fmla="*/ 103 w 142"/>
                <a:gd name="T7" fmla="*/ 252 h 255"/>
                <a:gd name="T8" fmla="*/ 103 w 142"/>
                <a:gd name="T9" fmla="*/ 225 h 255"/>
                <a:gd name="T10" fmla="*/ 58 w 142"/>
                <a:gd name="T11" fmla="*/ 254 h 255"/>
                <a:gd name="T12" fmla="*/ 0 w 142"/>
                <a:gd name="T13" fmla="*/ 167 h 255"/>
                <a:gd name="T14" fmla="*/ 58 w 142"/>
                <a:gd name="T15" fmla="*/ 77 h 255"/>
                <a:gd name="T16" fmla="*/ 101 w 142"/>
                <a:gd name="T17" fmla="*/ 103 h 255"/>
                <a:gd name="T18" fmla="*/ 101 w 142"/>
                <a:gd name="T19" fmla="*/ 0 h 255"/>
                <a:gd name="T20" fmla="*/ 141 w 142"/>
                <a:gd name="T21" fmla="*/ 0 h 255"/>
                <a:gd name="T22" fmla="*/ 101 w 142"/>
                <a:gd name="T23" fmla="*/ 164 h 255"/>
                <a:gd name="T24" fmla="*/ 69 w 142"/>
                <a:gd name="T25" fmla="*/ 106 h 255"/>
                <a:gd name="T26" fmla="*/ 40 w 142"/>
                <a:gd name="T27" fmla="*/ 164 h 255"/>
                <a:gd name="T28" fmla="*/ 69 w 142"/>
                <a:gd name="T29" fmla="*/ 223 h 255"/>
                <a:gd name="T30" fmla="*/ 101 w 142"/>
                <a:gd name="T31" fmla="*/ 16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2" h="255">
                  <a:moveTo>
                    <a:pt x="141" y="0"/>
                  </a:moveTo>
                  <a:lnTo>
                    <a:pt x="141" y="223"/>
                  </a:lnTo>
                  <a:lnTo>
                    <a:pt x="141" y="252"/>
                  </a:lnTo>
                  <a:lnTo>
                    <a:pt x="103" y="252"/>
                  </a:lnTo>
                  <a:lnTo>
                    <a:pt x="103" y="225"/>
                  </a:lnTo>
                  <a:cubicBezTo>
                    <a:pt x="98" y="241"/>
                    <a:pt x="85" y="254"/>
                    <a:pt x="58" y="254"/>
                  </a:cubicBezTo>
                  <a:cubicBezTo>
                    <a:pt x="16" y="254"/>
                    <a:pt x="0" y="215"/>
                    <a:pt x="0" y="167"/>
                  </a:cubicBezTo>
                  <a:cubicBezTo>
                    <a:pt x="0" y="111"/>
                    <a:pt x="21" y="77"/>
                    <a:pt x="58" y="77"/>
                  </a:cubicBezTo>
                  <a:cubicBezTo>
                    <a:pt x="82" y="77"/>
                    <a:pt x="96" y="90"/>
                    <a:pt x="101" y="103"/>
                  </a:cubicBezTo>
                  <a:lnTo>
                    <a:pt x="101" y="0"/>
                  </a:lnTo>
                  <a:lnTo>
                    <a:pt x="141" y="0"/>
                  </a:lnTo>
                  <a:close/>
                  <a:moveTo>
                    <a:pt x="101" y="164"/>
                  </a:moveTo>
                  <a:cubicBezTo>
                    <a:pt x="101" y="130"/>
                    <a:pt x="93" y="106"/>
                    <a:pt x="69" y="106"/>
                  </a:cubicBezTo>
                  <a:cubicBezTo>
                    <a:pt x="48" y="106"/>
                    <a:pt x="40" y="127"/>
                    <a:pt x="40" y="164"/>
                  </a:cubicBezTo>
                  <a:cubicBezTo>
                    <a:pt x="40" y="204"/>
                    <a:pt x="45" y="223"/>
                    <a:pt x="69" y="223"/>
                  </a:cubicBezTo>
                  <a:cubicBezTo>
                    <a:pt x="93" y="223"/>
                    <a:pt x="101" y="196"/>
                    <a:pt x="101" y="16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43C92A9C-662C-D54E-9012-BA9309FDD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275" y="2070100"/>
              <a:ext cx="53975" cy="85725"/>
            </a:xfrm>
            <a:custGeom>
              <a:avLst/>
              <a:gdLst>
                <a:gd name="T0" fmla="*/ 0 w 149"/>
                <a:gd name="T1" fmla="*/ 0 h 237"/>
                <a:gd name="T2" fmla="*/ 40 w 149"/>
                <a:gd name="T3" fmla="*/ 0 h 237"/>
                <a:gd name="T4" fmla="*/ 40 w 149"/>
                <a:gd name="T5" fmla="*/ 95 h 237"/>
                <a:gd name="T6" fmla="*/ 109 w 149"/>
                <a:gd name="T7" fmla="*/ 95 h 237"/>
                <a:gd name="T8" fmla="*/ 109 w 149"/>
                <a:gd name="T9" fmla="*/ 0 h 237"/>
                <a:gd name="T10" fmla="*/ 148 w 149"/>
                <a:gd name="T11" fmla="*/ 0 h 237"/>
                <a:gd name="T12" fmla="*/ 148 w 149"/>
                <a:gd name="T13" fmla="*/ 236 h 237"/>
                <a:gd name="T14" fmla="*/ 109 w 149"/>
                <a:gd name="T15" fmla="*/ 236 h 237"/>
                <a:gd name="T16" fmla="*/ 109 w 149"/>
                <a:gd name="T17" fmla="*/ 132 h 237"/>
                <a:gd name="T18" fmla="*/ 40 w 149"/>
                <a:gd name="T19" fmla="*/ 132 h 237"/>
                <a:gd name="T20" fmla="*/ 40 w 149"/>
                <a:gd name="T21" fmla="*/ 236 h 237"/>
                <a:gd name="T22" fmla="*/ 0 w 149"/>
                <a:gd name="T23" fmla="*/ 236 h 237"/>
                <a:gd name="T24" fmla="*/ 0 w 149"/>
                <a:gd name="T2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" h="237">
                  <a:moveTo>
                    <a:pt x="0" y="0"/>
                  </a:moveTo>
                  <a:lnTo>
                    <a:pt x="40" y="0"/>
                  </a:lnTo>
                  <a:lnTo>
                    <a:pt x="40" y="95"/>
                  </a:lnTo>
                  <a:lnTo>
                    <a:pt x="109" y="95"/>
                  </a:lnTo>
                  <a:lnTo>
                    <a:pt x="109" y="0"/>
                  </a:lnTo>
                  <a:lnTo>
                    <a:pt x="148" y="0"/>
                  </a:lnTo>
                  <a:lnTo>
                    <a:pt x="148" y="236"/>
                  </a:lnTo>
                  <a:lnTo>
                    <a:pt x="109" y="236"/>
                  </a:lnTo>
                  <a:lnTo>
                    <a:pt x="109" y="132"/>
                  </a:lnTo>
                  <a:lnTo>
                    <a:pt x="40" y="132"/>
                  </a:lnTo>
                  <a:lnTo>
                    <a:pt x="40" y="236"/>
                  </a:lnTo>
                  <a:lnTo>
                    <a:pt x="0" y="236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5EB6685D-EDC8-7C4F-A514-68C87906D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7188" y="2090738"/>
              <a:ext cx="49212" cy="65087"/>
            </a:xfrm>
            <a:custGeom>
              <a:avLst/>
              <a:gdLst>
                <a:gd name="T0" fmla="*/ 127 w 136"/>
                <a:gd name="T1" fmla="*/ 170 h 181"/>
                <a:gd name="T2" fmla="*/ 77 w 136"/>
                <a:gd name="T3" fmla="*/ 180 h 181"/>
                <a:gd name="T4" fmla="*/ 0 w 136"/>
                <a:gd name="T5" fmla="*/ 93 h 181"/>
                <a:gd name="T6" fmla="*/ 69 w 136"/>
                <a:gd name="T7" fmla="*/ 0 h 181"/>
                <a:gd name="T8" fmla="*/ 135 w 136"/>
                <a:gd name="T9" fmla="*/ 93 h 181"/>
                <a:gd name="T10" fmla="*/ 135 w 136"/>
                <a:gd name="T11" fmla="*/ 101 h 181"/>
                <a:gd name="T12" fmla="*/ 39 w 136"/>
                <a:gd name="T13" fmla="*/ 101 h 181"/>
                <a:gd name="T14" fmla="*/ 82 w 136"/>
                <a:gd name="T15" fmla="*/ 149 h 181"/>
                <a:gd name="T16" fmla="*/ 124 w 136"/>
                <a:gd name="T17" fmla="*/ 135 h 181"/>
                <a:gd name="T18" fmla="*/ 127 w 136"/>
                <a:gd name="T19" fmla="*/ 170 h 181"/>
                <a:gd name="T20" fmla="*/ 98 w 136"/>
                <a:gd name="T21" fmla="*/ 74 h 181"/>
                <a:gd name="T22" fmla="*/ 71 w 136"/>
                <a:gd name="T23" fmla="*/ 29 h 181"/>
                <a:gd name="T24" fmla="*/ 42 w 136"/>
                <a:gd name="T25" fmla="*/ 74 h 181"/>
                <a:gd name="T26" fmla="*/ 98 w 136"/>
                <a:gd name="T27" fmla="*/ 7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181">
                  <a:moveTo>
                    <a:pt x="127" y="170"/>
                  </a:moveTo>
                  <a:cubicBezTo>
                    <a:pt x="119" y="172"/>
                    <a:pt x="100" y="180"/>
                    <a:pt x="77" y="180"/>
                  </a:cubicBezTo>
                  <a:cubicBezTo>
                    <a:pt x="24" y="180"/>
                    <a:pt x="0" y="141"/>
                    <a:pt x="0" y="93"/>
                  </a:cubicBezTo>
                  <a:cubicBezTo>
                    <a:pt x="0" y="43"/>
                    <a:pt x="26" y="0"/>
                    <a:pt x="69" y="0"/>
                  </a:cubicBezTo>
                  <a:cubicBezTo>
                    <a:pt x="106" y="0"/>
                    <a:pt x="135" y="21"/>
                    <a:pt x="135" y="93"/>
                  </a:cubicBezTo>
                  <a:lnTo>
                    <a:pt x="135" y="101"/>
                  </a:lnTo>
                  <a:lnTo>
                    <a:pt x="39" y="101"/>
                  </a:lnTo>
                  <a:cubicBezTo>
                    <a:pt x="39" y="130"/>
                    <a:pt x="50" y="149"/>
                    <a:pt x="82" y="149"/>
                  </a:cubicBezTo>
                  <a:cubicBezTo>
                    <a:pt x="106" y="149"/>
                    <a:pt x="119" y="141"/>
                    <a:pt x="124" y="135"/>
                  </a:cubicBezTo>
                  <a:lnTo>
                    <a:pt x="127" y="170"/>
                  </a:lnTo>
                  <a:close/>
                  <a:moveTo>
                    <a:pt x="98" y="74"/>
                  </a:moveTo>
                  <a:cubicBezTo>
                    <a:pt x="98" y="43"/>
                    <a:pt x="87" y="29"/>
                    <a:pt x="71" y="29"/>
                  </a:cubicBezTo>
                  <a:cubicBezTo>
                    <a:pt x="50" y="29"/>
                    <a:pt x="42" y="53"/>
                    <a:pt x="42" y="74"/>
                  </a:cubicBezTo>
                  <a:lnTo>
                    <a:pt x="98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70614D8A-B78E-7C48-9DF2-9F1C2C7AC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2090738"/>
              <a:ext cx="50800" cy="65087"/>
            </a:xfrm>
            <a:custGeom>
              <a:avLst/>
              <a:gdLst>
                <a:gd name="T0" fmla="*/ 19 w 139"/>
                <a:gd name="T1" fmla="*/ 13 h 179"/>
                <a:gd name="T2" fmla="*/ 72 w 139"/>
                <a:gd name="T3" fmla="*/ 0 h 179"/>
                <a:gd name="T4" fmla="*/ 135 w 139"/>
                <a:gd name="T5" fmla="*/ 69 h 179"/>
                <a:gd name="T6" fmla="*/ 135 w 139"/>
                <a:gd name="T7" fmla="*/ 143 h 179"/>
                <a:gd name="T8" fmla="*/ 138 w 139"/>
                <a:gd name="T9" fmla="*/ 175 h 179"/>
                <a:gd name="T10" fmla="*/ 101 w 139"/>
                <a:gd name="T11" fmla="*/ 175 h 179"/>
                <a:gd name="T12" fmla="*/ 98 w 139"/>
                <a:gd name="T13" fmla="*/ 151 h 179"/>
                <a:gd name="T14" fmla="*/ 51 w 139"/>
                <a:gd name="T15" fmla="*/ 178 h 179"/>
                <a:gd name="T16" fmla="*/ 0 w 139"/>
                <a:gd name="T17" fmla="*/ 127 h 179"/>
                <a:gd name="T18" fmla="*/ 88 w 139"/>
                <a:gd name="T19" fmla="*/ 69 h 179"/>
                <a:gd name="T20" fmla="*/ 96 w 139"/>
                <a:gd name="T21" fmla="*/ 69 h 179"/>
                <a:gd name="T22" fmla="*/ 96 w 139"/>
                <a:gd name="T23" fmla="*/ 64 h 179"/>
                <a:gd name="T24" fmla="*/ 64 w 139"/>
                <a:gd name="T25" fmla="*/ 32 h 179"/>
                <a:gd name="T26" fmla="*/ 19 w 139"/>
                <a:gd name="T27" fmla="*/ 48 h 179"/>
                <a:gd name="T28" fmla="*/ 19 w 139"/>
                <a:gd name="T29" fmla="*/ 13 h 179"/>
                <a:gd name="T30" fmla="*/ 93 w 139"/>
                <a:gd name="T31" fmla="*/ 93 h 179"/>
                <a:gd name="T32" fmla="*/ 37 w 139"/>
                <a:gd name="T33" fmla="*/ 125 h 179"/>
                <a:gd name="T34" fmla="*/ 64 w 139"/>
                <a:gd name="T35" fmla="*/ 151 h 179"/>
                <a:gd name="T36" fmla="*/ 96 w 139"/>
                <a:gd name="T37" fmla="*/ 101 h 179"/>
                <a:gd name="T38" fmla="*/ 96 w 139"/>
                <a:gd name="T39" fmla="*/ 93 h 179"/>
                <a:gd name="T40" fmla="*/ 93 w 139"/>
                <a:gd name="T41" fmla="*/ 9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179">
                  <a:moveTo>
                    <a:pt x="19" y="13"/>
                  </a:moveTo>
                  <a:cubicBezTo>
                    <a:pt x="29" y="8"/>
                    <a:pt x="45" y="0"/>
                    <a:pt x="72" y="0"/>
                  </a:cubicBezTo>
                  <a:cubicBezTo>
                    <a:pt x="122" y="0"/>
                    <a:pt x="135" y="27"/>
                    <a:pt x="135" y="69"/>
                  </a:cubicBezTo>
                  <a:lnTo>
                    <a:pt x="135" y="143"/>
                  </a:lnTo>
                  <a:cubicBezTo>
                    <a:pt x="135" y="156"/>
                    <a:pt x="135" y="167"/>
                    <a:pt x="138" y="175"/>
                  </a:cubicBezTo>
                  <a:lnTo>
                    <a:pt x="101" y="175"/>
                  </a:lnTo>
                  <a:cubicBezTo>
                    <a:pt x="98" y="167"/>
                    <a:pt x="98" y="159"/>
                    <a:pt x="98" y="151"/>
                  </a:cubicBezTo>
                  <a:cubicBezTo>
                    <a:pt x="88" y="164"/>
                    <a:pt x="74" y="178"/>
                    <a:pt x="51" y="178"/>
                  </a:cubicBezTo>
                  <a:cubicBezTo>
                    <a:pt x="24" y="178"/>
                    <a:pt x="0" y="159"/>
                    <a:pt x="0" y="127"/>
                  </a:cubicBezTo>
                  <a:cubicBezTo>
                    <a:pt x="0" y="80"/>
                    <a:pt x="37" y="69"/>
                    <a:pt x="88" y="69"/>
                  </a:cubicBezTo>
                  <a:lnTo>
                    <a:pt x="96" y="69"/>
                  </a:lnTo>
                  <a:lnTo>
                    <a:pt x="96" y="64"/>
                  </a:lnTo>
                  <a:cubicBezTo>
                    <a:pt x="96" y="48"/>
                    <a:pt x="88" y="32"/>
                    <a:pt x="64" y="32"/>
                  </a:cubicBezTo>
                  <a:cubicBezTo>
                    <a:pt x="43" y="32"/>
                    <a:pt x="27" y="43"/>
                    <a:pt x="19" y="48"/>
                  </a:cubicBezTo>
                  <a:lnTo>
                    <a:pt x="19" y="13"/>
                  </a:lnTo>
                  <a:close/>
                  <a:moveTo>
                    <a:pt x="93" y="93"/>
                  </a:moveTo>
                  <a:cubicBezTo>
                    <a:pt x="59" y="93"/>
                    <a:pt x="37" y="101"/>
                    <a:pt x="37" y="125"/>
                  </a:cubicBezTo>
                  <a:cubicBezTo>
                    <a:pt x="37" y="141"/>
                    <a:pt x="48" y="151"/>
                    <a:pt x="64" y="151"/>
                  </a:cubicBezTo>
                  <a:cubicBezTo>
                    <a:pt x="88" y="151"/>
                    <a:pt x="96" y="133"/>
                    <a:pt x="96" y="101"/>
                  </a:cubicBezTo>
                  <a:lnTo>
                    <a:pt x="96" y="93"/>
                  </a:lnTo>
                  <a:lnTo>
                    <a:pt x="93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4" name="Freeform 46">
              <a:extLst>
                <a:ext uri="{FF2B5EF4-FFF2-40B4-BE49-F238E27FC236}">
                  <a16:creationId xmlns:a16="http://schemas.microsoft.com/office/drawing/2014/main" id="{580A9C3F-9A69-E24F-A687-2CFB609A1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4663" y="2063750"/>
              <a:ext cx="14287" cy="90488"/>
            </a:xfrm>
            <a:custGeom>
              <a:avLst/>
              <a:gdLst>
                <a:gd name="T0" fmla="*/ 20 w 41"/>
                <a:gd name="T1" fmla="*/ 252 h 253"/>
                <a:gd name="T2" fmla="*/ 0 w 41"/>
                <a:gd name="T3" fmla="*/ 252 h 253"/>
                <a:gd name="T4" fmla="*/ 0 w 41"/>
                <a:gd name="T5" fmla="*/ 0 h 253"/>
                <a:gd name="T6" fmla="*/ 40 w 41"/>
                <a:gd name="T7" fmla="*/ 0 h 253"/>
                <a:gd name="T8" fmla="*/ 40 w 41"/>
                <a:gd name="T9" fmla="*/ 252 h 253"/>
                <a:gd name="T10" fmla="*/ 20 w 41"/>
                <a:gd name="T11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53">
                  <a:moveTo>
                    <a:pt x="20" y="252"/>
                  </a:moveTo>
                  <a:lnTo>
                    <a:pt x="0" y="252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252"/>
                  </a:lnTo>
                  <a:lnTo>
                    <a:pt x="20" y="25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Freeform 47">
              <a:extLst>
                <a:ext uri="{FF2B5EF4-FFF2-40B4-BE49-F238E27FC236}">
                  <a16:creationId xmlns:a16="http://schemas.microsoft.com/office/drawing/2014/main" id="{4905274F-F8E9-CF4F-80AB-0411ABC4B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475" y="2074863"/>
              <a:ext cx="36513" cy="80962"/>
            </a:xfrm>
            <a:custGeom>
              <a:avLst/>
              <a:gdLst>
                <a:gd name="T0" fmla="*/ 26 w 102"/>
                <a:gd name="T1" fmla="*/ 13 h 226"/>
                <a:gd name="T2" fmla="*/ 66 w 102"/>
                <a:gd name="T3" fmla="*/ 0 h 226"/>
                <a:gd name="T4" fmla="*/ 66 w 102"/>
                <a:gd name="T5" fmla="*/ 48 h 226"/>
                <a:gd name="T6" fmla="*/ 101 w 102"/>
                <a:gd name="T7" fmla="*/ 48 h 226"/>
                <a:gd name="T8" fmla="*/ 101 w 102"/>
                <a:gd name="T9" fmla="*/ 80 h 226"/>
                <a:gd name="T10" fmla="*/ 66 w 102"/>
                <a:gd name="T11" fmla="*/ 80 h 226"/>
                <a:gd name="T12" fmla="*/ 66 w 102"/>
                <a:gd name="T13" fmla="*/ 170 h 226"/>
                <a:gd name="T14" fmla="*/ 85 w 102"/>
                <a:gd name="T15" fmla="*/ 194 h 226"/>
                <a:gd name="T16" fmla="*/ 101 w 102"/>
                <a:gd name="T17" fmla="*/ 191 h 226"/>
                <a:gd name="T18" fmla="*/ 101 w 102"/>
                <a:gd name="T19" fmla="*/ 220 h 226"/>
                <a:gd name="T20" fmla="*/ 74 w 102"/>
                <a:gd name="T21" fmla="*/ 225 h 226"/>
                <a:gd name="T22" fmla="*/ 26 w 102"/>
                <a:gd name="T23" fmla="*/ 175 h 226"/>
                <a:gd name="T24" fmla="*/ 26 w 102"/>
                <a:gd name="T25" fmla="*/ 80 h 226"/>
                <a:gd name="T26" fmla="*/ 0 w 102"/>
                <a:gd name="T27" fmla="*/ 80 h 226"/>
                <a:gd name="T28" fmla="*/ 0 w 102"/>
                <a:gd name="T29" fmla="*/ 48 h 226"/>
                <a:gd name="T30" fmla="*/ 26 w 102"/>
                <a:gd name="T31" fmla="*/ 48 h 226"/>
                <a:gd name="T32" fmla="*/ 26 w 102"/>
                <a:gd name="T33" fmla="*/ 1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226">
                  <a:moveTo>
                    <a:pt x="26" y="13"/>
                  </a:moveTo>
                  <a:lnTo>
                    <a:pt x="66" y="0"/>
                  </a:lnTo>
                  <a:lnTo>
                    <a:pt x="66" y="48"/>
                  </a:lnTo>
                  <a:lnTo>
                    <a:pt x="101" y="48"/>
                  </a:lnTo>
                  <a:lnTo>
                    <a:pt x="101" y="80"/>
                  </a:lnTo>
                  <a:lnTo>
                    <a:pt x="66" y="80"/>
                  </a:lnTo>
                  <a:lnTo>
                    <a:pt x="66" y="170"/>
                  </a:lnTo>
                  <a:cubicBezTo>
                    <a:pt x="66" y="188"/>
                    <a:pt x="71" y="194"/>
                    <a:pt x="85" y="194"/>
                  </a:cubicBezTo>
                  <a:cubicBezTo>
                    <a:pt x="93" y="194"/>
                    <a:pt x="98" y="191"/>
                    <a:pt x="101" y="191"/>
                  </a:cubicBezTo>
                  <a:lnTo>
                    <a:pt x="101" y="220"/>
                  </a:lnTo>
                  <a:cubicBezTo>
                    <a:pt x="95" y="223"/>
                    <a:pt x="85" y="225"/>
                    <a:pt x="74" y="225"/>
                  </a:cubicBezTo>
                  <a:cubicBezTo>
                    <a:pt x="45" y="225"/>
                    <a:pt x="26" y="212"/>
                    <a:pt x="26" y="175"/>
                  </a:cubicBezTo>
                  <a:lnTo>
                    <a:pt x="26" y="80"/>
                  </a:lnTo>
                  <a:lnTo>
                    <a:pt x="0" y="80"/>
                  </a:lnTo>
                  <a:lnTo>
                    <a:pt x="0" y="48"/>
                  </a:lnTo>
                  <a:lnTo>
                    <a:pt x="26" y="48"/>
                  </a:lnTo>
                  <a:lnTo>
                    <a:pt x="26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1BBA35AF-DFC9-BB44-8F90-11826FEC5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063750"/>
              <a:ext cx="47625" cy="90488"/>
            </a:xfrm>
            <a:custGeom>
              <a:avLst/>
              <a:gdLst>
                <a:gd name="T0" fmla="*/ 0 w 133"/>
                <a:gd name="T1" fmla="*/ 0 h 253"/>
                <a:gd name="T2" fmla="*/ 39 w 133"/>
                <a:gd name="T3" fmla="*/ 0 h 253"/>
                <a:gd name="T4" fmla="*/ 39 w 133"/>
                <a:gd name="T5" fmla="*/ 101 h 253"/>
                <a:gd name="T6" fmla="*/ 39 w 133"/>
                <a:gd name="T7" fmla="*/ 101 h 253"/>
                <a:gd name="T8" fmla="*/ 82 w 133"/>
                <a:gd name="T9" fmla="*/ 77 h 253"/>
                <a:gd name="T10" fmla="*/ 132 w 133"/>
                <a:gd name="T11" fmla="*/ 140 h 253"/>
                <a:gd name="T12" fmla="*/ 132 w 133"/>
                <a:gd name="T13" fmla="*/ 252 h 253"/>
                <a:gd name="T14" fmla="*/ 92 w 133"/>
                <a:gd name="T15" fmla="*/ 252 h 253"/>
                <a:gd name="T16" fmla="*/ 92 w 133"/>
                <a:gd name="T17" fmla="*/ 148 h 253"/>
                <a:gd name="T18" fmla="*/ 69 w 133"/>
                <a:gd name="T19" fmla="*/ 111 h 253"/>
                <a:gd name="T20" fmla="*/ 39 w 133"/>
                <a:gd name="T21" fmla="*/ 151 h 253"/>
                <a:gd name="T22" fmla="*/ 39 w 133"/>
                <a:gd name="T23" fmla="*/ 252 h 253"/>
                <a:gd name="T24" fmla="*/ 0 w 133"/>
                <a:gd name="T25" fmla="*/ 252 h 253"/>
                <a:gd name="T26" fmla="*/ 0 w 133"/>
                <a:gd name="T2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253">
                  <a:moveTo>
                    <a:pt x="0" y="0"/>
                  </a:moveTo>
                  <a:lnTo>
                    <a:pt x="39" y="0"/>
                  </a:lnTo>
                  <a:lnTo>
                    <a:pt x="39" y="101"/>
                  </a:lnTo>
                  <a:lnTo>
                    <a:pt x="39" y="101"/>
                  </a:lnTo>
                  <a:cubicBezTo>
                    <a:pt x="47" y="90"/>
                    <a:pt x="55" y="77"/>
                    <a:pt x="82" y="77"/>
                  </a:cubicBezTo>
                  <a:cubicBezTo>
                    <a:pt x="119" y="77"/>
                    <a:pt x="132" y="106"/>
                    <a:pt x="132" y="140"/>
                  </a:cubicBezTo>
                  <a:lnTo>
                    <a:pt x="132" y="252"/>
                  </a:lnTo>
                  <a:lnTo>
                    <a:pt x="92" y="252"/>
                  </a:lnTo>
                  <a:lnTo>
                    <a:pt x="92" y="148"/>
                  </a:lnTo>
                  <a:cubicBezTo>
                    <a:pt x="92" y="122"/>
                    <a:pt x="87" y="111"/>
                    <a:pt x="69" y="111"/>
                  </a:cubicBezTo>
                  <a:cubicBezTo>
                    <a:pt x="47" y="111"/>
                    <a:pt x="39" y="130"/>
                    <a:pt x="39" y="151"/>
                  </a:cubicBezTo>
                  <a:lnTo>
                    <a:pt x="39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1DC6241F-FA20-0E46-AFA2-D0595F2A9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775" y="2176463"/>
              <a:ext cx="65088" cy="85725"/>
            </a:xfrm>
            <a:custGeom>
              <a:avLst/>
              <a:gdLst>
                <a:gd name="T0" fmla="*/ 180 w 181"/>
                <a:gd name="T1" fmla="*/ 119 h 239"/>
                <a:gd name="T2" fmla="*/ 90 w 181"/>
                <a:gd name="T3" fmla="*/ 238 h 239"/>
                <a:gd name="T4" fmla="*/ 0 w 181"/>
                <a:gd name="T5" fmla="*/ 119 h 239"/>
                <a:gd name="T6" fmla="*/ 90 w 181"/>
                <a:gd name="T7" fmla="*/ 0 h 239"/>
                <a:gd name="T8" fmla="*/ 180 w 181"/>
                <a:gd name="T9" fmla="*/ 119 h 239"/>
                <a:gd name="T10" fmla="*/ 138 w 181"/>
                <a:gd name="T11" fmla="*/ 121 h 239"/>
                <a:gd name="T12" fmla="*/ 90 w 181"/>
                <a:gd name="T13" fmla="*/ 34 h 239"/>
                <a:gd name="T14" fmla="*/ 42 w 181"/>
                <a:gd name="T15" fmla="*/ 121 h 239"/>
                <a:gd name="T16" fmla="*/ 90 w 181"/>
                <a:gd name="T17" fmla="*/ 209 h 239"/>
                <a:gd name="T18" fmla="*/ 138 w 181"/>
                <a:gd name="T19" fmla="*/ 1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239">
                  <a:moveTo>
                    <a:pt x="180" y="119"/>
                  </a:moveTo>
                  <a:cubicBezTo>
                    <a:pt x="180" y="203"/>
                    <a:pt x="138" y="238"/>
                    <a:pt x="90" y="238"/>
                  </a:cubicBezTo>
                  <a:cubicBezTo>
                    <a:pt x="42" y="238"/>
                    <a:pt x="0" y="201"/>
                    <a:pt x="0" y="119"/>
                  </a:cubicBezTo>
                  <a:cubicBezTo>
                    <a:pt x="0" y="37"/>
                    <a:pt x="45" y="0"/>
                    <a:pt x="90" y="0"/>
                  </a:cubicBezTo>
                  <a:cubicBezTo>
                    <a:pt x="138" y="0"/>
                    <a:pt x="180" y="37"/>
                    <a:pt x="180" y="119"/>
                  </a:cubicBezTo>
                  <a:close/>
                  <a:moveTo>
                    <a:pt x="138" y="121"/>
                  </a:moveTo>
                  <a:cubicBezTo>
                    <a:pt x="138" y="57"/>
                    <a:pt x="117" y="34"/>
                    <a:pt x="90" y="34"/>
                  </a:cubicBezTo>
                  <a:cubicBezTo>
                    <a:pt x="64" y="34"/>
                    <a:pt x="42" y="58"/>
                    <a:pt x="42" y="121"/>
                  </a:cubicBezTo>
                  <a:cubicBezTo>
                    <a:pt x="42" y="185"/>
                    <a:pt x="64" y="209"/>
                    <a:pt x="90" y="209"/>
                  </a:cubicBezTo>
                  <a:cubicBezTo>
                    <a:pt x="117" y="209"/>
                    <a:pt x="138" y="184"/>
                    <a:pt x="138" y="12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50">
              <a:extLst>
                <a:ext uri="{FF2B5EF4-FFF2-40B4-BE49-F238E27FC236}">
                  <a16:creationId xmlns:a16="http://schemas.microsoft.com/office/drawing/2014/main" id="{07DDEFD2-3D03-7047-9B37-A353E68EF0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2388" y="2198688"/>
              <a:ext cx="31750" cy="63500"/>
            </a:xfrm>
            <a:custGeom>
              <a:avLst/>
              <a:gdLst>
                <a:gd name="T0" fmla="*/ 0 w 89"/>
                <a:gd name="T1" fmla="*/ 32 h 176"/>
                <a:gd name="T2" fmla="*/ 0 w 89"/>
                <a:gd name="T3" fmla="*/ 3 h 176"/>
                <a:gd name="T4" fmla="*/ 37 w 89"/>
                <a:gd name="T5" fmla="*/ 3 h 176"/>
                <a:gd name="T6" fmla="*/ 37 w 89"/>
                <a:gd name="T7" fmla="*/ 35 h 176"/>
                <a:gd name="T8" fmla="*/ 37 w 89"/>
                <a:gd name="T9" fmla="*/ 35 h 176"/>
                <a:gd name="T10" fmla="*/ 80 w 89"/>
                <a:gd name="T11" fmla="*/ 0 h 176"/>
                <a:gd name="T12" fmla="*/ 88 w 89"/>
                <a:gd name="T13" fmla="*/ 0 h 176"/>
                <a:gd name="T14" fmla="*/ 88 w 89"/>
                <a:gd name="T15" fmla="*/ 40 h 176"/>
                <a:gd name="T16" fmla="*/ 77 w 89"/>
                <a:gd name="T17" fmla="*/ 38 h 176"/>
                <a:gd name="T18" fmla="*/ 43 w 89"/>
                <a:gd name="T19" fmla="*/ 80 h 176"/>
                <a:gd name="T20" fmla="*/ 43 w 89"/>
                <a:gd name="T21" fmla="*/ 175 h 176"/>
                <a:gd name="T22" fmla="*/ 3 w 89"/>
                <a:gd name="T23" fmla="*/ 175 h 176"/>
                <a:gd name="T24" fmla="*/ 0 w 89"/>
                <a:gd name="T25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4"/>
                    <a:pt x="37" y="24"/>
                    <a:pt x="37" y="35"/>
                  </a:cubicBezTo>
                  <a:lnTo>
                    <a:pt x="37" y="35"/>
                  </a:lnTo>
                  <a:cubicBezTo>
                    <a:pt x="43" y="22"/>
                    <a:pt x="56" y="0"/>
                    <a:pt x="80" y="0"/>
                  </a:cubicBezTo>
                  <a:cubicBezTo>
                    <a:pt x="82" y="0"/>
                    <a:pt x="85" y="0"/>
                    <a:pt x="88" y="0"/>
                  </a:cubicBezTo>
                  <a:lnTo>
                    <a:pt x="88" y="40"/>
                  </a:lnTo>
                  <a:cubicBezTo>
                    <a:pt x="85" y="40"/>
                    <a:pt x="80" y="38"/>
                    <a:pt x="77" y="38"/>
                  </a:cubicBezTo>
                  <a:cubicBezTo>
                    <a:pt x="61" y="38"/>
                    <a:pt x="43" y="48"/>
                    <a:pt x="43" y="80"/>
                  </a:cubicBezTo>
                  <a:lnTo>
                    <a:pt x="43" y="175"/>
                  </a:lnTo>
                  <a:lnTo>
                    <a:pt x="3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B179C49C-DDED-8A4D-B4B0-294A76136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488" y="2198688"/>
              <a:ext cx="52387" cy="90487"/>
            </a:xfrm>
            <a:custGeom>
              <a:avLst/>
              <a:gdLst>
                <a:gd name="T0" fmla="*/ 8 w 144"/>
                <a:gd name="T1" fmla="*/ 201 h 250"/>
                <a:gd name="T2" fmla="*/ 58 w 144"/>
                <a:gd name="T3" fmla="*/ 217 h 250"/>
                <a:gd name="T4" fmla="*/ 103 w 144"/>
                <a:gd name="T5" fmla="*/ 164 h 250"/>
                <a:gd name="T6" fmla="*/ 103 w 144"/>
                <a:gd name="T7" fmla="*/ 146 h 250"/>
                <a:gd name="T8" fmla="*/ 58 w 144"/>
                <a:gd name="T9" fmla="*/ 175 h 250"/>
                <a:gd name="T10" fmla="*/ 0 w 144"/>
                <a:gd name="T11" fmla="*/ 90 h 250"/>
                <a:gd name="T12" fmla="*/ 61 w 144"/>
                <a:gd name="T13" fmla="*/ 0 h 250"/>
                <a:gd name="T14" fmla="*/ 106 w 144"/>
                <a:gd name="T15" fmla="*/ 29 h 250"/>
                <a:gd name="T16" fmla="*/ 106 w 144"/>
                <a:gd name="T17" fmla="*/ 3 h 250"/>
                <a:gd name="T18" fmla="*/ 143 w 144"/>
                <a:gd name="T19" fmla="*/ 3 h 250"/>
                <a:gd name="T20" fmla="*/ 143 w 144"/>
                <a:gd name="T21" fmla="*/ 29 h 250"/>
                <a:gd name="T22" fmla="*/ 143 w 144"/>
                <a:gd name="T23" fmla="*/ 156 h 250"/>
                <a:gd name="T24" fmla="*/ 66 w 144"/>
                <a:gd name="T25" fmla="*/ 249 h 250"/>
                <a:gd name="T26" fmla="*/ 8 w 144"/>
                <a:gd name="T27" fmla="*/ 238 h 250"/>
                <a:gd name="T28" fmla="*/ 8 w 144"/>
                <a:gd name="T29" fmla="*/ 201 h 250"/>
                <a:gd name="T30" fmla="*/ 106 w 144"/>
                <a:gd name="T31" fmla="*/ 85 h 250"/>
                <a:gd name="T32" fmla="*/ 74 w 144"/>
                <a:gd name="T33" fmla="*/ 29 h 250"/>
                <a:gd name="T34" fmla="*/ 45 w 144"/>
                <a:gd name="T35" fmla="*/ 85 h 250"/>
                <a:gd name="T36" fmla="*/ 71 w 144"/>
                <a:gd name="T37" fmla="*/ 143 h 250"/>
                <a:gd name="T38" fmla="*/ 106 w 144"/>
                <a:gd name="T39" fmla="*/ 8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4" h="250">
                  <a:moveTo>
                    <a:pt x="8" y="201"/>
                  </a:moveTo>
                  <a:cubicBezTo>
                    <a:pt x="18" y="207"/>
                    <a:pt x="37" y="217"/>
                    <a:pt x="58" y="217"/>
                  </a:cubicBezTo>
                  <a:cubicBezTo>
                    <a:pt x="95" y="217"/>
                    <a:pt x="103" y="191"/>
                    <a:pt x="103" y="164"/>
                  </a:cubicBezTo>
                  <a:lnTo>
                    <a:pt x="103" y="146"/>
                  </a:lnTo>
                  <a:cubicBezTo>
                    <a:pt x="98" y="159"/>
                    <a:pt x="84" y="175"/>
                    <a:pt x="58" y="175"/>
                  </a:cubicBezTo>
                  <a:cubicBezTo>
                    <a:pt x="34" y="175"/>
                    <a:pt x="0" y="159"/>
                    <a:pt x="0" y="90"/>
                  </a:cubicBezTo>
                  <a:cubicBezTo>
                    <a:pt x="0" y="42"/>
                    <a:pt x="16" y="0"/>
                    <a:pt x="61" y="0"/>
                  </a:cubicBezTo>
                  <a:cubicBezTo>
                    <a:pt x="84" y="0"/>
                    <a:pt x="95" y="13"/>
                    <a:pt x="106" y="29"/>
                  </a:cubicBezTo>
                  <a:lnTo>
                    <a:pt x="106" y="3"/>
                  </a:lnTo>
                  <a:lnTo>
                    <a:pt x="143" y="3"/>
                  </a:lnTo>
                  <a:lnTo>
                    <a:pt x="143" y="29"/>
                  </a:lnTo>
                  <a:lnTo>
                    <a:pt x="143" y="156"/>
                  </a:lnTo>
                  <a:cubicBezTo>
                    <a:pt x="143" y="209"/>
                    <a:pt x="127" y="249"/>
                    <a:pt x="66" y="249"/>
                  </a:cubicBezTo>
                  <a:cubicBezTo>
                    <a:pt x="39" y="249"/>
                    <a:pt x="18" y="241"/>
                    <a:pt x="8" y="238"/>
                  </a:cubicBezTo>
                  <a:lnTo>
                    <a:pt x="8" y="201"/>
                  </a:lnTo>
                  <a:close/>
                  <a:moveTo>
                    <a:pt x="106" y="85"/>
                  </a:moveTo>
                  <a:cubicBezTo>
                    <a:pt x="106" y="48"/>
                    <a:pt x="92" y="29"/>
                    <a:pt x="74" y="29"/>
                  </a:cubicBezTo>
                  <a:cubicBezTo>
                    <a:pt x="53" y="29"/>
                    <a:pt x="45" y="50"/>
                    <a:pt x="45" y="85"/>
                  </a:cubicBezTo>
                  <a:cubicBezTo>
                    <a:pt x="45" y="127"/>
                    <a:pt x="55" y="143"/>
                    <a:pt x="71" y="143"/>
                  </a:cubicBezTo>
                  <a:cubicBezTo>
                    <a:pt x="98" y="143"/>
                    <a:pt x="106" y="125"/>
                    <a:pt x="106" y="8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52">
              <a:extLst>
                <a:ext uri="{FF2B5EF4-FFF2-40B4-BE49-F238E27FC236}">
                  <a16:creationId xmlns:a16="http://schemas.microsoft.com/office/drawing/2014/main" id="{6976E66F-7D57-3E40-9D02-CF1583D15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9225" y="2198688"/>
              <a:ext cx="50800" cy="65087"/>
            </a:xfrm>
            <a:custGeom>
              <a:avLst/>
              <a:gdLst>
                <a:gd name="T0" fmla="*/ 18 w 139"/>
                <a:gd name="T1" fmla="*/ 14 h 179"/>
                <a:gd name="T2" fmla="*/ 71 w 139"/>
                <a:gd name="T3" fmla="*/ 0 h 179"/>
                <a:gd name="T4" fmla="*/ 135 w 139"/>
                <a:gd name="T5" fmla="*/ 69 h 179"/>
                <a:gd name="T6" fmla="*/ 135 w 139"/>
                <a:gd name="T7" fmla="*/ 143 h 179"/>
                <a:gd name="T8" fmla="*/ 138 w 139"/>
                <a:gd name="T9" fmla="*/ 175 h 179"/>
                <a:gd name="T10" fmla="*/ 100 w 139"/>
                <a:gd name="T11" fmla="*/ 175 h 179"/>
                <a:gd name="T12" fmla="*/ 98 w 139"/>
                <a:gd name="T13" fmla="*/ 151 h 179"/>
                <a:gd name="T14" fmla="*/ 50 w 139"/>
                <a:gd name="T15" fmla="*/ 178 h 179"/>
                <a:gd name="T16" fmla="*/ 0 w 139"/>
                <a:gd name="T17" fmla="*/ 128 h 179"/>
                <a:gd name="T18" fmla="*/ 87 w 139"/>
                <a:gd name="T19" fmla="*/ 69 h 179"/>
                <a:gd name="T20" fmla="*/ 95 w 139"/>
                <a:gd name="T21" fmla="*/ 69 h 179"/>
                <a:gd name="T22" fmla="*/ 95 w 139"/>
                <a:gd name="T23" fmla="*/ 64 h 179"/>
                <a:gd name="T24" fmla="*/ 63 w 139"/>
                <a:gd name="T25" fmla="*/ 32 h 179"/>
                <a:gd name="T26" fmla="*/ 18 w 139"/>
                <a:gd name="T27" fmla="*/ 48 h 179"/>
                <a:gd name="T28" fmla="*/ 18 w 139"/>
                <a:gd name="T29" fmla="*/ 14 h 179"/>
                <a:gd name="T30" fmla="*/ 95 w 139"/>
                <a:gd name="T31" fmla="*/ 93 h 179"/>
                <a:gd name="T32" fmla="*/ 40 w 139"/>
                <a:gd name="T33" fmla="*/ 125 h 179"/>
                <a:gd name="T34" fmla="*/ 66 w 139"/>
                <a:gd name="T35" fmla="*/ 151 h 179"/>
                <a:gd name="T36" fmla="*/ 98 w 139"/>
                <a:gd name="T37" fmla="*/ 101 h 179"/>
                <a:gd name="T38" fmla="*/ 98 w 139"/>
                <a:gd name="T39" fmla="*/ 93 h 179"/>
                <a:gd name="T40" fmla="*/ 95 w 139"/>
                <a:gd name="T41" fmla="*/ 9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179">
                  <a:moveTo>
                    <a:pt x="18" y="14"/>
                  </a:moveTo>
                  <a:cubicBezTo>
                    <a:pt x="29" y="8"/>
                    <a:pt x="45" y="0"/>
                    <a:pt x="71" y="0"/>
                  </a:cubicBezTo>
                  <a:cubicBezTo>
                    <a:pt x="124" y="0"/>
                    <a:pt x="135" y="27"/>
                    <a:pt x="135" y="69"/>
                  </a:cubicBezTo>
                  <a:lnTo>
                    <a:pt x="135" y="143"/>
                  </a:lnTo>
                  <a:cubicBezTo>
                    <a:pt x="135" y="157"/>
                    <a:pt x="135" y="167"/>
                    <a:pt x="138" y="175"/>
                  </a:cubicBezTo>
                  <a:lnTo>
                    <a:pt x="100" y="175"/>
                  </a:lnTo>
                  <a:cubicBezTo>
                    <a:pt x="98" y="167"/>
                    <a:pt x="98" y="159"/>
                    <a:pt x="98" y="151"/>
                  </a:cubicBezTo>
                  <a:cubicBezTo>
                    <a:pt x="87" y="165"/>
                    <a:pt x="74" y="178"/>
                    <a:pt x="50" y="178"/>
                  </a:cubicBezTo>
                  <a:cubicBezTo>
                    <a:pt x="24" y="178"/>
                    <a:pt x="0" y="159"/>
                    <a:pt x="0" y="128"/>
                  </a:cubicBezTo>
                  <a:cubicBezTo>
                    <a:pt x="0" y="80"/>
                    <a:pt x="37" y="69"/>
                    <a:pt x="87" y="69"/>
                  </a:cubicBezTo>
                  <a:lnTo>
                    <a:pt x="95" y="69"/>
                  </a:lnTo>
                  <a:lnTo>
                    <a:pt x="95" y="64"/>
                  </a:lnTo>
                  <a:cubicBezTo>
                    <a:pt x="95" y="48"/>
                    <a:pt x="87" y="32"/>
                    <a:pt x="63" y="32"/>
                  </a:cubicBezTo>
                  <a:cubicBezTo>
                    <a:pt x="42" y="32"/>
                    <a:pt x="26" y="43"/>
                    <a:pt x="18" y="48"/>
                  </a:cubicBezTo>
                  <a:lnTo>
                    <a:pt x="18" y="14"/>
                  </a:lnTo>
                  <a:close/>
                  <a:moveTo>
                    <a:pt x="95" y="93"/>
                  </a:moveTo>
                  <a:cubicBezTo>
                    <a:pt x="61" y="93"/>
                    <a:pt x="40" y="101"/>
                    <a:pt x="40" y="125"/>
                  </a:cubicBezTo>
                  <a:cubicBezTo>
                    <a:pt x="40" y="141"/>
                    <a:pt x="50" y="151"/>
                    <a:pt x="66" y="151"/>
                  </a:cubicBezTo>
                  <a:cubicBezTo>
                    <a:pt x="90" y="151"/>
                    <a:pt x="98" y="133"/>
                    <a:pt x="98" y="101"/>
                  </a:cubicBezTo>
                  <a:lnTo>
                    <a:pt x="98" y="93"/>
                  </a:lnTo>
                  <a:lnTo>
                    <a:pt x="95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id="{588F58F8-310D-694D-BF21-0AD32BA58D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2725" y="2198688"/>
              <a:ext cx="47625" cy="63500"/>
            </a:xfrm>
            <a:custGeom>
              <a:avLst/>
              <a:gdLst>
                <a:gd name="T0" fmla="*/ 0 w 133"/>
                <a:gd name="T1" fmla="*/ 32 h 176"/>
                <a:gd name="T2" fmla="*/ 0 w 133"/>
                <a:gd name="T3" fmla="*/ 3 h 176"/>
                <a:gd name="T4" fmla="*/ 37 w 133"/>
                <a:gd name="T5" fmla="*/ 3 h 176"/>
                <a:gd name="T6" fmla="*/ 37 w 133"/>
                <a:gd name="T7" fmla="*/ 30 h 176"/>
                <a:gd name="T8" fmla="*/ 37 w 133"/>
                <a:gd name="T9" fmla="*/ 30 h 176"/>
                <a:gd name="T10" fmla="*/ 37 w 133"/>
                <a:gd name="T11" fmla="*/ 30 h 176"/>
                <a:gd name="T12" fmla="*/ 82 w 133"/>
                <a:gd name="T13" fmla="*/ 0 h 176"/>
                <a:gd name="T14" fmla="*/ 132 w 133"/>
                <a:gd name="T15" fmla="*/ 64 h 176"/>
                <a:gd name="T16" fmla="*/ 132 w 133"/>
                <a:gd name="T17" fmla="*/ 175 h 176"/>
                <a:gd name="T18" fmla="*/ 92 w 133"/>
                <a:gd name="T19" fmla="*/ 175 h 176"/>
                <a:gd name="T20" fmla="*/ 92 w 133"/>
                <a:gd name="T21" fmla="*/ 72 h 176"/>
                <a:gd name="T22" fmla="*/ 68 w 133"/>
                <a:gd name="T23" fmla="*/ 35 h 176"/>
                <a:gd name="T24" fmla="*/ 39 w 133"/>
                <a:gd name="T25" fmla="*/ 75 h 176"/>
                <a:gd name="T26" fmla="*/ 39 w 133"/>
                <a:gd name="T27" fmla="*/ 175 h 176"/>
                <a:gd name="T28" fmla="*/ 0 w 133"/>
                <a:gd name="T29" fmla="*/ 175 h 176"/>
                <a:gd name="T30" fmla="*/ 0 w 133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3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30"/>
                  </a:cubicBezTo>
                  <a:lnTo>
                    <a:pt x="37" y="30"/>
                  </a:lnTo>
                  <a:lnTo>
                    <a:pt x="37" y="30"/>
                  </a:lnTo>
                  <a:cubicBezTo>
                    <a:pt x="42" y="19"/>
                    <a:pt x="53" y="0"/>
                    <a:pt x="82" y="0"/>
                  </a:cubicBezTo>
                  <a:cubicBezTo>
                    <a:pt x="119" y="0"/>
                    <a:pt x="132" y="30"/>
                    <a:pt x="132" y="64"/>
                  </a:cubicBezTo>
                  <a:lnTo>
                    <a:pt x="132" y="175"/>
                  </a:lnTo>
                  <a:lnTo>
                    <a:pt x="92" y="175"/>
                  </a:lnTo>
                  <a:lnTo>
                    <a:pt x="92" y="72"/>
                  </a:lnTo>
                  <a:cubicBezTo>
                    <a:pt x="92" y="45"/>
                    <a:pt x="87" y="35"/>
                    <a:pt x="68" y="35"/>
                  </a:cubicBezTo>
                  <a:cubicBezTo>
                    <a:pt x="47" y="35"/>
                    <a:pt x="39" y="53"/>
                    <a:pt x="39" y="75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54">
              <a:extLst>
                <a:ext uri="{FF2B5EF4-FFF2-40B4-BE49-F238E27FC236}">
                  <a16:creationId xmlns:a16="http://schemas.microsoft.com/office/drawing/2014/main" id="{784992A7-8491-3E4F-8FBE-EF3923913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1463" y="2173288"/>
              <a:ext cx="15875" cy="88900"/>
            </a:xfrm>
            <a:custGeom>
              <a:avLst/>
              <a:gdLst>
                <a:gd name="T0" fmla="*/ 0 w 44"/>
                <a:gd name="T1" fmla="*/ 0 h 247"/>
                <a:gd name="T2" fmla="*/ 43 w 44"/>
                <a:gd name="T3" fmla="*/ 0 h 247"/>
                <a:gd name="T4" fmla="*/ 43 w 44"/>
                <a:gd name="T5" fmla="*/ 39 h 247"/>
                <a:gd name="T6" fmla="*/ 0 w 44"/>
                <a:gd name="T7" fmla="*/ 39 h 247"/>
                <a:gd name="T8" fmla="*/ 0 w 44"/>
                <a:gd name="T9" fmla="*/ 0 h 247"/>
                <a:gd name="T10" fmla="*/ 3 w 44"/>
                <a:gd name="T11" fmla="*/ 74 h 247"/>
                <a:gd name="T12" fmla="*/ 43 w 44"/>
                <a:gd name="T13" fmla="*/ 74 h 247"/>
                <a:gd name="T14" fmla="*/ 43 w 44"/>
                <a:gd name="T15" fmla="*/ 246 h 247"/>
                <a:gd name="T16" fmla="*/ 3 w 44"/>
                <a:gd name="T17" fmla="*/ 246 h 247"/>
                <a:gd name="T18" fmla="*/ 3 w 44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247">
                  <a:moveTo>
                    <a:pt x="0" y="0"/>
                  </a:moveTo>
                  <a:lnTo>
                    <a:pt x="43" y="0"/>
                  </a:lnTo>
                  <a:lnTo>
                    <a:pt x="43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3" y="74"/>
                  </a:moveTo>
                  <a:lnTo>
                    <a:pt x="43" y="74"/>
                  </a:lnTo>
                  <a:lnTo>
                    <a:pt x="43" y="246"/>
                  </a:lnTo>
                  <a:lnTo>
                    <a:pt x="3" y="246"/>
                  </a:lnTo>
                  <a:lnTo>
                    <a:pt x="3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55">
              <a:extLst>
                <a:ext uri="{FF2B5EF4-FFF2-40B4-BE49-F238E27FC236}">
                  <a16:creationId xmlns:a16="http://schemas.microsoft.com/office/drawing/2014/main" id="{95646E9C-A2B9-F24A-BC99-C15E3E157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0038" y="2200275"/>
              <a:ext cx="41275" cy="61913"/>
            </a:xfrm>
            <a:custGeom>
              <a:avLst/>
              <a:gdLst>
                <a:gd name="T0" fmla="*/ 0 w 115"/>
                <a:gd name="T1" fmla="*/ 135 h 173"/>
                <a:gd name="T2" fmla="*/ 71 w 115"/>
                <a:gd name="T3" fmla="*/ 29 h 173"/>
                <a:gd name="T4" fmla="*/ 2 w 115"/>
                <a:gd name="T5" fmla="*/ 29 h 173"/>
                <a:gd name="T6" fmla="*/ 2 w 115"/>
                <a:gd name="T7" fmla="*/ 0 h 173"/>
                <a:gd name="T8" fmla="*/ 111 w 115"/>
                <a:gd name="T9" fmla="*/ 0 h 173"/>
                <a:gd name="T10" fmla="*/ 111 w 115"/>
                <a:gd name="T11" fmla="*/ 34 h 173"/>
                <a:gd name="T12" fmla="*/ 40 w 115"/>
                <a:gd name="T13" fmla="*/ 140 h 173"/>
                <a:gd name="T14" fmla="*/ 114 w 115"/>
                <a:gd name="T15" fmla="*/ 140 h 173"/>
                <a:gd name="T16" fmla="*/ 114 w 115"/>
                <a:gd name="T17" fmla="*/ 172 h 173"/>
                <a:gd name="T18" fmla="*/ 0 w 115"/>
                <a:gd name="T19" fmla="*/ 172 h 173"/>
                <a:gd name="T20" fmla="*/ 0 w 115"/>
                <a:gd name="T2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" h="173">
                  <a:moveTo>
                    <a:pt x="0" y="135"/>
                  </a:moveTo>
                  <a:lnTo>
                    <a:pt x="71" y="29"/>
                  </a:lnTo>
                  <a:lnTo>
                    <a:pt x="2" y="29"/>
                  </a:lnTo>
                  <a:lnTo>
                    <a:pt x="2" y="0"/>
                  </a:lnTo>
                  <a:lnTo>
                    <a:pt x="111" y="0"/>
                  </a:lnTo>
                  <a:lnTo>
                    <a:pt x="111" y="34"/>
                  </a:lnTo>
                  <a:lnTo>
                    <a:pt x="40" y="140"/>
                  </a:lnTo>
                  <a:lnTo>
                    <a:pt x="114" y="140"/>
                  </a:lnTo>
                  <a:lnTo>
                    <a:pt x="114" y="172"/>
                  </a:lnTo>
                  <a:lnTo>
                    <a:pt x="0" y="172"/>
                  </a:lnTo>
                  <a:lnTo>
                    <a:pt x="0" y="13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Freeform 56">
              <a:extLst>
                <a:ext uri="{FF2B5EF4-FFF2-40B4-BE49-F238E27FC236}">
                  <a16:creationId xmlns:a16="http://schemas.microsoft.com/office/drawing/2014/main" id="{779B8527-141D-6C44-A7AD-7EEAAE4CD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7663" y="2198688"/>
              <a:ext cx="50800" cy="65087"/>
            </a:xfrm>
            <a:custGeom>
              <a:avLst/>
              <a:gdLst>
                <a:gd name="T0" fmla="*/ 19 w 139"/>
                <a:gd name="T1" fmla="*/ 14 h 179"/>
                <a:gd name="T2" fmla="*/ 72 w 139"/>
                <a:gd name="T3" fmla="*/ 0 h 179"/>
                <a:gd name="T4" fmla="*/ 135 w 139"/>
                <a:gd name="T5" fmla="*/ 69 h 179"/>
                <a:gd name="T6" fmla="*/ 135 w 139"/>
                <a:gd name="T7" fmla="*/ 143 h 179"/>
                <a:gd name="T8" fmla="*/ 138 w 139"/>
                <a:gd name="T9" fmla="*/ 175 h 179"/>
                <a:gd name="T10" fmla="*/ 101 w 139"/>
                <a:gd name="T11" fmla="*/ 175 h 179"/>
                <a:gd name="T12" fmla="*/ 98 w 139"/>
                <a:gd name="T13" fmla="*/ 151 h 179"/>
                <a:gd name="T14" fmla="*/ 51 w 139"/>
                <a:gd name="T15" fmla="*/ 178 h 179"/>
                <a:gd name="T16" fmla="*/ 0 w 139"/>
                <a:gd name="T17" fmla="*/ 128 h 179"/>
                <a:gd name="T18" fmla="*/ 88 w 139"/>
                <a:gd name="T19" fmla="*/ 69 h 179"/>
                <a:gd name="T20" fmla="*/ 96 w 139"/>
                <a:gd name="T21" fmla="*/ 69 h 179"/>
                <a:gd name="T22" fmla="*/ 96 w 139"/>
                <a:gd name="T23" fmla="*/ 64 h 179"/>
                <a:gd name="T24" fmla="*/ 64 w 139"/>
                <a:gd name="T25" fmla="*/ 32 h 179"/>
                <a:gd name="T26" fmla="*/ 19 w 139"/>
                <a:gd name="T27" fmla="*/ 48 h 179"/>
                <a:gd name="T28" fmla="*/ 19 w 139"/>
                <a:gd name="T29" fmla="*/ 14 h 179"/>
                <a:gd name="T30" fmla="*/ 96 w 139"/>
                <a:gd name="T31" fmla="*/ 93 h 179"/>
                <a:gd name="T32" fmla="*/ 40 w 139"/>
                <a:gd name="T33" fmla="*/ 125 h 179"/>
                <a:gd name="T34" fmla="*/ 66 w 139"/>
                <a:gd name="T35" fmla="*/ 151 h 179"/>
                <a:gd name="T36" fmla="*/ 98 w 139"/>
                <a:gd name="T37" fmla="*/ 101 h 179"/>
                <a:gd name="T38" fmla="*/ 98 w 139"/>
                <a:gd name="T39" fmla="*/ 93 h 179"/>
                <a:gd name="T40" fmla="*/ 96 w 139"/>
                <a:gd name="T41" fmla="*/ 9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179">
                  <a:moveTo>
                    <a:pt x="19" y="14"/>
                  </a:moveTo>
                  <a:cubicBezTo>
                    <a:pt x="29" y="8"/>
                    <a:pt x="45" y="0"/>
                    <a:pt x="72" y="0"/>
                  </a:cubicBezTo>
                  <a:cubicBezTo>
                    <a:pt x="122" y="0"/>
                    <a:pt x="135" y="27"/>
                    <a:pt x="135" y="69"/>
                  </a:cubicBezTo>
                  <a:lnTo>
                    <a:pt x="135" y="143"/>
                  </a:lnTo>
                  <a:cubicBezTo>
                    <a:pt x="135" y="157"/>
                    <a:pt x="135" y="167"/>
                    <a:pt x="138" y="175"/>
                  </a:cubicBezTo>
                  <a:lnTo>
                    <a:pt x="101" y="175"/>
                  </a:lnTo>
                  <a:cubicBezTo>
                    <a:pt x="98" y="167"/>
                    <a:pt x="98" y="159"/>
                    <a:pt x="98" y="151"/>
                  </a:cubicBezTo>
                  <a:cubicBezTo>
                    <a:pt x="88" y="165"/>
                    <a:pt x="74" y="178"/>
                    <a:pt x="51" y="178"/>
                  </a:cubicBezTo>
                  <a:cubicBezTo>
                    <a:pt x="24" y="178"/>
                    <a:pt x="0" y="159"/>
                    <a:pt x="0" y="128"/>
                  </a:cubicBezTo>
                  <a:cubicBezTo>
                    <a:pt x="0" y="80"/>
                    <a:pt x="37" y="69"/>
                    <a:pt x="88" y="69"/>
                  </a:cubicBezTo>
                  <a:lnTo>
                    <a:pt x="96" y="69"/>
                  </a:lnTo>
                  <a:lnTo>
                    <a:pt x="96" y="64"/>
                  </a:lnTo>
                  <a:cubicBezTo>
                    <a:pt x="96" y="48"/>
                    <a:pt x="88" y="32"/>
                    <a:pt x="64" y="32"/>
                  </a:cubicBezTo>
                  <a:cubicBezTo>
                    <a:pt x="43" y="32"/>
                    <a:pt x="27" y="43"/>
                    <a:pt x="19" y="48"/>
                  </a:cubicBezTo>
                  <a:lnTo>
                    <a:pt x="19" y="14"/>
                  </a:lnTo>
                  <a:close/>
                  <a:moveTo>
                    <a:pt x="96" y="93"/>
                  </a:moveTo>
                  <a:cubicBezTo>
                    <a:pt x="61" y="93"/>
                    <a:pt x="40" y="101"/>
                    <a:pt x="40" y="125"/>
                  </a:cubicBezTo>
                  <a:cubicBezTo>
                    <a:pt x="40" y="141"/>
                    <a:pt x="51" y="151"/>
                    <a:pt x="66" y="151"/>
                  </a:cubicBezTo>
                  <a:cubicBezTo>
                    <a:pt x="90" y="151"/>
                    <a:pt x="98" y="133"/>
                    <a:pt x="98" y="101"/>
                  </a:cubicBezTo>
                  <a:lnTo>
                    <a:pt x="98" y="93"/>
                  </a:lnTo>
                  <a:lnTo>
                    <a:pt x="96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Freeform 57">
              <a:extLst>
                <a:ext uri="{FF2B5EF4-FFF2-40B4-BE49-F238E27FC236}">
                  <a16:creationId xmlns:a16="http://schemas.microsoft.com/office/drawing/2014/main" id="{DBE157E4-231F-D34C-94B0-BB8231AAB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225" y="2181225"/>
              <a:ext cx="36513" cy="80963"/>
            </a:xfrm>
            <a:custGeom>
              <a:avLst/>
              <a:gdLst>
                <a:gd name="T0" fmla="*/ 26 w 101"/>
                <a:gd name="T1" fmla="*/ 14 h 224"/>
                <a:gd name="T2" fmla="*/ 66 w 101"/>
                <a:gd name="T3" fmla="*/ 0 h 224"/>
                <a:gd name="T4" fmla="*/ 66 w 101"/>
                <a:gd name="T5" fmla="*/ 48 h 224"/>
                <a:gd name="T6" fmla="*/ 100 w 101"/>
                <a:gd name="T7" fmla="*/ 48 h 224"/>
                <a:gd name="T8" fmla="*/ 100 w 101"/>
                <a:gd name="T9" fmla="*/ 77 h 224"/>
                <a:gd name="T10" fmla="*/ 66 w 101"/>
                <a:gd name="T11" fmla="*/ 77 h 224"/>
                <a:gd name="T12" fmla="*/ 66 w 101"/>
                <a:gd name="T13" fmla="*/ 167 h 224"/>
                <a:gd name="T14" fmla="*/ 85 w 101"/>
                <a:gd name="T15" fmla="*/ 191 h 224"/>
                <a:gd name="T16" fmla="*/ 100 w 101"/>
                <a:gd name="T17" fmla="*/ 188 h 224"/>
                <a:gd name="T18" fmla="*/ 100 w 101"/>
                <a:gd name="T19" fmla="*/ 218 h 224"/>
                <a:gd name="T20" fmla="*/ 74 w 101"/>
                <a:gd name="T21" fmla="*/ 223 h 224"/>
                <a:gd name="T22" fmla="*/ 26 w 101"/>
                <a:gd name="T23" fmla="*/ 173 h 224"/>
                <a:gd name="T24" fmla="*/ 26 w 101"/>
                <a:gd name="T25" fmla="*/ 77 h 224"/>
                <a:gd name="T26" fmla="*/ 0 w 101"/>
                <a:gd name="T27" fmla="*/ 77 h 224"/>
                <a:gd name="T28" fmla="*/ 0 w 101"/>
                <a:gd name="T29" fmla="*/ 48 h 224"/>
                <a:gd name="T30" fmla="*/ 26 w 101"/>
                <a:gd name="T31" fmla="*/ 48 h 224"/>
                <a:gd name="T32" fmla="*/ 26 w 101"/>
                <a:gd name="T33" fmla="*/ 1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224">
                  <a:moveTo>
                    <a:pt x="26" y="14"/>
                  </a:moveTo>
                  <a:lnTo>
                    <a:pt x="66" y="0"/>
                  </a:lnTo>
                  <a:lnTo>
                    <a:pt x="66" y="48"/>
                  </a:lnTo>
                  <a:lnTo>
                    <a:pt x="100" y="48"/>
                  </a:lnTo>
                  <a:lnTo>
                    <a:pt x="100" y="77"/>
                  </a:lnTo>
                  <a:lnTo>
                    <a:pt x="66" y="77"/>
                  </a:lnTo>
                  <a:lnTo>
                    <a:pt x="66" y="167"/>
                  </a:lnTo>
                  <a:cubicBezTo>
                    <a:pt x="66" y="186"/>
                    <a:pt x="71" y="191"/>
                    <a:pt x="85" y="191"/>
                  </a:cubicBezTo>
                  <a:cubicBezTo>
                    <a:pt x="92" y="191"/>
                    <a:pt x="98" y="188"/>
                    <a:pt x="100" y="188"/>
                  </a:cubicBezTo>
                  <a:lnTo>
                    <a:pt x="100" y="218"/>
                  </a:lnTo>
                  <a:cubicBezTo>
                    <a:pt x="95" y="220"/>
                    <a:pt x="85" y="223"/>
                    <a:pt x="74" y="223"/>
                  </a:cubicBezTo>
                  <a:cubicBezTo>
                    <a:pt x="45" y="223"/>
                    <a:pt x="26" y="210"/>
                    <a:pt x="26" y="173"/>
                  </a:cubicBezTo>
                  <a:lnTo>
                    <a:pt x="26" y="77"/>
                  </a:lnTo>
                  <a:lnTo>
                    <a:pt x="0" y="77"/>
                  </a:lnTo>
                  <a:lnTo>
                    <a:pt x="0" y="48"/>
                  </a:lnTo>
                  <a:lnTo>
                    <a:pt x="26" y="48"/>
                  </a:lnTo>
                  <a:lnTo>
                    <a:pt x="26" y="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58">
              <a:extLst>
                <a:ext uri="{FF2B5EF4-FFF2-40B4-BE49-F238E27FC236}">
                  <a16:creationId xmlns:a16="http://schemas.microsoft.com/office/drawing/2014/main" id="{EDD7EFF8-F4D6-1C42-8A07-319C31C90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9263" y="2173288"/>
              <a:ext cx="15875" cy="88900"/>
            </a:xfrm>
            <a:custGeom>
              <a:avLst/>
              <a:gdLst>
                <a:gd name="T0" fmla="*/ 0 w 46"/>
                <a:gd name="T1" fmla="*/ 0 h 247"/>
                <a:gd name="T2" fmla="*/ 42 w 46"/>
                <a:gd name="T3" fmla="*/ 0 h 247"/>
                <a:gd name="T4" fmla="*/ 42 w 46"/>
                <a:gd name="T5" fmla="*/ 39 h 247"/>
                <a:gd name="T6" fmla="*/ 0 w 46"/>
                <a:gd name="T7" fmla="*/ 39 h 247"/>
                <a:gd name="T8" fmla="*/ 0 w 46"/>
                <a:gd name="T9" fmla="*/ 0 h 247"/>
                <a:gd name="T10" fmla="*/ 5 w 46"/>
                <a:gd name="T11" fmla="*/ 74 h 247"/>
                <a:gd name="T12" fmla="*/ 45 w 46"/>
                <a:gd name="T13" fmla="*/ 74 h 247"/>
                <a:gd name="T14" fmla="*/ 45 w 46"/>
                <a:gd name="T15" fmla="*/ 246 h 247"/>
                <a:gd name="T16" fmla="*/ 5 w 46"/>
                <a:gd name="T17" fmla="*/ 246 h 247"/>
                <a:gd name="T18" fmla="*/ 5 w 46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247">
                  <a:moveTo>
                    <a:pt x="0" y="0"/>
                  </a:moveTo>
                  <a:lnTo>
                    <a:pt x="42" y="0"/>
                  </a:lnTo>
                  <a:lnTo>
                    <a:pt x="42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5" y="74"/>
                  </a:moveTo>
                  <a:lnTo>
                    <a:pt x="45" y="74"/>
                  </a:lnTo>
                  <a:lnTo>
                    <a:pt x="45" y="246"/>
                  </a:lnTo>
                  <a:lnTo>
                    <a:pt x="5" y="246"/>
                  </a:lnTo>
                  <a:lnTo>
                    <a:pt x="5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59">
              <a:extLst>
                <a:ext uri="{FF2B5EF4-FFF2-40B4-BE49-F238E27FC236}">
                  <a16:creationId xmlns:a16="http://schemas.microsoft.com/office/drawing/2014/main" id="{27FC9454-7ECF-5B41-B6C1-A64F9BB39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6250" y="2198688"/>
              <a:ext cx="53975" cy="65087"/>
            </a:xfrm>
            <a:custGeom>
              <a:avLst/>
              <a:gdLst>
                <a:gd name="T0" fmla="*/ 148 w 149"/>
                <a:gd name="T1" fmla="*/ 90 h 181"/>
                <a:gd name="T2" fmla="*/ 74 w 149"/>
                <a:gd name="T3" fmla="*/ 180 h 181"/>
                <a:gd name="T4" fmla="*/ 0 w 149"/>
                <a:gd name="T5" fmla="*/ 90 h 181"/>
                <a:gd name="T6" fmla="*/ 74 w 149"/>
                <a:gd name="T7" fmla="*/ 0 h 181"/>
                <a:gd name="T8" fmla="*/ 148 w 149"/>
                <a:gd name="T9" fmla="*/ 90 h 181"/>
                <a:gd name="T10" fmla="*/ 106 w 149"/>
                <a:gd name="T11" fmla="*/ 87 h 181"/>
                <a:gd name="T12" fmla="*/ 74 w 149"/>
                <a:gd name="T13" fmla="*/ 29 h 181"/>
                <a:gd name="T14" fmla="*/ 42 w 149"/>
                <a:gd name="T15" fmla="*/ 87 h 181"/>
                <a:gd name="T16" fmla="*/ 74 w 149"/>
                <a:gd name="T17" fmla="*/ 148 h 181"/>
                <a:gd name="T18" fmla="*/ 106 w 149"/>
                <a:gd name="T19" fmla="*/ 8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81">
                  <a:moveTo>
                    <a:pt x="148" y="90"/>
                  </a:moveTo>
                  <a:cubicBezTo>
                    <a:pt x="148" y="162"/>
                    <a:pt x="109" y="180"/>
                    <a:pt x="74" y="180"/>
                  </a:cubicBezTo>
                  <a:cubicBezTo>
                    <a:pt x="40" y="180"/>
                    <a:pt x="0" y="164"/>
                    <a:pt x="0" y="90"/>
                  </a:cubicBezTo>
                  <a:cubicBezTo>
                    <a:pt x="3" y="19"/>
                    <a:pt x="42" y="0"/>
                    <a:pt x="74" y="0"/>
                  </a:cubicBezTo>
                  <a:cubicBezTo>
                    <a:pt x="109" y="0"/>
                    <a:pt x="148" y="19"/>
                    <a:pt x="148" y="90"/>
                  </a:cubicBezTo>
                  <a:close/>
                  <a:moveTo>
                    <a:pt x="106" y="87"/>
                  </a:moveTo>
                  <a:cubicBezTo>
                    <a:pt x="106" y="58"/>
                    <a:pt x="101" y="29"/>
                    <a:pt x="74" y="29"/>
                  </a:cubicBezTo>
                  <a:cubicBezTo>
                    <a:pt x="48" y="29"/>
                    <a:pt x="42" y="61"/>
                    <a:pt x="42" y="87"/>
                  </a:cubicBezTo>
                  <a:cubicBezTo>
                    <a:pt x="42" y="117"/>
                    <a:pt x="50" y="148"/>
                    <a:pt x="74" y="148"/>
                  </a:cubicBezTo>
                  <a:cubicBezTo>
                    <a:pt x="101" y="148"/>
                    <a:pt x="106" y="117"/>
                    <a:pt x="106" y="8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60">
              <a:extLst>
                <a:ext uri="{FF2B5EF4-FFF2-40B4-BE49-F238E27FC236}">
                  <a16:creationId xmlns:a16="http://schemas.microsoft.com/office/drawing/2014/main" id="{408EF57F-8468-ED46-9498-3BFBE7D5A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198688"/>
              <a:ext cx="47625" cy="63500"/>
            </a:xfrm>
            <a:custGeom>
              <a:avLst/>
              <a:gdLst>
                <a:gd name="T0" fmla="*/ 0 w 133"/>
                <a:gd name="T1" fmla="*/ 32 h 176"/>
                <a:gd name="T2" fmla="*/ 0 w 133"/>
                <a:gd name="T3" fmla="*/ 3 h 176"/>
                <a:gd name="T4" fmla="*/ 37 w 133"/>
                <a:gd name="T5" fmla="*/ 3 h 176"/>
                <a:gd name="T6" fmla="*/ 37 w 133"/>
                <a:gd name="T7" fmla="*/ 30 h 176"/>
                <a:gd name="T8" fmla="*/ 37 w 133"/>
                <a:gd name="T9" fmla="*/ 30 h 176"/>
                <a:gd name="T10" fmla="*/ 37 w 133"/>
                <a:gd name="T11" fmla="*/ 30 h 176"/>
                <a:gd name="T12" fmla="*/ 82 w 133"/>
                <a:gd name="T13" fmla="*/ 0 h 176"/>
                <a:gd name="T14" fmla="*/ 132 w 133"/>
                <a:gd name="T15" fmla="*/ 64 h 176"/>
                <a:gd name="T16" fmla="*/ 132 w 133"/>
                <a:gd name="T17" fmla="*/ 175 h 176"/>
                <a:gd name="T18" fmla="*/ 92 w 133"/>
                <a:gd name="T19" fmla="*/ 175 h 176"/>
                <a:gd name="T20" fmla="*/ 92 w 133"/>
                <a:gd name="T21" fmla="*/ 72 h 176"/>
                <a:gd name="T22" fmla="*/ 69 w 133"/>
                <a:gd name="T23" fmla="*/ 35 h 176"/>
                <a:gd name="T24" fmla="*/ 39 w 133"/>
                <a:gd name="T25" fmla="*/ 75 h 176"/>
                <a:gd name="T26" fmla="*/ 39 w 133"/>
                <a:gd name="T27" fmla="*/ 175 h 176"/>
                <a:gd name="T28" fmla="*/ 0 w 133"/>
                <a:gd name="T29" fmla="*/ 175 h 176"/>
                <a:gd name="T30" fmla="*/ 0 w 133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3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30"/>
                  </a:cubicBezTo>
                  <a:lnTo>
                    <a:pt x="37" y="30"/>
                  </a:lnTo>
                  <a:lnTo>
                    <a:pt x="37" y="30"/>
                  </a:lnTo>
                  <a:cubicBezTo>
                    <a:pt x="42" y="19"/>
                    <a:pt x="53" y="0"/>
                    <a:pt x="82" y="0"/>
                  </a:cubicBezTo>
                  <a:cubicBezTo>
                    <a:pt x="119" y="0"/>
                    <a:pt x="132" y="30"/>
                    <a:pt x="132" y="64"/>
                  </a:cubicBezTo>
                  <a:lnTo>
                    <a:pt x="132" y="175"/>
                  </a:lnTo>
                  <a:lnTo>
                    <a:pt x="92" y="175"/>
                  </a:lnTo>
                  <a:lnTo>
                    <a:pt x="92" y="72"/>
                  </a:lnTo>
                  <a:cubicBezTo>
                    <a:pt x="92" y="45"/>
                    <a:pt x="87" y="35"/>
                    <a:pt x="69" y="35"/>
                  </a:cubicBezTo>
                  <a:cubicBezTo>
                    <a:pt x="47" y="35"/>
                    <a:pt x="39" y="53"/>
                    <a:pt x="39" y="75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61">
              <a:extLst>
                <a:ext uri="{FF2B5EF4-FFF2-40B4-BE49-F238E27FC236}">
                  <a16:creationId xmlns:a16="http://schemas.microsoft.com/office/drawing/2014/main" id="{FC8C2D41-36C7-F04D-8AC3-EAB2D32AD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4150" y="2032000"/>
              <a:ext cx="47625" cy="84138"/>
            </a:xfrm>
            <a:custGeom>
              <a:avLst/>
              <a:gdLst>
                <a:gd name="T0" fmla="*/ 0 w 133"/>
                <a:gd name="T1" fmla="*/ 0 h 234"/>
                <a:gd name="T2" fmla="*/ 64 w 133"/>
                <a:gd name="T3" fmla="*/ 0 h 234"/>
                <a:gd name="T4" fmla="*/ 132 w 133"/>
                <a:gd name="T5" fmla="*/ 72 h 234"/>
                <a:gd name="T6" fmla="*/ 64 w 133"/>
                <a:gd name="T7" fmla="*/ 143 h 234"/>
                <a:gd name="T8" fmla="*/ 42 w 133"/>
                <a:gd name="T9" fmla="*/ 143 h 234"/>
                <a:gd name="T10" fmla="*/ 42 w 133"/>
                <a:gd name="T11" fmla="*/ 233 h 234"/>
                <a:gd name="T12" fmla="*/ 3 w 133"/>
                <a:gd name="T13" fmla="*/ 233 h 234"/>
                <a:gd name="T14" fmla="*/ 0 w 133"/>
                <a:gd name="T15" fmla="*/ 0 h 234"/>
                <a:gd name="T16" fmla="*/ 56 w 133"/>
                <a:gd name="T17" fmla="*/ 111 h 234"/>
                <a:gd name="T18" fmla="*/ 93 w 133"/>
                <a:gd name="T19" fmla="*/ 72 h 234"/>
                <a:gd name="T20" fmla="*/ 56 w 133"/>
                <a:gd name="T21" fmla="*/ 34 h 234"/>
                <a:gd name="T22" fmla="*/ 40 w 133"/>
                <a:gd name="T23" fmla="*/ 34 h 234"/>
                <a:gd name="T24" fmla="*/ 40 w 133"/>
                <a:gd name="T25" fmla="*/ 111 h 234"/>
                <a:gd name="T26" fmla="*/ 56 w 133"/>
                <a:gd name="T27" fmla="*/ 11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" h="234">
                  <a:moveTo>
                    <a:pt x="0" y="0"/>
                  </a:moveTo>
                  <a:lnTo>
                    <a:pt x="64" y="0"/>
                  </a:lnTo>
                  <a:cubicBezTo>
                    <a:pt x="109" y="0"/>
                    <a:pt x="132" y="27"/>
                    <a:pt x="132" y="72"/>
                  </a:cubicBezTo>
                  <a:cubicBezTo>
                    <a:pt x="132" y="117"/>
                    <a:pt x="109" y="143"/>
                    <a:pt x="64" y="143"/>
                  </a:cubicBezTo>
                  <a:lnTo>
                    <a:pt x="42" y="143"/>
                  </a:lnTo>
                  <a:lnTo>
                    <a:pt x="42" y="233"/>
                  </a:lnTo>
                  <a:lnTo>
                    <a:pt x="3" y="233"/>
                  </a:lnTo>
                  <a:lnTo>
                    <a:pt x="0" y="0"/>
                  </a:lnTo>
                  <a:close/>
                  <a:moveTo>
                    <a:pt x="56" y="111"/>
                  </a:moveTo>
                  <a:cubicBezTo>
                    <a:pt x="79" y="111"/>
                    <a:pt x="93" y="98"/>
                    <a:pt x="93" y="72"/>
                  </a:cubicBezTo>
                  <a:cubicBezTo>
                    <a:pt x="93" y="45"/>
                    <a:pt x="82" y="34"/>
                    <a:pt x="56" y="34"/>
                  </a:cubicBezTo>
                  <a:lnTo>
                    <a:pt x="40" y="34"/>
                  </a:lnTo>
                  <a:lnTo>
                    <a:pt x="40" y="111"/>
                  </a:lnTo>
                  <a:lnTo>
                    <a:pt x="56" y="11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62">
              <a:extLst>
                <a:ext uri="{FF2B5EF4-FFF2-40B4-BE49-F238E27FC236}">
                  <a16:creationId xmlns:a16="http://schemas.microsoft.com/office/drawing/2014/main" id="{8FDCDAB0-9040-CE41-B43D-3A623E182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3363" y="2052638"/>
              <a:ext cx="47625" cy="63500"/>
            </a:xfrm>
            <a:custGeom>
              <a:avLst/>
              <a:gdLst>
                <a:gd name="T0" fmla="*/ 16 w 131"/>
                <a:gd name="T1" fmla="*/ 14 h 176"/>
                <a:gd name="T2" fmla="*/ 66 w 131"/>
                <a:gd name="T3" fmla="*/ 0 h 176"/>
                <a:gd name="T4" fmla="*/ 127 w 131"/>
                <a:gd name="T5" fmla="*/ 69 h 176"/>
                <a:gd name="T6" fmla="*/ 127 w 131"/>
                <a:gd name="T7" fmla="*/ 143 h 176"/>
                <a:gd name="T8" fmla="*/ 130 w 131"/>
                <a:gd name="T9" fmla="*/ 172 h 176"/>
                <a:gd name="T10" fmla="*/ 95 w 131"/>
                <a:gd name="T11" fmla="*/ 172 h 176"/>
                <a:gd name="T12" fmla="*/ 92 w 131"/>
                <a:gd name="T13" fmla="*/ 149 h 176"/>
                <a:gd name="T14" fmla="*/ 47 w 131"/>
                <a:gd name="T15" fmla="*/ 175 h 176"/>
                <a:gd name="T16" fmla="*/ 0 w 131"/>
                <a:gd name="T17" fmla="*/ 125 h 176"/>
                <a:gd name="T18" fmla="*/ 84 w 131"/>
                <a:gd name="T19" fmla="*/ 67 h 176"/>
                <a:gd name="T20" fmla="*/ 92 w 131"/>
                <a:gd name="T21" fmla="*/ 67 h 176"/>
                <a:gd name="T22" fmla="*/ 92 w 131"/>
                <a:gd name="T23" fmla="*/ 61 h 176"/>
                <a:gd name="T24" fmla="*/ 63 w 131"/>
                <a:gd name="T25" fmla="*/ 29 h 176"/>
                <a:gd name="T26" fmla="*/ 18 w 131"/>
                <a:gd name="T27" fmla="*/ 45 h 176"/>
                <a:gd name="T28" fmla="*/ 16 w 131"/>
                <a:gd name="T29" fmla="*/ 14 h 176"/>
                <a:gd name="T30" fmla="*/ 87 w 131"/>
                <a:gd name="T31" fmla="*/ 93 h 176"/>
                <a:gd name="T32" fmla="*/ 34 w 131"/>
                <a:gd name="T33" fmla="*/ 125 h 176"/>
                <a:gd name="T34" fmla="*/ 58 w 131"/>
                <a:gd name="T35" fmla="*/ 151 h 176"/>
                <a:gd name="T36" fmla="*/ 90 w 131"/>
                <a:gd name="T37" fmla="*/ 101 h 176"/>
                <a:gd name="T38" fmla="*/ 90 w 131"/>
                <a:gd name="T39" fmla="*/ 93 h 176"/>
                <a:gd name="T40" fmla="*/ 87 w 131"/>
                <a:gd name="T41" fmla="*/ 9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6" y="8"/>
                    <a:pt x="42" y="0"/>
                    <a:pt x="66" y="0"/>
                  </a:cubicBezTo>
                  <a:cubicBezTo>
                    <a:pt x="116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2" y="164"/>
                    <a:pt x="92" y="157"/>
                    <a:pt x="92" y="149"/>
                  </a:cubicBezTo>
                  <a:cubicBezTo>
                    <a:pt x="82" y="162"/>
                    <a:pt x="71" y="175"/>
                    <a:pt x="47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4" y="67"/>
                    <a:pt x="84" y="67"/>
                  </a:cubicBezTo>
                  <a:lnTo>
                    <a:pt x="92" y="67"/>
                  </a:lnTo>
                  <a:lnTo>
                    <a:pt x="92" y="61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40"/>
                    <a:pt x="18" y="45"/>
                  </a:cubicBezTo>
                  <a:lnTo>
                    <a:pt x="16" y="14"/>
                  </a:lnTo>
                  <a:close/>
                  <a:moveTo>
                    <a:pt x="87" y="93"/>
                  </a:moveTo>
                  <a:cubicBezTo>
                    <a:pt x="55" y="93"/>
                    <a:pt x="34" y="101"/>
                    <a:pt x="34" y="125"/>
                  </a:cubicBezTo>
                  <a:cubicBezTo>
                    <a:pt x="34" y="141"/>
                    <a:pt x="45" y="151"/>
                    <a:pt x="58" y="151"/>
                  </a:cubicBezTo>
                  <a:cubicBezTo>
                    <a:pt x="82" y="151"/>
                    <a:pt x="90" y="133"/>
                    <a:pt x="90" y="101"/>
                  </a:cubicBezTo>
                  <a:lnTo>
                    <a:pt x="90" y="93"/>
                  </a:lnTo>
                  <a:lnTo>
                    <a:pt x="87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63">
              <a:extLst>
                <a:ext uri="{FF2B5EF4-FFF2-40B4-BE49-F238E27FC236}">
                  <a16:creationId xmlns:a16="http://schemas.microsoft.com/office/drawing/2014/main" id="{69DE7FFB-46A4-0640-B108-0C74FEF86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3688" y="2052638"/>
              <a:ext cx="46037" cy="63500"/>
            </a:xfrm>
            <a:custGeom>
              <a:avLst/>
              <a:gdLst>
                <a:gd name="T0" fmla="*/ 0 w 128"/>
                <a:gd name="T1" fmla="*/ 32 h 176"/>
                <a:gd name="T2" fmla="*/ 0 w 128"/>
                <a:gd name="T3" fmla="*/ 3 h 176"/>
                <a:gd name="T4" fmla="*/ 37 w 128"/>
                <a:gd name="T5" fmla="*/ 3 h 176"/>
                <a:gd name="T6" fmla="*/ 37 w 128"/>
                <a:gd name="T7" fmla="*/ 29 h 176"/>
                <a:gd name="T8" fmla="*/ 37 w 128"/>
                <a:gd name="T9" fmla="*/ 29 h 176"/>
                <a:gd name="T10" fmla="*/ 37 w 128"/>
                <a:gd name="T11" fmla="*/ 29 h 176"/>
                <a:gd name="T12" fmla="*/ 79 w 128"/>
                <a:gd name="T13" fmla="*/ 0 h 176"/>
                <a:gd name="T14" fmla="*/ 127 w 128"/>
                <a:gd name="T15" fmla="*/ 64 h 176"/>
                <a:gd name="T16" fmla="*/ 127 w 128"/>
                <a:gd name="T17" fmla="*/ 175 h 176"/>
                <a:gd name="T18" fmla="*/ 87 w 128"/>
                <a:gd name="T19" fmla="*/ 175 h 176"/>
                <a:gd name="T20" fmla="*/ 87 w 128"/>
                <a:gd name="T21" fmla="*/ 72 h 176"/>
                <a:gd name="T22" fmla="*/ 66 w 128"/>
                <a:gd name="T23" fmla="*/ 35 h 176"/>
                <a:gd name="T24" fmla="*/ 39 w 128"/>
                <a:gd name="T25" fmla="*/ 74 h 176"/>
                <a:gd name="T26" fmla="*/ 39 w 128"/>
                <a:gd name="T27" fmla="*/ 175 h 176"/>
                <a:gd name="T28" fmla="*/ 0 w 128"/>
                <a:gd name="T29" fmla="*/ 175 h 176"/>
                <a:gd name="T30" fmla="*/ 0 w 128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lnTo>
                    <a:pt x="37" y="29"/>
                  </a:lnTo>
                  <a:lnTo>
                    <a:pt x="37" y="29"/>
                  </a:ln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87" y="175"/>
                  </a:lnTo>
                  <a:lnTo>
                    <a:pt x="87" y="72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45" y="35"/>
                    <a:pt x="39" y="53"/>
                    <a:pt x="39" y="74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64">
              <a:extLst>
                <a:ext uri="{FF2B5EF4-FFF2-40B4-BE49-F238E27FC236}">
                  <a16:creationId xmlns:a16="http://schemas.microsoft.com/office/drawing/2014/main" id="{59E2CE49-DCC6-8342-8567-5F0BD4D5C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9888" y="2032000"/>
              <a:ext cx="66675" cy="84138"/>
            </a:xfrm>
            <a:custGeom>
              <a:avLst/>
              <a:gdLst>
                <a:gd name="T0" fmla="*/ 132 w 186"/>
                <a:gd name="T1" fmla="*/ 177 h 234"/>
                <a:gd name="T2" fmla="*/ 56 w 186"/>
                <a:gd name="T3" fmla="*/ 177 h 234"/>
                <a:gd name="T4" fmla="*/ 40 w 186"/>
                <a:gd name="T5" fmla="*/ 233 h 234"/>
                <a:gd name="T6" fmla="*/ 0 w 186"/>
                <a:gd name="T7" fmla="*/ 233 h 234"/>
                <a:gd name="T8" fmla="*/ 74 w 186"/>
                <a:gd name="T9" fmla="*/ 0 h 234"/>
                <a:gd name="T10" fmla="*/ 117 w 186"/>
                <a:gd name="T11" fmla="*/ 0 h 234"/>
                <a:gd name="T12" fmla="*/ 185 w 186"/>
                <a:gd name="T13" fmla="*/ 233 h 234"/>
                <a:gd name="T14" fmla="*/ 143 w 186"/>
                <a:gd name="T15" fmla="*/ 233 h 234"/>
                <a:gd name="T16" fmla="*/ 132 w 186"/>
                <a:gd name="T17" fmla="*/ 177 h 234"/>
                <a:gd name="T18" fmla="*/ 125 w 186"/>
                <a:gd name="T19" fmla="*/ 146 h 234"/>
                <a:gd name="T20" fmla="*/ 98 w 186"/>
                <a:gd name="T21" fmla="*/ 37 h 234"/>
                <a:gd name="T22" fmla="*/ 98 w 186"/>
                <a:gd name="T23" fmla="*/ 37 h 234"/>
                <a:gd name="T24" fmla="*/ 69 w 186"/>
                <a:gd name="T25" fmla="*/ 146 h 234"/>
                <a:gd name="T26" fmla="*/ 125 w 186"/>
                <a:gd name="T27" fmla="*/ 14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6" h="234">
                  <a:moveTo>
                    <a:pt x="132" y="177"/>
                  </a:moveTo>
                  <a:lnTo>
                    <a:pt x="56" y="177"/>
                  </a:lnTo>
                  <a:lnTo>
                    <a:pt x="40" y="233"/>
                  </a:lnTo>
                  <a:lnTo>
                    <a:pt x="0" y="233"/>
                  </a:lnTo>
                  <a:lnTo>
                    <a:pt x="74" y="0"/>
                  </a:lnTo>
                  <a:lnTo>
                    <a:pt x="117" y="0"/>
                  </a:lnTo>
                  <a:lnTo>
                    <a:pt x="185" y="233"/>
                  </a:lnTo>
                  <a:lnTo>
                    <a:pt x="143" y="233"/>
                  </a:lnTo>
                  <a:lnTo>
                    <a:pt x="132" y="177"/>
                  </a:lnTo>
                  <a:close/>
                  <a:moveTo>
                    <a:pt x="125" y="146"/>
                  </a:moveTo>
                  <a:lnTo>
                    <a:pt x="98" y="37"/>
                  </a:lnTo>
                  <a:lnTo>
                    <a:pt x="98" y="37"/>
                  </a:lnTo>
                  <a:lnTo>
                    <a:pt x="69" y="146"/>
                  </a:lnTo>
                  <a:lnTo>
                    <a:pt x="125" y="14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65">
              <a:extLst>
                <a:ext uri="{FF2B5EF4-FFF2-40B4-BE49-F238E27FC236}">
                  <a16:creationId xmlns:a16="http://schemas.microsoft.com/office/drawing/2014/main" id="{6A6E8720-760B-D94C-A0C8-B01C8755E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4500" y="2052638"/>
              <a:ext cx="76200" cy="63500"/>
            </a:xfrm>
            <a:custGeom>
              <a:avLst/>
              <a:gdLst>
                <a:gd name="T0" fmla="*/ 2 w 210"/>
                <a:gd name="T1" fmla="*/ 32 h 176"/>
                <a:gd name="T2" fmla="*/ 2 w 210"/>
                <a:gd name="T3" fmla="*/ 3 h 176"/>
                <a:gd name="T4" fmla="*/ 42 w 210"/>
                <a:gd name="T5" fmla="*/ 3 h 176"/>
                <a:gd name="T6" fmla="*/ 42 w 210"/>
                <a:gd name="T7" fmla="*/ 29 h 176"/>
                <a:gd name="T8" fmla="*/ 42 w 210"/>
                <a:gd name="T9" fmla="*/ 29 h 176"/>
                <a:gd name="T10" fmla="*/ 82 w 210"/>
                <a:gd name="T11" fmla="*/ 0 h 176"/>
                <a:gd name="T12" fmla="*/ 121 w 210"/>
                <a:gd name="T13" fmla="*/ 27 h 176"/>
                <a:gd name="T14" fmla="*/ 164 w 210"/>
                <a:gd name="T15" fmla="*/ 0 h 176"/>
                <a:gd name="T16" fmla="*/ 209 w 210"/>
                <a:gd name="T17" fmla="*/ 69 h 176"/>
                <a:gd name="T18" fmla="*/ 209 w 210"/>
                <a:gd name="T19" fmla="*/ 175 h 176"/>
                <a:gd name="T20" fmla="*/ 169 w 210"/>
                <a:gd name="T21" fmla="*/ 175 h 176"/>
                <a:gd name="T22" fmla="*/ 169 w 210"/>
                <a:gd name="T23" fmla="*/ 67 h 176"/>
                <a:gd name="T24" fmla="*/ 148 w 210"/>
                <a:gd name="T25" fmla="*/ 35 h 176"/>
                <a:gd name="T26" fmla="*/ 121 w 210"/>
                <a:gd name="T27" fmla="*/ 72 h 176"/>
                <a:gd name="T28" fmla="*/ 121 w 210"/>
                <a:gd name="T29" fmla="*/ 175 h 176"/>
                <a:gd name="T30" fmla="*/ 87 w 210"/>
                <a:gd name="T31" fmla="*/ 175 h 176"/>
                <a:gd name="T32" fmla="*/ 87 w 210"/>
                <a:gd name="T33" fmla="*/ 67 h 176"/>
                <a:gd name="T34" fmla="*/ 66 w 210"/>
                <a:gd name="T35" fmla="*/ 35 h 176"/>
                <a:gd name="T36" fmla="*/ 39 w 210"/>
                <a:gd name="T37" fmla="*/ 72 h 176"/>
                <a:gd name="T38" fmla="*/ 39 w 210"/>
                <a:gd name="T39" fmla="*/ 175 h 176"/>
                <a:gd name="T40" fmla="*/ 0 w 210"/>
                <a:gd name="T41" fmla="*/ 175 h 176"/>
                <a:gd name="T42" fmla="*/ 2 w 210"/>
                <a:gd name="T43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0" h="176">
                  <a:moveTo>
                    <a:pt x="2" y="32"/>
                  </a:moveTo>
                  <a:cubicBezTo>
                    <a:pt x="2" y="19"/>
                    <a:pt x="2" y="11"/>
                    <a:pt x="2" y="3"/>
                  </a:cubicBezTo>
                  <a:lnTo>
                    <a:pt x="42" y="3"/>
                  </a:lnTo>
                  <a:cubicBezTo>
                    <a:pt x="42" y="11"/>
                    <a:pt x="42" y="21"/>
                    <a:pt x="42" y="29"/>
                  </a:cubicBezTo>
                  <a:lnTo>
                    <a:pt x="42" y="29"/>
                  </a:lnTo>
                  <a:cubicBezTo>
                    <a:pt x="47" y="16"/>
                    <a:pt x="61" y="0"/>
                    <a:pt x="82" y="0"/>
                  </a:cubicBezTo>
                  <a:cubicBezTo>
                    <a:pt x="108" y="0"/>
                    <a:pt x="119" y="19"/>
                    <a:pt x="121" y="27"/>
                  </a:cubicBezTo>
                  <a:cubicBezTo>
                    <a:pt x="129" y="14"/>
                    <a:pt x="140" y="0"/>
                    <a:pt x="164" y="0"/>
                  </a:cubicBezTo>
                  <a:cubicBezTo>
                    <a:pt x="198" y="0"/>
                    <a:pt x="209" y="27"/>
                    <a:pt x="209" y="69"/>
                  </a:cubicBezTo>
                  <a:lnTo>
                    <a:pt x="209" y="175"/>
                  </a:lnTo>
                  <a:lnTo>
                    <a:pt x="169" y="175"/>
                  </a:lnTo>
                  <a:lnTo>
                    <a:pt x="169" y="67"/>
                  </a:lnTo>
                  <a:cubicBezTo>
                    <a:pt x="169" y="45"/>
                    <a:pt x="164" y="35"/>
                    <a:pt x="148" y="35"/>
                  </a:cubicBezTo>
                  <a:cubicBezTo>
                    <a:pt x="132" y="35"/>
                    <a:pt x="121" y="53"/>
                    <a:pt x="121" y="72"/>
                  </a:cubicBezTo>
                  <a:lnTo>
                    <a:pt x="121" y="175"/>
                  </a:lnTo>
                  <a:lnTo>
                    <a:pt x="87" y="175"/>
                  </a:lnTo>
                  <a:lnTo>
                    <a:pt x="87" y="67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50" y="35"/>
                    <a:pt x="39" y="53"/>
                    <a:pt x="39" y="72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2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4" name="Freeform 66">
              <a:extLst>
                <a:ext uri="{FF2B5EF4-FFF2-40B4-BE49-F238E27FC236}">
                  <a16:creationId xmlns:a16="http://schemas.microsoft.com/office/drawing/2014/main" id="{452A92A7-7ADD-AC47-A0CC-033B3856E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3400" y="2052638"/>
              <a:ext cx="47625" cy="65087"/>
            </a:xfrm>
            <a:custGeom>
              <a:avLst/>
              <a:gdLst>
                <a:gd name="T0" fmla="*/ 122 w 131"/>
                <a:gd name="T1" fmla="*/ 167 h 179"/>
                <a:gd name="T2" fmla="*/ 74 w 131"/>
                <a:gd name="T3" fmla="*/ 178 h 179"/>
                <a:gd name="T4" fmla="*/ 0 w 131"/>
                <a:gd name="T5" fmla="*/ 90 h 179"/>
                <a:gd name="T6" fmla="*/ 66 w 131"/>
                <a:gd name="T7" fmla="*/ 0 h 179"/>
                <a:gd name="T8" fmla="*/ 130 w 131"/>
                <a:gd name="T9" fmla="*/ 93 h 179"/>
                <a:gd name="T10" fmla="*/ 130 w 131"/>
                <a:gd name="T11" fmla="*/ 101 h 179"/>
                <a:gd name="T12" fmla="*/ 37 w 131"/>
                <a:gd name="T13" fmla="*/ 101 h 179"/>
                <a:gd name="T14" fmla="*/ 77 w 131"/>
                <a:gd name="T15" fmla="*/ 149 h 179"/>
                <a:gd name="T16" fmla="*/ 119 w 131"/>
                <a:gd name="T17" fmla="*/ 135 h 179"/>
                <a:gd name="T18" fmla="*/ 122 w 131"/>
                <a:gd name="T19" fmla="*/ 167 h 179"/>
                <a:gd name="T20" fmla="*/ 93 w 131"/>
                <a:gd name="T21" fmla="*/ 74 h 179"/>
                <a:gd name="T22" fmla="*/ 66 w 131"/>
                <a:gd name="T23" fmla="*/ 29 h 179"/>
                <a:gd name="T24" fmla="*/ 37 w 131"/>
                <a:gd name="T25" fmla="*/ 74 h 179"/>
                <a:gd name="T26" fmla="*/ 93 w 131"/>
                <a:gd name="T27" fmla="*/ 7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179">
                  <a:moveTo>
                    <a:pt x="122" y="167"/>
                  </a:moveTo>
                  <a:cubicBezTo>
                    <a:pt x="114" y="170"/>
                    <a:pt x="98" y="178"/>
                    <a:pt x="74" y="178"/>
                  </a:cubicBezTo>
                  <a:cubicBezTo>
                    <a:pt x="21" y="178"/>
                    <a:pt x="0" y="138"/>
                    <a:pt x="0" y="90"/>
                  </a:cubicBezTo>
                  <a:cubicBezTo>
                    <a:pt x="0" y="40"/>
                    <a:pt x="26" y="0"/>
                    <a:pt x="66" y="0"/>
                  </a:cubicBezTo>
                  <a:cubicBezTo>
                    <a:pt x="100" y="0"/>
                    <a:pt x="130" y="21"/>
                    <a:pt x="130" y="93"/>
                  </a:cubicBezTo>
                  <a:lnTo>
                    <a:pt x="130" y="101"/>
                  </a:lnTo>
                  <a:lnTo>
                    <a:pt x="37" y="101"/>
                  </a:lnTo>
                  <a:cubicBezTo>
                    <a:pt x="37" y="130"/>
                    <a:pt x="48" y="149"/>
                    <a:pt x="77" y="149"/>
                  </a:cubicBezTo>
                  <a:cubicBezTo>
                    <a:pt x="100" y="149"/>
                    <a:pt x="111" y="141"/>
                    <a:pt x="119" y="135"/>
                  </a:cubicBezTo>
                  <a:lnTo>
                    <a:pt x="122" y="167"/>
                  </a:lnTo>
                  <a:close/>
                  <a:moveTo>
                    <a:pt x="93" y="74"/>
                  </a:moveTo>
                  <a:cubicBezTo>
                    <a:pt x="93" y="45"/>
                    <a:pt x="82" y="29"/>
                    <a:pt x="66" y="29"/>
                  </a:cubicBezTo>
                  <a:cubicBezTo>
                    <a:pt x="45" y="29"/>
                    <a:pt x="37" y="53"/>
                    <a:pt x="37" y="74"/>
                  </a:cubicBezTo>
                  <a:lnTo>
                    <a:pt x="93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5" name="Freeform 67">
              <a:extLst>
                <a:ext uri="{FF2B5EF4-FFF2-40B4-BE49-F238E27FC236}">
                  <a16:creationId xmlns:a16="http://schemas.microsoft.com/office/drawing/2014/main" id="{E2E990EC-9BC7-F941-B10F-B562795929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0550" y="2052638"/>
              <a:ext cx="30163" cy="63500"/>
            </a:xfrm>
            <a:custGeom>
              <a:avLst/>
              <a:gdLst>
                <a:gd name="T0" fmla="*/ 5 w 85"/>
                <a:gd name="T1" fmla="*/ 32 h 176"/>
                <a:gd name="T2" fmla="*/ 5 w 85"/>
                <a:gd name="T3" fmla="*/ 3 h 176"/>
                <a:gd name="T4" fmla="*/ 39 w 85"/>
                <a:gd name="T5" fmla="*/ 3 h 176"/>
                <a:gd name="T6" fmla="*/ 39 w 85"/>
                <a:gd name="T7" fmla="*/ 35 h 176"/>
                <a:gd name="T8" fmla="*/ 39 w 85"/>
                <a:gd name="T9" fmla="*/ 35 h 176"/>
                <a:gd name="T10" fmla="*/ 79 w 85"/>
                <a:gd name="T11" fmla="*/ 0 h 176"/>
                <a:gd name="T12" fmla="*/ 84 w 85"/>
                <a:gd name="T13" fmla="*/ 0 h 176"/>
                <a:gd name="T14" fmla="*/ 84 w 85"/>
                <a:gd name="T15" fmla="*/ 40 h 176"/>
                <a:gd name="T16" fmla="*/ 74 w 85"/>
                <a:gd name="T17" fmla="*/ 37 h 176"/>
                <a:gd name="T18" fmla="*/ 39 w 85"/>
                <a:gd name="T19" fmla="*/ 80 h 176"/>
                <a:gd name="T20" fmla="*/ 39 w 85"/>
                <a:gd name="T21" fmla="*/ 175 h 176"/>
                <a:gd name="T22" fmla="*/ 0 w 85"/>
                <a:gd name="T23" fmla="*/ 175 h 176"/>
                <a:gd name="T24" fmla="*/ 5 w 85"/>
                <a:gd name="T25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76">
                  <a:moveTo>
                    <a:pt x="5" y="32"/>
                  </a:moveTo>
                  <a:cubicBezTo>
                    <a:pt x="5" y="21"/>
                    <a:pt x="5" y="11"/>
                    <a:pt x="5" y="3"/>
                  </a:cubicBezTo>
                  <a:lnTo>
                    <a:pt x="39" y="3"/>
                  </a:lnTo>
                  <a:cubicBezTo>
                    <a:pt x="39" y="14"/>
                    <a:pt x="39" y="24"/>
                    <a:pt x="39" y="35"/>
                  </a:cubicBezTo>
                  <a:lnTo>
                    <a:pt x="39" y="35"/>
                  </a:lnTo>
                  <a:cubicBezTo>
                    <a:pt x="45" y="21"/>
                    <a:pt x="55" y="0"/>
                    <a:pt x="79" y="0"/>
                  </a:cubicBezTo>
                  <a:cubicBezTo>
                    <a:pt x="82" y="0"/>
                    <a:pt x="84" y="0"/>
                    <a:pt x="84" y="0"/>
                  </a:cubicBezTo>
                  <a:lnTo>
                    <a:pt x="84" y="40"/>
                  </a:lnTo>
                  <a:cubicBezTo>
                    <a:pt x="82" y="40"/>
                    <a:pt x="77" y="37"/>
                    <a:pt x="74" y="37"/>
                  </a:cubicBezTo>
                  <a:cubicBezTo>
                    <a:pt x="58" y="37"/>
                    <a:pt x="39" y="48"/>
                    <a:pt x="39" y="80"/>
                  </a:cubicBezTo>
                  <a:lnTo>
                    <a:pt x="39" y="175"/>
                  </a:lnTo>
                  <a:lnTo>
                    <a:pt x="0" y="175"/>
                  </a:lnTo>
                  <a:lnTo>
                    <a:pt x="5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" name="Freeform 68">
              <a:extLst>
                <a:ext uri="{FF2B5EF4-FFF2-40B4-BE49-F238E27FC236}">
                  <a16:creationId xmlns:a16="http://schemas.microsoft.com/office/drawing/2014/main" id="{B863502A-5D3E-0540-8675-D5092C21A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3413" y="2027238"/>
              <a:ext cx="14287" cy="88900"/>
            </a:xfrm>
            <a:custGeom>
              <a:avLst/>
              <a:gdLst>
                <a:gd name="T0" fmla="*/ 0 w 41"/>
                <a:gd name="T1" fmla="*/ 0 h 245"/>
                <a:gd name="T2" fmla="*/ 40 w 41"/>
                <a:gd name="T3" fmla="*/ 0 h 245"/>
                <a:gd name="T4" fmla="*/ 40 w 41"/>
                <a:gd name="T5" fmla="*/ 40 h 245"/>
                <a:gd name="T6" fmla="*/ 0 w 41"/>
                <a:gd name="T7" fmla="*/ 40 h 245"/>
                <a:gd name="T8" fmla="*/ 0 w 41"/>
                <a:gd name="T9" fmla="*/ 0 h 245"/>
                <a:gd name="T10" fmla="*/ 0 w 41"/>
                <a:gd name="T11" fmla="*/ 72 h 245"/>
                <a:gd name="T12" fmla="*/ 40 w 41"/>
                <a:gd name="T13" fmla="*/ 72 h 245"/>
                <a:gd name="T14" fmla="*/ 40 w 41"/>
                <a:gd name="T15" fmla="*/ 244 h 245"/>
                <a:gd name="T16" fmla="*/ 0 w 41"/>
                <a:gd name="T17" fmla="*/ 244 h 245"/>
                <a:gd name="T18" fmla="*/ 0 w 41"/>
                <a:gd name="T19" fmla="*/ 7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45">
                  <a:moveTo>
                    <a:pt x="0" y="0"/>
                  </a:moveTo>
                  <a:lnTo>
                    <a:pt x="40" y="0"/>
                  </a:lnTo>
                  <a:lnTo>
                    <a:pt x="40" y="40"/>
                  </a:lnTo>
                  <a:lnTo>
                    <a:pt x="0" y="40"/>
                  </a:lnTo>
                  <a:lnTo>
                    <a:pt x="0" y="0"/>
                  </a:lnTo>
                  <a:close/>
                  <a:moveTo>
                    <a:pt x="0" y="72"/>
                  </a:moveTo>
                  <a:lnTo>
                    <a:pt x="40" y="72"/>
                  </a:lnTo>
                  <a:lnTo>
                    <a:pt x="40" y="244"/>
                  </a:lnTo>
                  <a:lnTo>
                    <a:pt x="0" y="244"/>
                  </a:lnTo>
                  <a:lnTo>
                    <a:pt x="0" y="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B3906449-A84A-A940-A29D-F4FF89AB5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1988" y="2054225"/>
              <a:ext cx="41275" cy="63500"/>
            </a:xfrm>
            <a:custGeom>
              <a:avLst/>
              <a:gdLst>
                <a:gd name="T0" fmla="*/ 112 w 113"/>
                <a:gd name="T1" fmla="*/ 169 h 178"/>
                <a:gd name="T2" fmla="*/ 74 w 113"/>
                <a:gd name="T3" fmla="*/ 177 h 178"/>
                <a:gd name="T4" fmla="*/ 0 w 113"/>
                <a:gd name="T5" fmla="*/ 90 h 178"/>
                <a:gd name="T6" fmla="*/ 77 w 113"/>
                <a:gd name="T7" fmla="*/ 0 h 178"/>
                <a:gd name="T8" fmla="*/ 112 w 113"/>
                <a:gd name="T9" fmla="*/ 8 h 178"/>
                <a:gd name="T10" fmla="*/ 109 w 113"/>
                <a:gd name="T11" fmla="*/ 40 h 178"/>
                <a:gd name="T12" fmla="*/ 82 w 113"/>
                <a:gd name="T13" fmla="*/ 32 h 178"/>
                <a:gd name="T14" fmla="*/ 40 w 113"/>
                <a:gd name="T15" fmla="*/ 90 h 178"/>
                <a:gd name="T16" fmla="*/ 85 w 113"/>
                <a:gd name="T17" fmla="*/ 146 h 178"/>
                <a:gd name="T18" fmla="*/ 112 w 113"/>
                <a:gd name="T19" fmla="*/ 138 h 178"/>
                <a:gd name="T20" fmla="*/ 112 w 113"/>
                <a:gd name="T21" fmla="*/ 1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78">
                  <a:moveTo>
                    <a:pt x="112" y="169"/>
                  </a:moveTo>
                  <a:cubicBezTo>
                    <a:pt x="104" y="172"/>
                    <a:pt x="90" y="177"/>
                    <a:pt x="74" y="177"/>
                  </a:cubicBezTo>
                  <a:cubicBezTo>
                    <a:pt x="22" y="177"/>
                    <a:pt x="0" y="138"/>
                    <a:pt x="0" y="90"/>
                  </a:cubicBezTo>
                  <a:cubicBezTo>
                    <a:pt x="0" y="40"/>
                    <a:pt x="24" y="0"/>
                    <a:pt x="77" y="0"/>
                  </a:cubicBezTo>
                  <a:cubicBezTo>
                    <a:pt x="90" y="0"/>
                    <a:pt x="104" y="5"/>
                    <a:pt x="112" y="8"/>
                  </a:cubicBezTo>
                  <a:lnTo>
                    <a:pt x="109" y="40"/>
                  </a:lnTo>
                  <a:cubicBezTo>
                    <a:pt x="101" y="37"/>
                    <a:pt x="93" y="32"/>
                    <a:pt x="82" y="32"/>
                  </a:cubicBezTo>
                  <a:cubicBezTo>
                    <a:pt x="53" y="32"/>
                    <a:pt x="40" y="53"/>
                    <a:pt x="40" y="90"/>
                  </a:cubicBezTo>
                  <a:cubicBezTo>
                    <a:pt x="40" y="122"/>
                    <a:pt x="53" y="146"/>
                    <a:pt x="85" y="146"/>
                  </a:cubicBezTo>
                  <a:cubicBezTo>
                    <a:pt x="96" y="146"/>
                    <a:pt x="106" y="140"/>
                    <a:pt x="112" y="138"/>
                  </a:cubicBezTo>
                  <a:lnTo>
                    <a:pt x="112" y="1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8" name="Freeform 70">
              <a:extLst>
                <a:ext uri="{FF2B5EF4-FFF2-40B4-BE49-F238E27FC236}">
                  <a16:creationId xmlns:a16="http://schemas.microsoft.com/office/drawing/2014/main" id="{DA875ADE-EAA3-D048-BE52-0F3C71CED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8025" y="2052638"/>
              <a:ext cx="47625" cy="63500"/>
            </a:xfrm>
            <a:custGeom>
              <a:avLst/>
              <a:gdLst>
                <a:gd name="T0" fmla="*/ 16 w 131"/>
                <a:gd name="T1" fmla="*/ 14 h 176"/>
                <a:gd name="T2" fmla="*/ 66 w 131"/>
                <a:gd name="T3" fmla="*/ 0 h 176"/>
                <a:gd name="T4" fmla="*/ 127 w 131"/>
                <a:gd name="T5" fmla="*/ 69 h 176"/>
                <a:gd name="T6" fmla="*/ 127 w 131"/>
                <a:gd name="T7" fmla="*/ 143 h 176"/>
                <a:gd name="T8" fmla="*/ 130 w 131"/>
                <a:gd name="T9" fmla="*/ 172 h 176"/>
                <a:gd name="T10" fmla="*/ 95 w 131"/>
                <a:gd name="T11" fmla="*/ 172 h 176"/>
                <a:gd name="T12" fmla="*/ 93 w 131"/>
                <a:gd name="T13" fmla="*/ 149 h 176"/>
                <a:gd name="T14" fmla="*/ 48 w 131"/>
                <a:gd name="T15" fmla="*/ 175 h 176"/>
                <a:gd name="T16" fmla="*/ 0 w 131"/>
                <a:gd name="T17" fmla="*/ 125 h 176"/>
                <a:gd name="T18" fmla="*/ 85 w 131"/>
                <a:gd name="T19" fmla="*/ 67 h 176"/>
                <a:gd name="T20" fmla="*/ 93 w 131"/>
                <a:gd name="T21" fmla="*/ 67 h 176"/>
                <a:gd name="T22" fmla="*/ 93 w 131"/>
                <a:gd name="T23" fmla="*/ 61 h 176"/>
                <a:gd name="T24" fmla="*/ 64 w 131"/>
                <a:gd name="T25" fmla="*/ 29 h 176"/>
                <a:gd name="T26" fmla="*/ 19 w 131"/>
                <a:gd name="T27" fmla="*/ 45 h 176"/>
                <a:gd name="T28" fmla="*/ 16 w 131"/>
                <a:gd name="T29" fmla="*/ 14 h 176"/>
                <a:gd name="T30" fmla="*/ 90 w 131"/>
                <a:gd name="T31" fmla="*/ 93 h 176"/>
                <a:gd name="T32" fmla="*/ 37 w 131"/>
                <a:gd name="T33" fmla="*/ 125 h 176"/>
                <a:gd name="T34" fmla="*/ 61 w 131"/>
                <a:gd name="T35" fmla="*/ 151 h 176"/>
                <a:gd name="T36" fmla="*/ 93 w 131"/>
                <a:gd name="T37" fmla="*/ 101 h 176"/>
                <a:gd name="T38" fmla="*/ 93 w 131"/>
                <a:gd name="T39" fmla="*/ 93 h 176"/>
                <a:gd name="T40" fmla="*/ 90 w 131"/>
                <a:gd name="T41" fmla="*/ 9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7"/>
                    <a:pt x="85" y="67"/>
                  </a:cubicBezTo>
                  <a:lnTo>
                    <a:pt x="93" y="67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19" y="45"/>
                  </a:cubicBezTo>
                  <a:lnTo>
                    <a:pt x="16" y="14"/>
                  </a:lnTo>
                  <a:close/>
                  <a:moveTo>
                    <a:pt x="90" y="93"/>
                  </a:moveTo>
                  <a:cubicBezTo>
                    <a:pt x="58" y="93"/>
                    <a:pt x="37" y="101"/>
                    <a:pt x="37" y="125"/>
                  </a:cubicBezTo>
                  <a:cubicBezTo>
                    <a:pt x="37" y="141"/>
                    <a:pt x="48" y="151"/>
                    <a:pt x="61" y="151"/>
                  </a:cubicBezTo>
                  <a:cubicBezTo>
                    <a:pt x="85" y="151"/>
                    <a:pt x="93" y="133"/>
                    <a:pt x="93" y="101"/>
                  </a:cubicBezTo>
                  <a:lnTo>
                    <a:pt x="93" y="93"/>
                  </a:lnTo>
                  <a:lnTo>
                    <a:pt x="90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9" name="Freeform 71">
              <a:extLst>
                <a:ext uri="{FF2B5EF4-FFF2-40B4-BE49-F238E27FC236}">
                  <a16:creationId xmlns:a16="http://schemas.microsoft.com/office/drawing/2014/main" id="{670AB4FB-CB25-8744-8BE6-7A54ACE91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8350" y="2052638"/>
              <a:ext cx="46038" cy="63500"/>
            </a:xfrm>
            <a:custGeom>
              <a:avLst/>
              <a:gdLst>
                <a:gd name="T0" fmla="*/ 0 w 128"/>
                <a:gd name="T1" fmla="*/ 32 h 176"/>
                <a:gd name="T2" fmla="*/ 0 w 128"/>
                <a:gd name="T3" fmla="*/ 3 h 176"/>
                <a:gd name="T4" fmla="*/ 37 w 128"/>
                <a:gd name="T5" fmla="*/ 3 h 176"/>
                <a:gd name="T6" fmla="*/ 37 w 128"/>
                <a:gd name="T7" fmla="*/ 29 h 176"/>
                <a:gd name="T8" fmla="*/ 37 w 128"/>
                <a:gd name="T9" fmla="*/ 29 h 176"/>
                <a:gd name="T10" fmla="*/ 37 w 128"/>
                <a:gd name="T11" fmla="*/ 29 h 176"/>
                <a:gd name="T12" fmla="*/ 79 w 128"/>
                <a:gd name="T13" fmla="*/ 0 h 176"/>
                <a:gd name="T14" fmla="*/ 127 w 128"/>
                <a:gd name="T15" fmla="*/ 64 h 176"/>
                <a:gd name="T16" fmla="*/ 127 w 128"/>
                <a:gd name="T17" fmla="*/ 175 h 176"/>
                <a:gd name="T18" fmla="*/ 87 w 128"/>
                <a:gd name="T19" fmla="*/ 175 h 176"/>
                <a:gd name="T20" fmla="*/ 87 w 128"/>
                <a:gd name="T21" fmla="*/ 72 h 176"/>
                <a:gd name="T22" fmla="*/ 66 w 128"/>
                <a:gd name="T23" fmla="*/ 35 h 176"/>
                <a:gd name="T24" fmla="*/ 40 w 128"/>
                <a:gd name="T25" fmla="*/ 74 h 176"/>
                <a:gd name="T26" fmla="*/ 40 w 128"/>
                <a:gd name="T27" fmla="*/ 175 h 176"/>
                <a:gd name="T28" fmla="*/ 0 w 128"/>
                <a:gd name="T29" fmla="*/ 175 h 176"/>
                <a:gd name="T30" fmla="*/ 0 w 128"/>
                <a:gd name="T31" fmla="*/ 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lnTo>
                    <a:pt x="37" y="29"/>
                  </a:lnTo>
                  <a:lnTo>
                    <a:pt x="37" y="29"/>
                  </a:ln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87" y="175"/>
                  </a:lnTo>
                  <a:lnTo>
                    <a:pt x="87" y="72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45" y="35"/>
                    <a:pt x="40" y="53"/>
                    <a:pt x="40" y="74"/>
                  </a:cubicBezTo>
                  <a:lnTo>
                    <a:pt x="40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0" name="Freeform 72">
              <a:extLst>
                <a:ext uri="{FF2B5EF4-FFF2-40B4-BE49-F238E27FC236}">
                  <a16:creationId xmlns:a16="http://schemas.microsoft.com/office/drawing/2014/main" id="{9FCB3C3F-91F7-A142-952E-B246780554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4150" y="2136775"/>
              <a:ext cx="52388" cy="84138"/>
            </a:xfrm>
            <a:custGeom>
              <a:avLst/>
              <a:gdLst>
                <a:gd name="T0" fmla="*/ 0 w 146"/>
                <a:gd name="T1" fmla="*/ 0 h 234"/>
                <a:gd name="T2" fmla="*/ 39 w 146"/>
                <a:gd name="T3" fmla="*/ 0 h 234"/>
                <a:gd name="T4" fmla="*/ 39 w 146"/>
                <a:gd name="T5" fmla="*/ 95 h 234"/>
                <a:gd name="T6" fmla="*/ 103 w 146"/>
                <a:gd name="T7" fmla="*/ 95 h 234"/>
                <a:gd name="T8" fmla="*/ 103 w 146"/>
                <a:gd name="T9" fmla="*/ 0 h 234"/>
                <a:gd name="T10" fmla="*/ 145 w 146"/>
                <a:gd name="T11" fmla="*/ 0 h 234"/>
                <a:gd name="T12" fmla="*/ 145 w 146"/>
                <a:gd name="T13" fmla="*/ 233 h 234"/>
                <a:gd name="T14" fmla="*/ 103 w 146"/>
                <a:gd name="T15" fmla="*/ 233 h 234"/>
                <a:gd name="T16" fmla="*/ 103 w 146"/>
                <a:gd name="T17" fmla="*/ 130 h 234"/>
                <a:gd name="T18" fmla="*/ 39 w 146"/>
                <a:gd name="T19" fmla="*/ 130 h 234"/>
                <a:gd name="T20" fmla="*/ 39 w 146"/>
                <a:gd name="T21" fmla="*/ 233 h 234"/>
                <a:gd name="T22" fmla="*/ 0 w 146"/>
                <a:gd name="T23" fmla="*/ 233 h 234"/>
                <a:gd name="T24" fmla="*/ 0 w 146"/>
                <a:gd name="T25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" h="234">
                  <a:moveTo>
                    <a:pt x="0" y="0"/>
                  </a:moveTo>
                  <a:lnTo>
                    <a:pt x="39" y="0"/>
                  </a:lnTo>
                  <a:lnTo>
                    <a:pt x="39" y="95"/>
                  </a:lnTo>
                  <a:lnTo>
                    <a:pt x="103" y="95"/>
                  </a:lnTo>
                  <a:lnTo>
                    <a:pt x="103" y="0"/>
                  </a:lnTo>
                  <a:lnTo>
                    <a:pt x="145" y="0"/>
                  </a:lnTo>
                  <a:lnTo>
                    <a:pt x="145" y="233"/>
                  </a:lnTo>
                  <a:lnTo>
                    <a:pt x="103" y="233"/>
                  </a:lnTo>
                  <a:lnTo>
                    <a:pt x="103" y="130"/>
                  </a:lnTo>
                  <a:lnTo>
                    <a:pt x="39" y="130"/>
                  </a:lnTo>
                  <a:lnTo>
                    <a:pt x="39" y="233"/>
                  </a:lnTo>
                  <a:lnTo>
                    <a:pt x="0" y="233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1" name="Freeform 73">
              <a:extLst>
                <a:ext uri="{FF2B5EF4-FFF2-40B4-BE49-F238E27FC236}">
                  <a16:creationId xmlns:a16="http://schemas.microsoft.com/office/drawing/2014/main" id="{0839320D-7566-BE42-BAB3-83CC22A25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0825" y="2157413"/>
              <a:ext cx="47625" cy="65087"/>
            </a:xfrm>
            <a:custGeom>
              <a:avLst/>
              <a:gdLst>
                <a:gd name="T0" fmla="*/ 122 w 131"/>
                <a:gd name="T1" fmla="*/ 167 h 179"/>
                <a:gd name="T2" fmla="*/ 74 w 131"/>
                <a:gd name="T3" fmla="*/ 178 h 179"/>
                <a:gd name="T4" fmla="*/ 0 w 131"/>
                <a:gd name="T5" fmla="*/ 90 h 179"/>
                <a:gd name="T6" fmla="*/ 66 w 131"/>
                <a:gd name="T7" fmla="*/ 0 h 179"/>
                <a:gd name="T8" fmla="*/ 130 w 131"/>
                <a:gd name="T9" fmla="*/ 93 h 179"/>
                <a:gd name="T10" fmla="*/ 130 w 131"/>
                <a:gd name="T11" fmla="*/ 101 h 179"/>
                <a:gd name="T12" fmla="*/ 37 w 131"/>
                <a:gd name="T13" fmla="*/ 101 h 179"/>
                <a:gd name="T14" fmla="*/ 77 w 131"/>
                <a:gd name="T15" fmla="*/ 149 h 179"/>
                <a:gd name="T16" fmla="*/ 119 w 131"/>
                <a:gd name="T17" fmla="*/ 135 h 179"/>
                <a:gd name="T18" fmla="*/ 122 w 131"/>
                <a:gd name="T19" fmla="*/ 167 h 179"/>
                <a:gd name="T20" fmla="*/ 90 w 131"/>
                <a:gd name="T21" fmla="*/ 74 h 179"/>
                <a:gd name="T22" fmla="*/ 64 w 131"/>
                <a:gd name="T23" fmla="*/ 29 h 179"/>
                <a:gd name="T24" fmla="*/ 34 w 131"/>
                <a:gd name="T25" fmla="*/ 74 h 179"/>
                <a:gd name="T26" fmla="*/ 90 w 131"/>
                <a:gd name="T27" fmla="*/ 7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179">
                  <a:moveTo>
                    <a:pt x="122" y="167"/>
                  </a:moveTo>
                  <a:cubicBezTo>
                    <a:pt x="114" y="170"/>
                    <a:pt x="98" y="178"/>
                    <a:pt x="74" y="178"/>
                  </a:cubicBezTo>
                  <a:cubicBezTo>
                    <a:pt x="21" y="178"/>
                    <a:pt x="0" y="138"/>
                    <a:pt x="0" y="90"/>
                  </a:cubicBezTo>
                  <a:cubicBezTo>
                    <a:pt x="0" y="40"/>
                    <a:pt x="27" y="0"/>
                    <a:pt x="66" y="0"/>
                  </a:cubicBezTo>
                  <a:cubicBezTo>
                    <a:pt x="101" y="0"/>
                    <a:pt x="130" y="21"/>
                    <a:pt x="130" y="93"/>
                  </a:cubicBezTo>
                  <a:lnTo>
                    <a:pt x="130" y="101"/>
                  </a:lnTo>
                  <a:lnTo>
                    <a:pt x="37" y="101"/>
                  </a:lnTo>
                  <a:cubicBezTo>
                    <a:pt x="37" y="130"/>
                    <a:pt x="48" y="149"/>
                    <a:pt x="77" y="149"/>
                  </a:cubicBezTo>
                  <a:cubicBezTo>
                    <a:pt x="101" y="149"/>
                    <a:pt x="111" y="141"/>
                    <a:pt x="119" y="135"/>
                  </a:cubicBezTo>
                  <a:lnTo>
                    <a:pt x="122" y="167"/>
                  </a:lnTo>
                  <a:close/>
                  <a:moveTo>
                    <a:pt x="90" y="74"/>
                  </a:moveTo>
                  <a:cubicBezTo>
                    <a:pt x="90" y="45"/>
                    <a:pt x="80" y="29"/>
                    <a:pt x="64" y="29"/>
                  </a:cubicBezTo>
                  <a:cubicBezTo>
                    <a:pt x="42" y="29"/>
                    <a:pt x="34" y="53"/>
                    <a:pt x="34" y="74"/>
                  </a:cubicBezTo>
                  <a:lnTo>
                    <a:pt x="90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" name="Freeform 74">
              <a:extLst>
                <a:ext uri="{FF2B5EF4-FFF2-40B4-BE49-F238E27FC236}">
                  <a16:creationId xmlns:a16="http://schemas.microsoft.com/office/drawing/2014/main" id="{5D5EF389-EEE9-9545-BCE5-888C434ABA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6388" y="2157413"/>
              <a:ext cx="46037" cy="63500"/>
            </a:xfrm>
            <a:custGeom>
              <a:avLst/>
              <a:gdLst>
                <a:gd name="T0" fmla="*/ 16 w 130"/>
                <a:gd name="T1" fmla="*/ 13 h 176"/>
                <a:gd name="T2" fmla="*/ 66 w 130"/>
                <a:gd name="T3" fmla="*/ 0 h 176"/>
                <a:gd name="T4" fmla="*/ 127 w 130"/>
                <a:gd name="T5" fmla="*/ 69 h 176"/>
                <a:gd name="T6" fmla="*/ 127 w 130"/>
                <a:gd name="T7" fmla="*/ 143 h 176"/>
                <a:gd name="T8" fmla="*/ 129 w 130"/>
                <a:gd name="T9" fmla="*/ 172 h 176"/>
                <a:gd name="T10" fmla="*/ 95 w 130"/>
                <a:gd name="T11" fmla="*/ 172 h 176"/>
                <a:gd name="T12" fmla="*/ 92 w 130"/>
                <a:gd name="T13" fmla="*/ 149 h 176"/>
                <a:gd name="T14" fmla="*/ 47 w 130"/>
                <a:gd name="T15" fmla="*/ 175 h 176"/>
                <a:gd name="T16" fmla="*/ 0 w 130"/>
                <a:gd name="T17" fmla="*/ 125 h 176"/>
                <a:gd name="T18" fmla="*/ 84 w 130"/>
                <a:gd name="T19" fmla="*/ 66 h 176"/>
                <a:gd name="T20" fmla="*/ 92 w 130"/>
                <a:gd name="T21" fmla="*/ 66 h 176"/>
                <a:gd name="T22" fmla="*/ 92 w 130"/>
                <a:gd name="T23" fmla="*/ 61 h 176"/>
                <a:gd name="T24" fmla="*/ 63 w 130"/>
                <a:gd name="T25" fmla="*/ 29 h 176"/>
                <a:gd name="T26" fmla="*/ 18 w 130"/>
                <a:gd name="T27" fmla="*/ 45 h 176"/>
                <a:gd name="T28" fmla="*/ 16 w 130"/>
                <a:gd name="T29" fmla="*/ 13 h 176"/>
                <a:gd name="T30" fmla="*/ 90 w 130"/>
                <a:gd name="T31" fmla="*/ 90 h 176"/>
                <a:gd name="T32" fmla="*/ 37 w 130"/>
                <a:gd name="T33" fmla="*/ 122 h 176"/>
                <a:gd name="T34" fmla="*/ 61 w 130"/>
                <a:gd name="T35" fmla="*/ 149 h 176"/>
                <a:gd name="T36" fmla="*/ 92 w 130"/>
                <a:gd name="T37" fmla="*/ 98 h 176"/>
                <a:gd name="T38" fmla="*/ 92 w 130"/>
                <a:gd name="T39" fmla="*/ 90 h 176"/>
                <a:gd name="T40" fmla="*/ 90 w 130"/>
                <a:gd name="T41" fmla="*/ 9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6">
                  <a:moveTo>
                    <a:pt x="16" y="13"/>
                  </a:moveTo>
                  <a:cubicBezTo>
                    <a:pt x="26" y="8"/>
                    <a:pt x="42" y="0"/>
                    <a:pt x="66" y="0"/>
                  </a:cubicBezTo>
                  <a:cubicBezTo>
                    <a:pt x="116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6"/>
                    <a:pt x="127" y="167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6"/>
                    <a:pt x="92" y="149"/>
                  </a:cubicBezTo>
                  <a:cubicBezTo>
                    <a:pt x="82" y="162"/>
                    <a:pt x="71" y="175"/>
                    <a:pt x="47" y="175"/>
                  </a:cubicBezTo>
                  <a:cubicBezTo>
                    <a:pt x="23" y="175"/>
                    <a:pt x="0" y="156"/>
                    <a:pt x="0" y="125"/>
                  </a:cubicBezTo>
                  <a:cubicBezTo>
                    <a:pt x="0" y="77"/>
                    <a:pt x="34" y="66"/>
                    <a:pt x="84" y="66"/>
                  </a:cubicBezTo>
                  <a:lnTo>
                    <a:pt x="92" y="66"/>
                  </a:lnTo>
                  <a:lnTo>
                    <a:pt x="92" y="61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40"/>
                    <a:pt x="18" y="45"/>
                  </a:cubicBezTo>
                  <a:lnTo>
                    <a:pt x="16" y="13"/>
                  </a:lnTo>
                  <a:close/>
                  <a:moveTo>
                    <a:pt x="90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7" y="149"/>
                    <a:pt x="61" y="149"/>
                  </a:cubicBezTo>
                  <a:cubicBezTo>
                    <a:pt x="84" y="149"/>
                    <a:pt x="92" y="130"/>
                    <a:pt x="92" y="98"/>
                  </a:cubicBezTo>
                  <a:lnTo>
                    <a:pt x="92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" name="Freeform 75">
              <a:extLst>
                <a:ext uri="{FF2B5EF4-FFF2-40B4-BE49-F238E27FC236}">
                  <a16:creationId xmlns:a16="http://schemas.microsoft.com/office/drawing/2014/main" id="{79CABC2B-054F-7B4D-BDF0-2AEE76622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8300" y="2130425"/>
              <a:ext cx="14288" cy="90488"/>
            </a:xfrm>
            <a:custGeom>
              <a:avLst/>
              <a:gdLst>
                <a:gd name="T0" fmla="*/ 20 w 40"/>
                <a:gd name="T1" fmla="*/ 252 h 253"/>
                <a:gd name="T2" fmla="*/ 0 w 40"/>
                <a:gd name="T3" fmla="*/ 252 h 253"/>
                <a:gd name="T4" fmla="*/ 0 w 40"/>
                <a:gd name="T5" fmla="*/ 0 h 253"/>
                <a:gd name="T6" fmla="*/ 39 w 40"/>
                <a:gd name="T7" fmla="*/ 0 h 253"/>
                <a:gd name="T8" fmla="*/ 39 w 40"/>
                <a:gd name="T9" fmla="*/ 252 h 253"/>
                <a:gd name="T10" fmla="*/ 20 w 40"/>
                <a:gd name="T11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53">
                  <a:moveTo>
                    <a:pt x="20" y="252"/>
                  </a:moveTo>
                  <a:lnTo>
                    <a:pt x="0" y="252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252"/>
                  </a:lnTo>
                  <a:lnTo>
                    <a:pt x="20" y="25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" name="Freeform 76">
              <a:extLst>
                <a:ext uri="{FF2B5EF4-FFF2-40B4-BE49-F238E27FC236}">
                  <a16:creationId xmlns:a16="http://schemas.microsoft.com/office/drawing/2014/main" id="{FFDB7723-4C05-C444-9FBD-55BAAD773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3700" y="2141538"/>
              <a:ext cx="34925" cy="80962"/>
            </a:xfrm>
            <a:custGeom>
              <a:avLst/>
              <a:gdLst>
                <a:gd name="T0" fmla="*/ 23 w 99"/>
                <a:gd name="T1" fmla="*/ 13 h 224"/>
                <a:gd name="T2" fmla="*/ 63 w 99"/>
                <a:gd name="T3" fmla="*/ 0 h 224"/>
                <a:gd name="T4" fmla="*/ 63 w 99"/>
                <a:gd name="T5" fmla="*/ 48 h 224"/>
                <a:gd name="T6" fmla="*/ 95 w 99"/>
                <a:gd name="T7" fmla="*/ 48 h 224"/>
                <a:gd name="T8" fmla="*/ 95 w 99"/>
                <a:gd name="T9" fmla="*/ 77 h 224"/>
                <a:gd name="T10" fmla="*/ 63 w 99"/>
                <a:gd name="T11" fmla="*/ 77 h 224"/>
                <a:gd name="T12" fmla="*/ 63 w 99"/>
                <a:gd name="T13" fmla="*/ 167 h 224"/>
                <a:gd name="T14" fmla="*/ 82 w 99"/>
                <a:gd name="T15" fmla="*/ 191 h 224"/>
                <a:gd name="T16" fmla="*/ 98 w 99"/>
                <a:gd name="T17" fmla="*/ 188 h 224"/>
                <a:gd name="T18" fmla="*/ 98 w 99"/>
                <a:gd name="T19" fmla="*/ 217 h 224"/>
                <a:gd name="T20" fmla="*/ 71 w 99"/>
                <a:gd name="T21" fmla="*/ 223 h 224"/>
                <a:gd name="T22" fmla="*/ 26 w 99"/>
                <a:gd name="T23" fmla="*/ 172 h 224"/>
                <a:gd name="T24" fmla="*/ 26 w 99"/>
                <a:gd name="T25" fmla="*/ 77 h 224"/>
                <a:gd name="T26" fmla="*/ 0 w 99"/>
                <a:gd name="T27" fmla="*/ 77 h 224"/>
                <a:gd name="T28" fmla="*/ 0 w 99"/>
                <a:gd name="T29" fmla="*/ 48 h 224"/>
                <a:gd name="T30" fmla="*/ 26 w 99"/>
                <a:gd name="T31" fmla="*/ 48 h 224"/>
                <a:gd name="T32" fmla="*/ 23 w 99"/>
                <a:gd name="T33" fmla="*/ 1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224">
                  <a:moveTo>
                    <a:pt x="23" y="13"/>
                  </a:moveTo>
                  <a:lnTo>
                    <a:pt x="63" y="0"/>
                  </a:lnTo>
                  <a:lnTo>
                    <a:pt x="63" y="48"/>
                  </a:lnTo>
                  <a:lnTo>
                    <a:pt x="95" y="48"/>
                  </a:lnTo>
                  <a:lnTo>
                    <a:pt x="95" y="77"/>
                  </a:lnTo>
                  <a:lnTo>
                    <a:pt x="63" y="77"/>
                  </a:lnTo>
                  <a:lnTo>
                    <a:pt x="63" y="167"/>
                  </a:lnTo>
                  <a:cubicBezTo>
                    <a:pt x="63" y="186"/>
                    <a:pt x="68" y="191"/>
                    <a:pt x="82" y="191"/>
                  </a:cubicBezTo>
                  <a:cubicBezTo>
                    <a:pt x="90" y="191"/>
                    <a:pt x="92" y="188"/>
                    <a:pt x="98" y="188"/>
                  </a:cubicBezTo>
                  <a:lnTo>
                    <a:pt x="98" y="217"/>
                  </a:lnTo>
                  <a:cubicBezTo>
                    <a:pt x="92" y="220"/>
                    <a:pt x="84" y="223"/>
                    <a:pt x="71" y="223"/>
                  </a:cubicBezTo>
                  <a:cubicBezTo>
                    <a:pt x="42" y="223"/>
                    <a:pt x="26" y="209"/>
                    <a:pt x="26" y="172"/>
                  </a:cubicBezTo>
                  <a:lnTo>
                    <a:pt x="26" y="77"/>
                  </a:lnTo>
                  <a:lnTo>
                    <a:pt x="0" y="77"/>
                  </a:lnTo>
                  <a:lnTo>
                    <a:pt x="0" y="48"/>
                  </a:lnTo>
                  <a:lnTo>
                    <a:pt x="26" y="48"/>
                  </a:lnTo>
                  <a:lnTo>
                    <a:pt x="23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5" name="Freeform 77">
              <a:extLst>
                <a:ext uri="{FF2B5EF4-FFF2-40B4-BE49-F238E27FC236}">
                  <a16:creationId xmlns:a16="http://schemas.microsoft.com/office/drawing/2014/main" id="{8049039A-8450-C549-A4FA-084BDFE973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8150" y="2130425"/>
              <a:ext cx="46038" cy="90488"/>
            </a:xfrm>
            <a:custGeom>
              <a:avLst/>
              <a:gdLst>
                <a:gd name="T0" fmla="*/ 0 w 128"/>
                <a:gd name="T1" fmla="*/ 0 h 253"/>
                <a:gd name="T2" fmla="*/ 40 w 128"/>
                <a:gd name="T3" fmla="*/ 0 h 253"/>
                <a:gd name="T4" fmla="*/ 40 w 128"/>
                <a:gd name="T5" fmla="*/ 101 h 253"/>
                <a:gd name="T6" fmla="*/ 40 w 128"/>
                <a:gd name="T7" fmla="*/ 101 h 253"/>
                <a:gd name="T8" fmla="*/ 80 w 128"/>
                <a:gd name="T9" fmla="*/ 77 h 253"/>
                <a:gd name="T10" fmla="*/ 127 w 128"/>
                <a:gd name="T11" fmla="*/ 141 h 253"/>
                <a:gd name="T12" fmla="*/ 127 w 128"/>
                <a:gd name="T13" fmla="*/ 252 h 253"/>
                <a:gd name="T14" fmla="*/ 87 w 128"/>
                <a:gd name="T15" fmla="*/ 252 h 253"/>
                <a:gd name="T16" fmla="*/ 87 w 128"/>
                <a:gd name="T17" fmla="*/ 149 h 253"/>
                <a:gd name="T18" fmla="*/ 66 w 128"/>
                <a:gd name="T19" fmla="*/ 112 h 253"/>
                <a:gd name="T20" fmla="*/ 40 w 128"/>
                <a:gd name="T21" fmla="*/ 151 h 253"/>
                <a:gd name="T22" fmla="*/ 40 w 128"/>
                <a:gd name="T23" fmla="*/ 252 h 253"/>
                <a:gd name="T24" fmla="*/ 0 w 128"/>
                <a:gd name="T25" fmla="*/ 252 h 253"/>
                <a:gd name="T26" fmla="*/ 0 w 128"/>
                <a:gd name="T2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253">
                  <a:moveTo>
                    <a:pt x="0" y="0"/>
                  </a:moveTo>
                  <a:lnTo>
                    <a:pt x="40" y="0"/>
                  </a:lnTo>
                  <a:lnTo>
                    <a:pt x="40" y="101"/>
                  </a:lnTo>
                  <a:lnTo>
                    <a:pt x="40" y="101"/>
                  </a:lnTo>
                  <a:cubicBezTo>
                    <a:pt x="48" y="90"/>
                    <a:pt x="56" y="77"/>
                    <a:pt x="80" y="77"/>
                  </a:cubicBezTo>
                  <a:cubicBezTo>
                    <a:pt x="117" y="77"/>
                    <a:pt x="127" y="106"/>
                    <a:pt x="127" y="141"/>
                  </a:cubicBezTo>
                  <a:lnTo>
                    <a:pt x="127" y="252"/>
                  </a:lnTo>
                  <a:lnTo>
                    <a:pt x="87" y="252"/>
                  </a:lnTo>
                  <a:lnTo>
                    <a:pt x="87" y="149"/>
                  </a:lnTo>
                  <a:cubicBezTo>
                    <a:pt x="87" y="122"/>
                    <a:pt x="82" y="112"/>
                    <a:pt x="66" y="112"/>
                  </a:cubicBezTo>
                  <a:cubicBezTo>
                    <a:pt x="45" y="112"/>
                    <a:pt x="40" y="130"/>
                    <a:pt x="40" y="151"/>
                  </a:cubicBezTo>
                  <a:lnTo>
                    <a:pt x="40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" name="Freeform 78">
              <a:extLst>
                <a:ext uri="{FF2B5EF4-FFF2-40B4-BE49-F238E27FC236}">
                  <a16:creationId xmlns:a16="http://schemas.microsoft.com/office/drawing/2014/main" id="{E78802B9-51D9-6742-80E2-AA09870581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0975" y="2241550"/>
              <a:ext cx="63500" cy="85725"/>
            </a:xfrm>
            <a:custGeom>
              <a:avLst/>
              <a:gdLst>
                <a:gd name="T0" fmla="*/ 175 w 176"/>
                <a:gd name="T1" fmla="*/ 119 h 239"/>
                <a:gd name="T2" fmla="*/ 87 w 176"/>
                <a:gd name="T3" fmla="*/ 238 h 239"/>
                <a:gd name="T4" fmla="*/ 0 w 176"/>
                <a:gd name="T5" fmla="*/ 119 h 239"/>
                <a:gd name="T6" fmla="*/ 87 w 176"/>
                <a:gd name="T7" fmla="*/ 0 h 239"/>
                <a:gd name="T8" fmla="*/ 175 w 176"/>
                <a:gd name="T9" fmla="*/ 119 h 239"/>
                <a:gd name="T10" fmla="*/ 133 w 176"/>
                <a:gd name="T11" fmla="*/ 119 h 239"/>
                <a:gd name="T12" fmla="*/ 87 w 176"/>
                <a:gd name="T13" fmla="*/ 31 h 239"/>
                <a:gd name="T14" fmla="*/ 42 w 176"/>
                <a:gd name="T15" fmla="*/ 119 h 239"/>
                <a:gd name="T16" fmla="*/ 87 w 176"/>
                <a:gd name="T17" fmla="*/ 206 h 239"/>
                <a:gd name="T18" fmla="*/ 133 w 176"/>
                <a:gd name="T19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6" h="239">
                  <a:moveTo>
                    <a:pt x="175" y="119"/>
                  </a:moveTo>
                  <a:cubicBezTo>
                    <a:pt x="175" y="204"/>
                    <a:pt x="133" y="238"/>
                    <a:pt x="87" y="238"/>
                  </a:cubicBezTo>
                  <a:cubicBezTo>
                    <a:pt x="42" y="238"/>
                    <a:pt x="0" y="201"/>
                    <a:pt x="0" y="119"/>
                  </a:cubicBezTo>
                  <a:cubicBezTo>
                    <a:pt x="3" y="37"/>
                    <a:pt x="42" y="0"/>
                    <a:pt x="87" y="0"/>
                  </a:cubicBezTo>
                  <a:cubicBezTo>
                    <a:pt x="133" y="0"/>
                    <a:pt x="175" y="37"/>
                    <a:pt x="175" y="119"/>
                  </a:cubicBezTo>
                  <a:close/>
                  <a:moveTo>
                    <a:pt x="133" y="119"/>
                  </a:moveTo>
                  <a:cubicBezTo>
                    <a:pt x="133" y="55"/>
                    <a:pt x="111" y="31"/>
                    <a:pt x="87" y="31"/>
                  </a:cubicBezTo>
                  <a:cubicBezTo>
                    <a:pt x="61" y="31"/>
                    <a:pt x="42" y="55"/>
                    <a:pt x="42" y="119"/>
                  </a:cubicBezTo>
                  <a:cubicBezTo>
                    <a:pt x="42" y="185"/>
                    <a:pt x="64" y="206"/>
                    <a:pt x="87" y="206"/>
                  </a:cubicBezTo>
                  <a:cubicBezTo>
                    <a:pt x="114" y="206"/>
                    <a:pt x="133" y="182"/>
                    <a:pt x="133" y="11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" name="Freeform 79">
              <a:extLst>
                <a:ext uri="{FF2B5EF4-FFF2-40B4-BE49-F238E27FC236}">
                  <a16:creationId xmlns:a16="http://schemas.microsoft.com/office/drawing/2014/main" id="{9ED7B6C8-1AA4-5848-B6DC-A539ABD86A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7175" y="2263775"/>
              <a:ext cx="28575" cy="63500"/>
            </a:xfrm>
            <a:custGeom>
              <a:avLst/>
              <a:gdLst>
                <a:gd name="T0" fmla="*/ 0 w 80"/>
                <a:gd name="T1" fmla="*/ 31 h 175"/>
                <a:gd name="T2" fmla="*/ 0 w 80"/>
                <a:gd name="T3" fmla="*/ 2 h 175"/>
                <a:gd name="T4" fmla="*/ 34 w 80"/>
                <a:gd name="T5" fmla="*/ 2 h 175"/>
                <a:gd name="T6" fmla="*/ 34 w 80"/>
                <a:gd name="T7" fmla="*/ 34 h 175"/>
                <a:gd name="T8" fmla="*/ 34 w 80"/>
                <a:gd name="T9" fmla="*/ 34 h 175"/>
                <a:gd name="T10" fmla="*/ 74 w 80"/>
                <a:gd name="T11" fmla="*/ 0 h 175"/>
                <a:gd name="T12" fmla="*/ 79 w 80"/>
                <a:gd name="T13" fmla="*/ 0 h 175"/>
                <a:gd name="T14" fmla="*/ 79 w 80"/>
                <a:gd name="T15" fmla="*/ 39 h 175"/>
                <a:gd name="T16" fmla="*/ 69 w 80"/>
                <a:gd name="T17" fmla="*/ 37 h 175"/>
                <a:gd name="T18" fmla="*/ 34 w 80"/>
                <a:gd name="T19" fmla="*/ 79 h 175"/>
                <a:gd name="T20" fmla="*/ 34 w 80"/>
                <a:gd name="T21" fmla="*/ 174 h 175"/>
                <a:gd name="T22" fmla="*/ 0 w 80"/>
                <a:gd name="T23" fmla="*/ 174 h 175"/>
                <a:gd name="T24" fmla="*/ 0 w 80"/>
                <a:gd name="T25" fmla="*/ 3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175">
                  <a:moveTo>
                    <a:pt x="0" y="31"/>
                  </a:moveTo>
                  <a:cubicBezTo>
                    <a:pt x="0" y="21"/>
                    <a:pt x="0" y="10"/>
                    <a:pt x="0" y="2"/>
                  </a:cubicBezTo>
                  <a:lnTo>
                    <a:pt x="34" y="2"/>
                  </a:lnTo>
                  <a:cubicBezTo>
                    <a:pt x="34" y="13"/>
                    <a:pt x="34" y="23"/>
                    <a:pt x="34" y="34"/>
                  </a:cubicBezTo>
                  <a:lnTo>
                    <a:pt x="34" y="34"/>
                  </a:lnTo>
                  <a:cubicBezTo>
                    <a:pt x="40" y="21"/>
                    <a:pt x="50" y="0"/>
                    <a:pt x="74" y="0"/>
                  </a:cubicBezTo>
                  <a:cubicBezTo>
                    <a:pt x="77" y="0"/>
                    <a:pt x="79" y="0"/>
                    <a:pt x="79" y="0"/>
                  </a:cubicBezTo>
                  <a:lnTo>
                    <a:pt x="79" y="39"/>
                  </a:lnTo>
                  <a:cubicBezTo>
                    <a:pt x="77" y="39"/>
                    <a:pt x="71" y="37"/>
                    <a:pt x="69" y="37"/>
                  </a:cubicBezTo>
                  <a:cubicBezTo>
                    <a:pt x="53" y="37"/>
                    <a:pt x="34" y="47"/>
                    <a:pt x="34" y="79"/>
                  </a:cubicBezTo>
                  <a:lnTo>
                    <a:pt x="34" y="174"/>
                  </a:lnTo>
                  <a:lnTo>
                    <a:pt x="0" y="174"/>
                  </a:lnTo>
                  <a:lnTo>
                    <a:pt x="0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" name="Freeform 80">
              <a:extLst>
                <a:ext uri="{FF2B5EF4-FFF2-40B4-BE49-F238E27FC236}">
                  <a16:creationId xmlns:a16="http://schemas.microsoft.com/office/drawing/2014/main" id="{DB9FFAE5-285A-5940-ABD8-87DD7E3A5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5275" y="2265363"/>
              <a:ext cx="49213" cy="90487"/>
            </a:xfrm>
            <a:custGeom>
              <a:avLst/>
              <a:gdLst>
                <a:gd name="T0" fmla="*/ 8 w 136"/>
                <a:gd name="T1" fmla="*/ 198 h 250"/>
                <a:gd name="T2" fmla="*/ 55 w 136"/>
                <a:gd name="T3" fmla="*/ 214 h 250"/>
                <a:gd name="T4" fmla="*/ 98 w 136"/>
                <a:gd name="T5" fmla="*/ 161 h 250"/>
                <a:gd name="T6" fmla="*/ 98 w 136"/>
                <a:gd name="T7" fmla="*/ 145 h 250"/>
                <a:gd name="T8" fmla="*/ 55 w 136"/>
                <a:gd name="T9" fmla="*/ 175 h 250"/>
                <a:gd name="T10" fmla="*/ 0 w 136"/>
                <a:gd name="T11" fmla="*/ 90 h 250"/>
                <a:gd name="T12" fmla="*/ 58 w 136"/>
                <a:gd name="T13" fmla="*/ 0 h 250"/>
                <a:gd name="T14" fmla="*/ 100 w 136"/>
                <a:gd name="T15" fmla="*/ 29 h 250"/>
                <a:gd name="T16" fmla="*/ 100 w 136"/>
                <a:gd name="T17" fmla="*/ 2 h 250"/>
                <a:gd name="T18" fmla="*/ 135 w 136"/>
                <a:gd name="T19" fmla="*/ 2 h 250"/>
                <a:gd name="T20" fmla="*/ 135 w 136"/>
                <a:gd name="T21" fmla="*/ 29 h 250"/>
                <a:gd name="T22" fmla="*/ 135 w 136"/>
                <a:gd name="T23" fmla="*/ 156 h 250"/>
                <a:gd name="T24" fmla="*/ 61 w 136"/>
                <a:gd name="T25" fmla="*/ 249 h 250"/>
                <a:gd name="T26" fmla="*/ 5 w 136"/>
                <a:gd name="T27" fmla="*/ 238 h 250"/>
                <a:gd name="T28" fmla="*/ 8 w 136"/>
                <a:gd name="T29" fmla="*/ 198 h 250"/>
                <a:gd name="T30" fmla="*/ 98 w 136"/>
                <a:gd name="T31" fmla="*/ 82 h 250"/>
                <a:gd name="T32" fmla="*/ 66 w 136"/>
                <a:gd name="T33" fmla="*/ 26 h 250"/>
                <a:gd name="T34" fmla="*/ 37 w 136"/>
                <a:gd name="T35" fmla="*/ 82 h 250"/>
                <a:gd name="T36" fmla="*/ 63 w 136"/>
                <a:gd name="T37" fmla="*/ 140 h 250"/>
                <a:gd name="T38" fmla="*/ 98 w 136"/>
                <a:gd name="T39" fmla="*/ 8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" h="250">
                  <a:moveTo>
                    <a:pt x="8" y="198"/>
                  </a:moveTo>
                  <a:cubicBezTo>
                    <a:pt x="16" y="204"/>
                    <a:pt x="34" y="214"/>
                    <a:pt x="55" y="214"/>
                  </a:cubicBezTo>
                  <a:cubicBezTo>
                    <a:pt x="93" y="214"/>
                    <a:pt x="98" y="188"/>
                    <a:pt x="98" y="161"/>
                  </a:cubicBezTo>
                  <a:lnTo>
                    <a:pt x="98" y="145"/>
                  </a:lnTo>
                  <a:cubicBezTo>
                    <a:pt x="93" y="159"/>
                    <a:pt x="82" y="175"/>
                    <a:pt x="55" y="175"/>
                  </a:cubicBezTo>
                  <a:cubicBezTo>
                    <a:pt x="34" y="175"/>
                    <a:pt x="0" y="159"/>
                    <a:pt x="0" y="90"/>
                  </a:cubicBezTo>
                  <a:cubicBezTo>
                    <a:pt x="0" y="42"/>
                    <a:pt x="16" y="0"/>
                    <a:pt x="58" y="0"/>
                  </a:cubicBezTo>
                  <a:cubicBezTo>
                    <a:pt x="82" y="0"/>
                    <a:pt x="93" y="13"/>
                    <a:pt x="100" y="29"/>
                  </a:cubicBezTo>
                  <a:lnTo>
                    <a:pt x="100" y="2"/>
                  </a:lnTo>
                  <a:lnTo>
                    <a:pt x="135" y="2"/>
                  </a:lnTo>
                  <a:lnTo>
                    <a:pt x="135" y="29"/>
                  </a:lnTo>
                  <a:lnTo>
                    <a:pt x="135" y="156"/>
                  </a:lnTo>
                  <a:cubicBezTo>
                    <a:pt x="135" y="209"/>
                    <a:pt x="119" y="249"/>
                    <a:pt x="61" y="249"/>
                  </a:cubicBezTo>
                  <a:cubicBezTo>
                    <a:pt x="34" y="249"/>
                    <a:pt x="16" y="241"/>
                    <a:pt x="5" y="238"/>
                  </a:cubicBezTo>
                  <a:lnTo>
                    <a:pt x="8" y="198"/>
                  </a:lnTo>
                  <a:close/>
                  <a:moveTo>
                    <a:pt x="98" y="82"/>
                  </a:moveTo>
                  <a:cubicBezTo>
                    <a:pt x="98" y="45"/>
                    <a:pt x="85" y="26"/>
                    <a:pt x="66" y="26"/>
                  </a:cubicBezTo>
                  <a:cubicBezTo>
                    <a:pt x="45" y="26"/>
                    <a:pt x="37" y="47"/>
                    <a:pt x="37" y="82"/>
                  </a:cubicBezTo>
                  <a:cubicBezTo>
                    <a:pt x="37" y="124"/>
                    <a:pt x="50" y="140"/>
                    <a:pt x="63" y="140"/>
                  </a:cubicBezTo>
                  <a:cubicBezTo>
                    <a:pt x="87" y="140"/>
                    <a:pt x="98" y="122"/>
                    <a:pt x="98" y="8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" name="Freeform 81">
              <a:extLst>
                <a:ext uri="{FF2B5EF4-FFF2-40B4-BE49-F238E27FC236}">
                  <a16:creationId xmlns:a16="http://schemas.microsoft.com/office/drawing/2014/main" id="{04EFCBAC-4F38-E549-92BB-13509ED3C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4013" y="2263775"/>
              <a:ext cx="47625" cy="63500"/>
            </a:xfrm>
            <a:custGeom>
              <a:avLst/>
              <a:gdLst>
                <a:gd name="T0" fmla="*/ 16 w 131"/>
                <a:gd name="T1" fmla="*/ 13 h 175"/>
                <a:gd name="T2" fmla="*/ 66 w 131"/>
                <a:gd name="T3" fmla="*/ 0 h 175"/>
                <a:gd name="T4" fmla="*/ 127 w 131"/>
                <a:gd name="T5" fmla="*/ 68 h 175"/>
                <a:gd name="T6" fmla="*/ 127 w 131"/>
                <a:gd name="T7" fmla="*/ 143 h 175"/>
                <a:gd name="T8" fmla="*/ 130 w 131"/>
                <a:gd name="T9" fmla="*/ 172 h 175"/>
                <a:gd name="T10" fmla="*/ 95 w 131"/>
                <a:gd name="T11" fmla="*/ 172 h 175"/>
                <a:gd name="T12" fmla="*/ 93 w 131"/>
                <a:gd name="T13" fmla="*/ 148 h 175"/>
                <a:gd name="T14" fmla="*/ 48 w 131"/>
                <a:gd name="T15" fmla="*/ 174 h 175"/>
                <a:gd name="T16" fmla="*/ 0 w 131"/>
                <a:gd name="T17" fmla="*/ 124 h 175"/>
                <a:gd name="T18" fmla="*/ 85 w 131"/>
                <a:gd name="T19" fmla="*/ 66 h 175"/>
                <a:gd name="T20" fmla="*/ 93 w 131"/>
                <a:gd name="T21" fmla="*/ 66 h 175"/>
                <a:gd name="T22" fmla="*/ 93 w 131"/>
                <a:gd name="T23" fmla="*/ 60 h 175"/>
                <a:gd name="T24" fmla="*/ 64 w 131"/>
                <a:gd name="T25" fmla="*/ 29 h 175"/>
                <a:gd name="T26" fmla="*/ 19 w 131"/>
                <a:gd name="T27" fmla="*/ 45 h 175"/>
                <a:gd name="T28" fmla="*/ 16 w 131"/>
                <a:gd name="T29" fmla="*/ 13 h 175"/>
                <a:gd name="T30" fmla="*/ 90 w 131"/>
                <a:gd name="T31" fmla="*/ 92 h 175"/>
                <a:gd name="T32" fmla="*/ 37 w 131"/>
                <a:gd name="T33" fmla="*/ 124 h 175"/>
                <a:gd name="T34" fmla="*/ 61 w 131"/>
                <a:gd name="T35" fmla="*/ 150 h 175"/>
                <a:gd name="T36" fmla="*/ 93 w 131"/>
                <a:gd name="T37" fmla="*/ 100 h 175"/>
                <a:gd name="T38" fmla="*/ 93 w 131"/>
                <a:gd name="T39" fmla="*/ 92 h 175"/>
                <a:gd name="T40" fmla="*/ 90 w 131"/>
                <a:gd name="T41" fmla="*/ 9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75">
                  <a:moveTo>
                    <a:pt x="16" y="13"/>
                  </a:moveTo>
                  <a:cubicBezTo>
                    <a:pt x="27" y="7"/>
                    <a:pt x="42" y="0"/>
                    <a:pt x="66" y="0"/>
                  </a:cubicBezTo>
                  <a:cubicBezTo>
                    <a:pt x="117" y="0"/>
                    <a:pt x="127" y="26"/>
                    <a:pt x="127" y="68"/>
                  </a:cubicBezTo>
                  <a:lnTo>
                    <a:pt x="127" y="143"/>
                  </a:lnTo>
                  <a:cubicBezTo>
                    <a:pt x="127" y="156"/>
                    <a:pt x="127" y="166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6"/>
                    <a:pt x="93" y="148"/>
                  </a:cubicBezTo>
                  <a:cubicBezTo>
                    <a:pt x="82" y="161"/>
                    <a:pt x="72" y="174"/>
                    <a:pt x="48" y="174"/>
                  </a:cubicBezTo>
                  <a:cubicBezTo>
                    <a:pt x="24" y="174"/>
                    <a:pt x="0" y="156"/>
                    <a:pt x="0" y="124"/>
                  </a:cubicBezTo>
                  <a:cubicBezTo>
                    <a:pt x="0" y="76"/>
                    <a:pt x="34" y="66"/>
                    <a:pt x="85" y="66"/>
                  </a:cubicBezTo>
                  <a:lnTo>
                    <a:pt x="93" y="66"/>
                  </a:lnTo>
                  <a:lnTo>
                    <a:pt x="93" y="60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39"/>
                    <a:pt x="19" y="45"/>
                  </a:cubicBezTo>
                  <a:lnTo>
                    <a:pt x="16" y="13"/>
                  </a:lnTo>
                  <a:close/>
                  <a:moveTo>
                    <a:pt x="90" y="92"/>
                  </a:moveTo>
                  <a:cubicBezTo>
                    <a:pt x="58" y="92"/>
                    <a:pt x="37" y="100"/>
                    <a:pt x="37" y="124"/>
                  </a:cubicBezTo>
                  <a:cubicBezTo>
                    <a:pt x="37" y="140"/>
                    <a:pt x="48" y="150"/>
                    <a:pt x="61" y="150"/>
                  </a:cubicBezTo>
                  <a:cubicBezTo>
                    <a:pt x="85" y="150"/>
                    <a:pt x="93" y="132"/>
                    <a:pt x="93" y="100"/>
                  </a:cubicBezTo>
                  <a:lnTo>
                    <a:pt x="93" y="92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" name="Freeform 82">
              <a:extLst>
                <a:ext uri="{FF2B5EF4-FFF2-40B4-BE49-F238E27FC236}">
                  <a16:creationId xmlns:a16="http://schemas.microsoft.com/office/drawing/2014/main" id="{60E73C21-6A21-B74B-9D7F-A430DE940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4338" y="2263775"/>
              <a:ext cx="46037" cy="63500"/>
            </a:xfrm>
            <a:custGeom>
              <a:avLst/>
              <a:gdLst>
                <a:gd name="T0" fmla="*/ 0 w 128"/>
                <a:gd name="T1" fmla="*/ 31 h 178"/>
                <a:gd name="T2" fmla="*/ 0 w 128"/>
                <a:gd name="T3" fmla="*/ 2 h 178"/>
                <a:gd name="T4" fmla="*/ 37 w 128"/>
                <a:gd name="T5" fmla="*/ 2 h 178"/>
                <a:gd name="T6" fmla="*/ 37 w 128"/>
                <a:gd name="T7" fmla="*/ 29 h 178"/>
                <a:gd name="T8" fmla="*/ 37 w 128"/>
                <a:gd name="T9" fmla="*/ 29 h 178"/>
                <a:gd name="T10" fmla="*/ 37 w 128"/>
                <a:gd name="T11" fmla="*/ 29 h 178"/>
                <a:gd name="T12" fmla="*/ 79 w 128"/>
                <a:gd name="T13" fmla="*/ 0 h 178"/>
                <a:gd name="T14" fmla="*/ 127 w 128"/>
                <a:gd name="T15" fmla="*/ 63 h 178"/>
                <a:gd name="T16" fmla="*/ 127 w 128"/>
                <a:gd name="T17" fmla="*/ 174 h 178"/>
                <a:gd name="T18" fmla="*/ 87 w 128"/>
                <a:gd name="T19" fmla="*/ 174 h 178"/>
                <a:gd name="T20" fmla="*/ 87 w 128"/>
                <a:gd name="T21" fmla="*/ 74 h 178"/>
                <a:gd name="T22" fmla="*/ 66 w 128"/>
                <a:gd name="T23" fmla="*/ 37 h 178"/>
                <a:gd name="T24" fmla="*/ 40 w 128"/>
                <a:gd name="T25" fmla="*/ 76 h 178"/>
                <a:gd name="T26" fmla="*/ 40 w 128"/>
                <a:gd name="T27" fmla="*/ 177 h 178"/>
                <a:gd name="T28" fmla="*/ 0 w 128"/>
                <a:gd name="T29" fmla="*/ 177 h 178"/>
                <a:gd name="T30" fmla="*/ 0 w 128"/>
                <a:gd name="T31" fmla="*/ 3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78">
                  <a:moveTo>
                    <a:pt x="0" y="31"/>
                  </a:moveTo>
                  <a:cubicBezTo>
                    <a:pt x="0" y="21"/>
                    <a:pt x="0" y="10"/>
                    <a:pt x="0" y="2"/>
                  </a:cubicBezTo>
                  <a:lnTo>
                    <a:pt x="37" y="2"/>
                  </a:lnTo>
                  <a:cubicBezTo>
                    <a:pt x="37" y="10"/>
                    <a:pt x="37" y="21"/>
                    <a:pt x="37" y="29"/>
                  </a:cubicBezTo>
                  <a:lnTo>
                    <a:pt x="37" y="29"/>
                  </a:lnTo>
                  <a:lnTo>
                    <a:pt x="37" y="29"/>
                  </a:lnTo>
                  <a:cubicBezTo>
                    <a:pt x="42" y="18"/>
                    <a:pt x="53" y="0"/>
                    <a:pt x="79" y="0"/>
                  </a:cubicBezTo>
                  <a:cubicBezTo>
                    <a:pt x="116" y="0"/>
                    <a:pt x="127" y="29"/>
                    <a:pt x="127" y="63"/>
                  </a:cubicBezTo>
                  <a:lnTo>
                    <a:pt x="127" y="174"/>
                  </a:lnTo>
                  <a:lnTo>
                    <a:pt x="87" y="174"/>
                  </a:lnTo>
                  <a:lnTo>
                    <a:pt x="87" y="74"/>
                  </a:lnTo>
                  <a:cubicBezTo>
                    <a:pt x="87" y="47"/>
                    <a:pt x="82" y="37"/>
                    <a:pt x="66" y="37"/>
                  </a:cubicBezTo>
                  <a:cubicBezTo>
                    <a:pt x="45" y="37"/>
                    <a:pt x="40" y="55"/>
                    <a:pt x="40" y="76"/>
                  </a:cubicBezTo>
                  <a:lnTo>
                    <a:pt x="40" y="177"/>
                  </a:lnTo>
                  <a:lnTo>
                    <a:pt x="0" y="177"/>
                  </a:lnTo>
                  <a:lnTo>
                    <a:pt x="0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1" name="Freeform 83">
              <a:extLst>
                <a:ext uri="{FF2B5EF4-FFF2-40B4-BE49-F238E27FC236}">
                  <a16:creationId xmlns:a16="http://schemas.microsoft.com/office/drawing/2014/main" id="{0EBFA1AB-B24A-F246-A609-27B73A270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4663" y="2238375"/>
              <a:ext cx="14287" cy="88900"/>
            </a:xfrm>
            <a:custGeom>
              <a:avLst/>
              <a:gdLst>
                <a:gd name="T0" fmla="*/ 0 w 41"/>
                <a:gd name="T1" fmla="*/ 0 h 247"/>
                <a:gd name="T2" fmla="*/ 40 w 41"/>
                <a:gd name="T3" fmla="*/ 0 h 247"/>
                <a:gd name="T4" fmla="*/ 40 w 41"/>
                <a:gd name="T5" fmla="*/ 39 h 247"/>
                <a:gd name="T6" fmla="*/ 0 w 41"/>
                <a:gd name="T7" fmla="*/ 39 h 247"/>
                <a:gd name="T8" fmla="*/ 0 w 41"/>
                <a:gd name="T9" fmla="*/ 0 h 247"/>
                <a:gd name="T10" fmla="*/ 0 w 41"/>
                <a:gd name="T11" fmla="*/ 74 h 247"/>
                <a:gd name="T12" fmla="*/ 40 w 41"/>
                <a:gd name="T13" fmla="*/ 74 h 247"/>
                <a:gd name="T14" fmla="*/ 40 w 41"/>
                <a:gd name="T15" fmla="*/ 246 h 247"/>
                <a:gd name="T16" fmla="*/ 0 w 41"/>
                <a:gd name="T17" fmla="*/ 246 h 247"/>
                <a:gd name="T18" fmla="*/ 0 w 41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47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0" y="74"/>
                  </a:moveTo>
                  <a:lnTo>
                    <a:pt x="40" y="74"/>
                  </a:lnTo>
                  <a:lnTo>
                    <a:pt x="40" y="246"/>
                  </a:lnTo>
                  <a:lnTo>
                    <a:pt x="0" y="246"/>
                  </a:lnTo>
                  <a:lnTo>
                    <a:pt x="0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" name="Freeform 84">
              <a:extLst>
                <a:ext uri="{FF2B5EF4-FFF2-40B4-BE49-F238E27FC236}">
                  <a16:creationId xmlns:a16="http://schemas.microsoft.com/office/drawing/2014/main" id="{26AF0B99-8FD4-D64E-9350-E9B7A95DE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1650" y="2265363"/>
              <a:ext cx="39688" cy="61912"/>
            </a:xfrm>
            <a:custGeom>
              <a:avLst/>
              <a:gdLst>
                <a:gd name="T0" fmla="*/ 0 w 109"/>
                <a:gd name="T1" fmla="*/ 135 h 173"/>
                <a:gd name="T2" fmla="*/ 69 w 109"/>
                <a:gd name="T3" fmla="*/ 29 h 173"/>
                <a:gd name="T4" fmla="*/ 2 w 109"/>
                <a:gd name="T5" fmla="*/ 29 h 173"/>
                <a:gd name="T6" fmla="*/ 2 w 109"/>
                <a:gd name="T7" fmla="*/ 0 h 173"/>
                <a:gd name="T8" fmla="*/ 108 w 109"/>
                <a:gd name="T9" fmla="*/ 0 h 173"/>
                <a:gd name="T10" fmla="*/ 108 w 109"/>
                <a:gd name="T11" fmla="*/ 34 h 173"/>
                <a:gd name="T12" fmla="*/ 40 w 109"/>
                <a:gd name="T13" fmla="*/ 140 h 173"/>
                <a:gd name="T14" fmla="*/ 108 w 109"/>
                <a:gd name="T15" fmla="*/ 140 h 173"/>
                <a:gd name="T16" fmla="*/ 108 w 109"/>
                <a:gd name="T17" fmla="*/ 172 h 173"/>
                <a:gd name="T18" fmla="*/ 0 w 109"/>
                <a:gd name="T19" fmla="*/ 172 h 173"/>
                <a:gd name="T20" fmla="*/ 0 w 109"/>
                <a:gd name="T2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73">
                  <a:moveTo>
                    <a:pt x="0" y="135"/>
                  </a:moveTo>
                  <a:lnTo>
                    <a:pt x="69" y="29"/>
                  </a:lnTo>
                  <a:lnTo>
                    <a:pt x="2" y="29"/>
                  </a:lnTo>
                  <a:lnTo>
                    <a:pt x="2" y="0"/>
                  </a:lnTo>
                  <a:lnTo>
                    <a:pt x="108" y="0"/>
                  </a:lnTo>
                  <a:lnTo>
                    <a:pt x="108" y="34"/>
                  </a:lnTo>
                  <a:lnTo>
                    <a:pt x="40" y="140"/>
                  </a:lnTo>
                  <a:lnTo>
                    <a:pt x="108" y="140"/>
                  </a:lnTo>
                  <a:lnTo>
                    <a:pt x="108" y="172"/>
                  </a:lnTo>
                  <a:lnTo>
                    <a:pt x="0" y="172"/>
                  </a:lnTo>
                  <a:lnTo>
                    <a:pt x="0" y="13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" name="Freeform 85">
              <a:extLst>
                <a:ext uri="{FF2B5EF4-FFF2-40B4-BE49-F238E27FC236}">
                  <a16:creationId xmlns:a16="http://schemas.microsoft.com/office/drawing/2014/main" id="{5DB86966-4E35-0744-A03B-230763DA1D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7688" y="2263775"/>
              <a:ext cx="46037" cy="63500"/>
            </a:xfrm>
            <a:custGeom>
              <a:avLst/>
              <a:gdLst>
                <a:gd name="T0" fmla="*/ 15 w 130"/>
                <a:gd name="T1" fmla="*/ 13 h 175"/>
                <a:gd name="T2" fmla="*/ 66 w 130"/>
                <a:gd name="T3" fmla="*/ 0 h 175"/>
                <a:gd name="T4" fmla="*/ 127 w 130"/>
                <a:gd name="T5" fmla="*/ 68 h 175"/>
                <a:gd name="T6" fmla="*/ 127 w 130"/>
                <a:gd name="T7" fmla="*/ 143 h 175"/>
                <a:gd name="T8" fmla="*/ 129 w 130"/>
                <a:gd name="T9" fmla="*/ 172 h 175"/>
                <a:gd name="T10" fmla="*/ 95 w 130"/>
                <a:gd name="T11" fmla="*/ 172 h 175"/>
                <a:gd name="T12" fmla="*/ 92 w 130"/>
                <a:gd name="T13" fmla="*/ 148 h 175"/>
                <a:gd name="T14" fmla="*/ 47 w 130"/>
                <a:gd name="T15" fmla="*/ 174 h 175"/>
                <a:gd name="T16" fmla="*/ 0 w 130"/>
                <a:gd name="T17" fmla="*/ 124 h 175"/>
                <a:gd name="T18" fmla="*/ 84 w 130"/>
                <a:gd name="T19" fmla="*/ 66 h 175"/>
                <a:gd name="T20" fmla="*/ 92 w 130"/>
                <a:gd name="T21" fmla="*/ 66 h 175"/>
                <a:gd name="T22" fmla="*/ 92 w 130"/>
                <a:gd name="T23" fmla="*/ 60 h 175"/>
                <a:gd name="T24" fmla="*/ 63 w 130"/>
                <a:gd name="T25" fmla="*/ 29 h 175"/>
                <a:gd name="T26" fmla="*/ 18 w 130"/>
                <a:gd name="T27" fmla="*/ 45 h 175"/>
                <a:gd name="T28" fmla="*/ 15 w 130"/>
                <a:gd name="T29" fmla="*/ 13 h 175"/>
                <a:gd name="T30" fmla="*/ 90 w 130"/>
                <a:gd name="T31" fmla="*/ 92 h 175"/>
                <a:gd name="T32" fmla="*/ 37 w 130"/>
                <a:gd name="T33" fmla="*/ 124 h 175"/>
                <a:gd name="T34" fmla="*/ 60 w 130"/>
                <a:gd name="T35" fmla="*/ 150 h 175"/>
                <a:gd name="T36" fmla="*/ 92 w 130"/>
                <a:gd name="T37" fmla="*/ 100 h 175"/>
                <a:gd name="T38" fmla="*/ 92 w 130"/>
                <a:gd name="T39" fmla="*/ 92 h 175"/>
                <a:gd name="T40" fmla="*/ 90 w 130"/>
                <a:gd name="T41" fmla="*/ 9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5">
                  <a:moveTo>
                    <a:pt x="15" y="13"/>
                  </a:moveTo>
                  <a:cubicBezTo>
                    <a:pt x="26" y="7"/>
                    <a:pt x="42" y="0"/>
                    <a:pt x="66" y="0"/>
                  </a:cubicBezTo>
                  <a:cubicBezTo>
                    <a:pt x="116" y="0"/>
                    <a:pt x="127" y="26"/>
                    <a:pt x="127" y="68"/>
                  </a:cubicBezTo>
                  <a:lnTo>
                    <a:pt x="127" y="143"/>
                  </a:lnTo>
                  <a:cubicBezTo>
                    <a:pt x="127" y="156"/>
                    <a:pt x="127" y="166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6"/>
                    <a:pt x="92" y="148"/>
                  </a:cubicBezTo>
                  <a:cubicBezTo>
                    <a:pt x="82" y="161"/>
                    <a:pt x="71" y="174"/>
                    <a:pt x="47" y="174"/>
                  </a:cubicBezTo>
                  <a:cubicBezTo>
                    <a:pt x="23" y="174"/>
                    <a:pt x="0" y="156"/>
                    <a:pt x="0" y="124"/>
                  </a:cubicBezTo>
                  <a:cubicBezTo>
                    <a:pt x="0" y="76"/>
                    <a:pt x="34" y="66"/>
                    <a:pt x="84" y="66"/>
                  </a:cubicBezTo>
                  <a:lnTo>
                    <a:pt x="92" y="66"/>
                  </a:lnTo>
                  <a:lnTo>
                    <a:pt x="92" y="60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39"/>
                    <a:pt x="18" y="45"/>
                  </a:cubicBezTo>
                  <a:lnTo>
                    <a:pt x="15" y="13"/>
                  </a:lnTo>
                  <a:close/>
                  <a:moveTo>
                    <a:pt x="90" y="92"/>
                  </a:moveTo>
                  <a:cubicBezTo>
                    <a:pt x="58" y="92"/>
                    <a:pt x="37" y="100"/>
                    <a:pt x="37" y="124"/>
                  </a:cubicBezTo>
                  <a:cubicBezTo>
                    <a:pt x="37" y="140"/>
                    <a:pt x="47" y="150"/>
                    <a:pt x="60" y="150"/>
                  </a:cubicBezTo>
                  <a:cubicBezTo>
                    <a:pt x="84" y="150"/>
                    <a:pt x="92" y="132"/>
                    <a:pt x="92" y="100"/>
                  </a:cubicBezTo>
                  <a:lnTo>
                    <a:pt x="92" y="92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" name="Freeform 86">
              <a:extLst>
                <a:ext uri="{FF2B5EF4-FFF2-40B4-BE49-F238E27FC236}">
                  <a16:creationId xmlns:a16="http://schemas.microsoft.com/office/drawing/2014/main" id="{7574680B-1D26-4841-8C53-A4D841B78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38" y="2247900"/>
              <a:ext cx="34925" cy="80963"/>
            </a:xfrm>
            <a:custGeom>
              <a:avLst/>
              <a:gdLst>
                <a:gd name="T0" fmla="*/ 24 w 99"/>
                <a:gd name="T1" fmla="*/ 13 h 223"/>
                <a:gd name="T2" fmla="*/ 64 w 99"/>
                <a:gd name="T3" fmla="*/ 0 h 223"/>
                <a:gd name="T4" fmla="*/ 64 w 99"/>
                <a:gd name="T5" fmla="*/ 47 h 223"/>
                <a:gd name="T6" fmla="*/ 96 w 99"/>
                <a:gd name="T7" fmla="*/ 47 h 223"/>
                <a:gd name="T8" fmla="*/ 96 w 99"/>
                <a:gd name="T9" fmla="*/ 76 h 223"/>
                <a:gd name="T10" fmla="*/ 64 w 99"/>
                <a:gd name="T11" fmla="*/ 76 h 223"/>
                <a:gd name="T12" fmla="*/ 64 w 99"/>
                <a:gd name="T13" fmla="*/ 166 h 223"/>
                <a:gd name="T14" fmla="*/ 83 w 99"/>
                <a:gd name="T15" fmla="*/ 190 h 223"/>
                <a:gd name="T16" fmla="*/ 98 w 99"/>
                <a:gd name="T17" fmla="*/ 188 h 223"/>
                <a:gd name="T18" fmla="*/ 98 w 99"/>
                <a:gd name="T19" fmla="*/ 217 h 223"/>
                <a:gd name="T20" fmla="*/ 72 w 99"/>
                <a:gd name="T21" fmla="*/ 222 h 223"/>
                <a:gd name="T22" fmla="*/ 27 w 99"/>
                <a:gd name="T23" fmla="*/ 172 h 223"/>
                <a:gd name="T24" fmla="*/ 27 w 99"/>
                <a:gd name="T25" fmla="*/ 76 h 223"/>
                <a:gd name="T26" fmla="*/ 0 w 99"/>
                <a:gd name="T27" fmla="*/ 76 h 223"/>
                <a:gd name="T28" fmla="*/ 0 w 99"/>
                <a:gd name="T29" fmla="*/ 47 h 223"/>
                <a:gd name="T30" fmla="*/ 27 w 99"/>
                <a:gd name="T31" fmla="*/ 47 h 223"/>
                <a:gd name="T32" fmla="*/ 24 w 99"/>
                <a:gd name="T33" fmla="*/ 1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223">
                  <a:moveTo>
                    <a:pt x="24" y="13"/>
                  </a:moveTo>
                  <a:lnTo>
                    <a:pt x="64" y="0"/>
                  </a:lnTo>
                  <a:lnTo>
                    <a:pt x="64" y="47"/>
                  </a:lnTo>
                  <a:lnTo>
                    <a:pt x="96" y="47"/>
                  </a:lnTo>
                  <a:lnTo>
                    <a:pt x="96" y="76"/>
                  </a:lnTo>
                  <a:lnTo>
                    <a:pt x="64" y="76"/>
                  </a:lnTo>
                  <a:lnTo>
                    <a:pt x="64" y="166"/>
                  </a:lnTo>
                  <a:cubicBezTo>
                    <a:pt x="64" y="185"/>
                    <a:pt x="69" y="190"/>
                    <a:pt x="83" y="190"/>
                  </a:cubicBezTo>
                  <a:cubicBezTo>
                    <a:pt x="90" y="190"/>
                    <a:pt x="93" y="188"/>
                    <a:pt x="98" y="188"/>
                  </a:cubicBezTo>
                  <a:lnTo>
                    <a:pt x="98" y="217"/>
                  </a:lnTo>
                  <a:cubicBezTo>
                    <a:pt x="93" y="219"/>
                    <a:pt x="85" y="222"/>
                    <a:pt x="72" y="222"/>
                  </a:cubicBezTo>
                  <a:cubicBezTo>
                    <a:pt x="43" y="222"/>
                    <a:pt x="27" y="209"/>
                    <a:pt x="27" y="172"/>
                  </a:cubicBezTo>
                  <a:lnTo>
                    <a:pt x="27" y="76"/>
                  </a:lnTo>
                  <a:lnTo>
                    <a:pt x="0" y="76"/>
                  </a:lnTo>
                  <a:lnTo>
                    <a:pt x="0" y="47"/>
                  </a:lnTo>
                  <a:lnTo>
                    <a:pt x="27" y="47"/>
                  </a:lnTo>
                  <a:lnTo>
                    <a:pt x="24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" name="Freeform 87">
              <a:extLst>
                <a:ext uri="{FF2B5EF4-FFF2-40B4-BE49-F238E27FC236}">
                  <a16:creationId xmlns:a16="http://schemas.microsoft.com/office/drawing/2014/main" id="{7B9AC328-0524-8F4A-B5FB-D298C70E2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288" y="2238375"/>
              <a:ext cx="15875" cy="88900"/>
            </a:xfrm>
            <a:custGeom>
              <a:avLst/>
              <a:gdLst>
                <a:gd name="T0" fmla="*/ 0 w 43"/>
                <a:gd name="T1" fmla="*/ 0 h 247"/>
                <a:gd name="T2" fmla="*/ 40 w 43"/>
                <a:gd name="T3" fmla="*/ 0 h 247"/>
                <a:gd name="T4" fmla="*/ 40 w 43"/>
                <a:gd name="T5" fmla="*/ 39 h 247"/>
                <a:gd name="T6" fmla="*/ 0 w 43"/>
                <a:gd name="T7" fmla="*/ 39 h 247"/>
                <a:gd name="T8" fmla="*/ 0 w 43"/>
                <a:gd name="T9" fmla="*/ 0 h 247"/>
                <a:gd name="T10" fmla="*/ 3 w 43"/>
                <a:gd name="T11" fmla="*/ 74 h 247"/>
                <a:gd name="T12" fmla="*/ 42 w 43"/>
                <a:gd name="T13" fmla="*/ 74 h 247"/>
                <a:gd name="T14" fmla="*/ 42 w 43"/>
                <a:gd name="T15" fmla="*/ 246 h 247"/>
                <a:gd name="T16" fmla="*/ 3 w 43"/>
                <a:gd name="T17" fmla="*/ 246 h 247"/>
                <a:gd name="T18" fmla="*/ 3 w 43"/>
                <a:gd name="T19" fmla="*/ 74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47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3" y="74"/>
                  </a:moveTo>
                  <a:lnTo>
                    <a:pt x="42" y="74"/>
                  </a:lnTo>
                  <a:lnTo>
                    <a:pt x="42" y="246"/>
                  </a:lnTo>
                  <a:lnTo>
                    <a:pt x="3" y="246"/>
                  </a:lnTo>
                  <a:lnTo>
                    <a:pt x="3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" name="Freeform 88">
              <a:extLst>
                <a:ext uri="{FF2B5EF4-FFF2-40B4-BE49-F238E27FC236}">
                  <a16:creationId xmlns:a16="http://schemas.microsoft.com/office/drawing/2014/main" id="{068C3626-ED1E-6B4D-935A-6A57FCB16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7863" y="2263775"/>
              <a:ext cx="52387" cy="65088"/>
            </a:xfrm>
            <a:custGeom>
              <a:avLst/>
              <a:gdLst>
                <a:gd name="T0" fmla="*/ 143 w 144"/>
                <a:gd name="T1" fmla="*/ 88 h 179"/>
                <a:gd name="T2" fmla="*/ 71 w 144"/>
                <a:gd name="T3" fmla="*/ 178 h 179"/>
                <a:gd name="T4" fmla="*/ 0 w 144"/>
                <a:gd name="T5" fmla="*/ 88 h 179"/>
                <a:gd name="T6" fmla="*/ 71 w 144"/>
                <a:gd name="T7" fmla="*/ 0 h 179"/>
                <a:gd name="T8" fmla="*/ 143 w 144"/>
                <a:gd name="T9" fmla="*/ 88 h 179"/>
                <a:gd name="T10" fmla="*/ 103 w 144"/>
                <a:gd name="T11" fmla="*/ 88 h 179"/>
                <a:gd name="T12" fmla="*/ 71 w 144"/>
                <a:gd name="T13" fmla="*/ 29 h 179"/>
                <a:gd name="T14" fmla="*/ 39 w 144"/>
                <a:gd name="T15" fmla="*/ 88 h 179"/>
                <a:gd name="T16" fmla="*/ 71 w 144"/>
                <a:gd name="T17" fmla="*/ 146 h 179"/>
                <a:gd name="T18" fmla="*/ 103 w 144"/>
                <a:gd name="T19" fmla="*/ 8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79">
                  <a:moveTo>
                    <a:pt x="143" y="88"/>
                  </a:moveTo>
                  <a:cubicBezTo>
                    <a:pt x="143" y="159"/>
                    <a:pt x="106" y="178"/>
                    <a:pt x="71" y="178"/>
                  </a:cubicBezTo>
                  <a:cubicBezTo>
                    <a:pt x="39" y="178"/>
                    <a:pt x="0" y="162"/>
                    <a:pt x="0" y="88"/>
                  </a:cubicBezTo>
                  <a:cubicBezTo>
                    <a:pt x="0" y="19"/>
                    <a:pt x="39" y="0"/>
                    <a:pt x="71" y="0"/>
                  </a:cubicBezTo>
                  <a:cubicBezTo>
                    <a:pt x="103" y="0"/>
                    <a:pt x="143" y="19"/>
                    <a:pt x="143" y="88"/>
                  </a:cubicBezTo>
                  <a:close/>
                  <a:moveTo>
                    <a:pt x="103" y="88"/>
                  </a:moveTo>
                  <a:cubicBezTo>
                    <a:pt x="103" y="58"/>
                    <a:pt x="98" y="29"/>
                    <a:pt x="71" y="29"/>
                  </a:cubicBezTo>
                  <a:cubicBezTo>
                    <a:pt x="47" y="29"/>
                    <a:pt x="39" y="58"/>
                    <a:pt x="39" y="88"/>
                  </a:cubicBezTo>
                  <a:cubicBezTo>
                    <a:pt x="39" y="117"/>
                    <a:pt x="47" y="146"/>
                    <a:pt x="71" y="146"/>
                  </a:cubicBezTo>
                  <a:cubicBezTo>
                    <a:pt x="95" y="146"/>
                    <a:pt x="103" y="114"/>
                    <a:pt x="103" y="8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" name="Freeform 89">
              <a:extLst>
                <a:ext uri="{FF2B5EF4-FFF2-40B4-BE49-F238E27FC236}">
                  <a16:creationId xmlns:a16="http://schemas.microsoft.com/office/drawing/2014/main" id="{6D72052E-5FDE-FF40-B3FA-1AF20F73E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9775" y="2263775"/>
              <a:ext cx="46038" cy="63500"/>
            </a:xfrm>
            <a:custGeom>
              <a:avLst/>
              <a:gdLst>
                <a:gd name="T0" fmla="*/ 0 w 129"/>
                <a:gd name="T1" fmla="*/ 31 h 178"/>
                <a:gd name="T2" fmla="*/ 0 w 129"/>
                <a:gd name="T3" fmla="*/ 2 h 178"/>
                <a:gd name="T4" fmla="*/ 38 w 129"/>
                <a:gd name="T5" fmla="*/ 2 h 178"/>
                <a:gd name="T6" fmla="*/ 38 w 129"/>
                <a:gd name="T7" fmla="*/ 29 h 178"/>
                <a:gd name="T8" fmla="*/ 38 w 129"/>
                <a:gd name="T9" fmla="*/ 29 h 178"/>
                <a:gd name="T10" fmla="*/ 38 w 129"/>
                <a:gd name="T11" fmla="*/ 29 h 178"/>
                <a:gd name="T12" fmla="*/ 80 w 129"/>
                <a:gd name="T13" fmla="*/ 0 h 178"/>
                <a:gd name="T14" fmla="*/ 128 w 129"/>
                <a:gd name="T15" fmla="*/ 63 h 178"/>
                <a:gd name="T16" fmla="*/ 128 w 129"/>
                <a:gd name="T17" fmla="*/ 174 h 178"/>
                <a:gd name="T18" fmla="*/ 88 w 129"/>
                <a:gd name="T19" fmla="*/ 174 h 178"/>
                <a:gd name="T20" fmla="*/ 88 w 129"/>
                <a:gd name="T21" fmla="*/ 74 h 178"/>
                <a:gd name="T22" fmla="*/ 67 w 129"/>
                <a:gd name="T23" fmla="*/ 37 h 178"/>
                <a:gd name="T24" fmla="*/ 40 w 129"/>
                <a:gd name="T25" fmla="*/ 76 h 178"/>
                <a:gd name="T26" fmla="*/ 40 w 129"/>
                <a:gd name="T27" fmla="*/ 177 h 178"/>
                <a:gd name="T28" fmla="*/ 0 w 129"/>
                <a:gd name="T29" fmla="*/ 177 h 178"/>
                <a:gd name="T30" fmla="*/ 0 w 129"/>
                <a:gd name="T31" fmla="*/ 3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9" h="178">
                  <a:moveTo>
                    <a:pt x="0" y="31"/>
                  </a:moveTo>
                  <a:cubicBezTo>
                    <a:pt x="0" y="21"/>
                    <a:pt x="0" y="10"/>
                    <a:pt x="0" y="2"/>
                  </a:cubicBezTo>
                  <a:lnTo>
                    <a:pt x="38" y="2"/>
                  </a:lnTo>
                  <a:cubicBezTo>
                    <a:pt x="38" y="10"/>
                    <a:pt x="38" y="21"/>
                    <a:pt x="38" y="29"/>
                  </a:cubicBezTo>
                  <a:lnTo>
                    <a:pt x="38" y="29"/>
                  </a:lnTo>
                  <a:lnTo>
                    <a:pt x="38" y="29"/>
                  </a:lnTo>
                  <a:cubicBezTo>
                    <a:pt x="43" y="18"/>
                    <a:pt x="53" y="0"/>
                    <a:pt x="80" y="0"/>
                  </a:cubicBezTo>
                  <a:cubicBezTo>
                    <a:pt x="117" y="0"/>
                    <a:pt x="128" y="29"/>
                    <a:pt x="128" y="63"/>
                  </a:cubicBezTo>
                  <a:lnTo>
                    <a:pt x="128" y="174"/>
                  </a:lnTo>
                  <a:lnTo>
                    <a:pt x="88" y="174"/>
                  </a:lnTo>
                  <a:lnTo>
                    <a:pt x="88" y="74"/>
                  </a:lnTo>
                  <a:cubicBezTo>
                    <a:pt x="88" y="47"/>
                    <a:pt x="83" y="37"/>
                    <a:pt x="67" y="37"/>
                  </a:cubicBezTo>
                  <a:cubicBezTo>
                    <a:pt x="45" y="37"/>
                    <a:pt x="40" y="55"/>
                    <a:pt x="40" y="76"/>
                  </a:cubicBezTo>
                  <a:lnTo>
                    <a:pt x="40" y="177"/>
                  </a:lnTo>
                  <a:lnTo>
                    <a:pt x="0" y="177"/>
                  </a:lnTo>
                  <a:lnTo>
                    <a:pt x="0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8" name="Freeform 90">
              <a:extLst>
                <a:ext uri="{FF2B5EF4-FFF2-40B4-BE49-F238E27FC236}">
                  <a16:creationId xmlns:a16="http://schemas.microsoft.com/office/drawing/2014/main" id="{0B41AE1E-4E4E-1345-A2AB-A1D842AD6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5850" y="2014538"/>
              <a:ext cx="339725" cy="336550"/>
            </a:xfrm>
            <a:custGeom>
              <a:avLst/>
              <a:gdLst>
                <a:gd name="T0" fmla="*/ 0 w 943"/>
                <a:gd name="T1" fmla="*/ 466 h 933"/>
                <a:gd name="T2" fmla="*/ 471 w 943"/>
                <a:gd name="T3" fmla="*/ 0 h 933"/>
                <a:gd name="T4" fmla="*/ 942 w 943"/>
                <a:gd name="T5" fmla="*/ 466 h 933"/>
                <a:gd name="T6" fmla="*/ 471 w 943"/>
                <a:gd name="T7" fmla="*/ 932 h 933"/>
                <a:gd name="T8" fmla="*/ 0 w 943"/>
                <a:gd name="T9" fmla="*/ 466 h 933"/>
                <a:gd name="T10" fmla="*/ 21 w 943"/>
                <a:gd name="T11" fmla="*/ 466 h 933"/>
                <a:gd name="T12" fmla="*/ 471 w 943"/>
                <a:gd name="T13" fmla="*/ 911 h 933"/>
                <a:gd name="T14" fmla="*/ 920 w 943"/>
                <a:gd name="T15" fmla="*/ 466 h 933"/>
                <a:gd name="T16" fmla="*/ 471 w 943"/>
                <a:gd name="T17" fmla="*/ 22 h 933"/>
                <a:gd name="T18" fmla="*/ 21 w 943"/>
                <a:gd name="T19" fmla="*/ 466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3" h="933">
                  <a:moveTo>
                    <a:pt x="0" y="466"/>
                  </a:moveTo>
                  <a:cubicBezTo>
                    <a:pt x="0" y="209"/>
                    <a:pt x="211" y="0"/>
                    <a:pt x="471" y="0"/>
                  </a:cubicBezTo>
                  <a:cubicBezTo>
                    <a:pt x="730" y="0"/>
                    <a:pt x="942" y="209"/>
                    <a:pt x="942" y="466"/>
                  </a:cubicBezTo>
                  <a:cubicBezTo>
                    <a:pt x="942" y="722"/>
                    <a:pt x="730" y="932"/>
                    <a:pt x="471" y="932"/>
                  </a:cubicBezTo>
                  <a:cubicBezTo>
                    <a:pt x="211" y="932"/>
                    <a:pt x="0" y="722"/>
                    <a:pt x="0" y="466"/>
                  </a:cubicBezTo>
                  <a:close/>
                  <a:moveTo>
                    <a:pt x="21" y="466"/>
                  </a:moveTo>
                  <a:cubicBezTo>
                    <a:pt x="21" y="710"/>
                    <a:pt x="222" y="911"/>
                    <a:pt x="471" y="911"/>
                  </a:cubicBezTo>
                  <a:cubicBezTo>
                    <a:pt x="719" y="911"/>
                    <a:pt x="920" y="713"/>
                    <a:pt x="920" y="466"/>
                  </a:cubicBezTo>
                  <a:cubicBezTo>
                    <a:pt x="920" y="223"/>
                    <a:pt x="719" y="22"/>
                    <a:pt x="471" y="22"/>
                  </a:cubicBezTo>
                  <a:cubicBezTo>
                    <a:pt x="222" y="22"/>
                    <a:pt x="21" y="220"/>
                    <a:pt x="21" y="46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9" name="Freeform 91">
              <a:extLst>
                <a:ext uri="{FF2B5EF4-FFF2-40B4-BE49-F238E27FC236}">
                  <a16:creationId xmlns:a16="http://schemas.microsoft.com/office/drawing/2014/main" id="{93679C08-D89F-4344-B142-55DB6CCDD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0300" y="2060575"/>
              <a:ext cx="252413" cy="242888"/>
            </a:xfrm>
            <a:custGeom>
              <a:avLst/>
              <a:gdLst>
                <a:gd name="T0" fmla="*/ 0 w 701"/>
                <a:gd name="T1" fmla="*/ 336 h 674"/>
                <a:gd name="T2" fmla="*/ 349 w 701"/>
                <a:gd name="T3" fmla="*/ 0 h 674"/>
                <a:gd name="T4" fmla="*/ 698 w 701"/>
                <a:gd name="T5" fmla="*/ 336 h 674"/>
                <a:gd name="T6" fmla="*/ 349 w 701"/>
                <a:gd name="T7" fmla="*/ 673 h 674"/>
                <a:gd name="T8" fmla="*/ 0 w 701"/>
                <a:gd name="T9" fmla="*/ 336 h 674"/>
                <a:gd name="T10" fmla="*/ 24 w 701"/>
                <a:gd name="T11" fmla="*/ 336 h 674"/>
                <a:gd name="T12" fmla="*/ 349 w 701"/>
                <a:gd name="T13" fmla="*/ 649 h 674"/>
                <a:gd name="T14" fmla="*/ 674 w 701"/>
                <a:gd name="T15" fmla="*/ 336 h 674"/>
                <a:gd name="T16" fmla="*/ 349 w 701"/>
                <a:gd name="T17" fmla="*/ 24 h 674"/>
                <a:gd name="T18" fmla="*/ 24 w 701"/>
                <a:gd name="T19" fmla="*/ 336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1" h="674">
                  <a:moveTo>
                    <a:pt x="0" y="336"/>
                  </a:moveTo>
                  <a:cubicBezTo>
                    <a:pt x="0" y="150"/>
                    <a:pt x="155" y="0"/>
                    <a:pt x="349" y="0"/>
                  </a:cubicBezTo>
                  <a:cubicBezTo>
                    <a:pt x="542" y="0"/>
                    <a:pt x="698" y="151"/>
                    <a:pt x="698" y="336"/>
                  </a:cubicBezTo>
                  <a:cubicBezTo>
                    <a:pt x="700" y="522"/>
                    <a:pt x="542" y="673"/>
                    <a:pt x="349" y="673"/>
                  </a:cubicBezTo>
                  <a:cubicBezTo>
                    <a:pt x="155" y="673"/>
                    <a:pt x="0" y="521"/>
                    <a:pt x="0" y="336"/>
                  </a:cubicBezTo>
                  <a:close/>
                  <a:moveTo>
                    <a:pt x="24" y="336"/>
                  </a:moveTo>
                  <a:cubicBezTo>
                    <a:pt x="24" y="508"/>
                    <a:pt x="169" y="649"/>
                    <a:pt x="349" y="649"/>
                  </a:cubicBezTo>
                  <a:cubicBezTo>
                    <a:pt x="528" y="649"/>
                    <a:pt x="674" y="509"/>
                    <a:pt x="674" y="336"/>
                  </a:cubicBezTo>
                  <a:cubicBezTo>
                    <a:pt x="674" y="164"/>
                    <a:pt x="528" y="24"/>
                    <a:pt x="349" y="24"/>
                  </a:cubicBezTo>
                  <a:cubicBezTo>
                    <a:pt x="169" y="24"/>
                    <a:pt x="24" y="163"/>
                    <a:pt x="24" y="33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0" name="Freeform 92">
              <a:extLst>
                <a:ext uri="{FF2B5EF4-FFF2-40B4-BE49-F238E27FC236}">
                  <a16:creationId xmlns:a16="http://schemas.microsoft.com/office/drawing/2014/main" id="{9DB75B92-66D1-0E41-97A5-EA4032A1A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2124075"/>
              <a:ext cx="20638" cy="20638"/>
            </a:xfrm>
            <a:custGeom>
              <a:avLst/>
              <a:gdLst>
                <a:gd name="T0" fmla="*/ 32 w 59"/>
                <a:gd name="T1" fmla="*/ 0 h 57"/>
                <a:gd name="T2" fmla="*/ 37 w 59"/>
                <a:gd name="T3" fmla="*/ 24 h 57"/>
                <a:gd name="T4" fmla="*/ 58 w 59"/>
                <a:gd name="T5" fmla="*/ 24 h 57"/>
                <a:gd name="T6" fmla="*/ 42 w 59"/>
                <a:gd name="T7" fmla="*/ 34 h 57"/>
                <a:gd name="T8" fmla="*/ 50 w 59"/>
                <a:gd name="T9" fmla="*/ 56 h 57"/>
                <a:gd name="T10" fmla="*/ 29 w 59"/>
                <a:gd name="T11" fmla="*/ 40 h 57"/>
                <a:gd name="T12" fmla="*/ 10 w 59"/>
                <a:gd name="T13" fmla="*/ 56 h 57"/>
                <a:gd name="T14" fmla="*/ 18 w 59"/>
                <a:gd name="T15" fmla="*/ 34 h 57"/>
                <a:gd name="T16" fmla="*/ 0 w 59"/>
                <a:gd name="T17" fmla="*/ 24 h 57"/>
                <a:gd name="T18" fmla="*/ 21 w 59"/>
                <a:gd name="T19" fmla="*/ 24 h 57"/>
                <a:gd name="T20" fmla="*/ 32 w 59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7">
                  <a:moveTo>
                    <a:pt x="32" y="0"/>
                  </a:moveTo>
                  <a:lnTo>
                    <a:pt x="37" y="24"/>
                  </a:lnTo>
                  <a:lnTo>
                    <a:pt x="58" y="24"/>
                  </a:lnTo>
                  <a:lnTo>
                    <a:pt x="42" y="34"/>
                  </a:lnTo>
                  <a:lnTo>
                    <a:pt x="50" y="56"/>
                  </a:lnTo>
                  <a:lnTo>
                    <a:pt x="29" y="40"/>
                  </a:lnTo>
                  <a:lnTo>
                    <a:pt x="10" y="56"/>
                  </a:lnTo>
                  <a:lnTo>
                    <a:pt x="18" y="34"/>
                  </a:lnTo>
                  <a:lnTo>
                    <a:pt x="0" y="24"/>
                  </a:lnTo>
                  <a:lnTo>
                    <a:pt x="21" y="2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1" name="Freeform 93">
              <a:extLst>
                <a:ext uri="{FF2B5EF4-FFF2-40B4-BE49-F238E27FC236}">
                  <a16:creationId xmlns:a16="http://schemas.microsoft.com/office/drawing/2014/main" id="{A5AD1D0E-CBB7-4247-B09D-05ED2D378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8075" y="2122488"/>
              <a:ext cx="25400" cy="23812"/>
            </a:xfrm>
            <a:custGeom>
              <a:avLst/>
              <a:gdLst>
                <a:gd name="T0" fmla="*/ 56 w 70"/>
                <a:gd name="T1" fmla="*/ 63 h 64"/>
                <a:gd name="T2" fmla="*/ 35 w 70"/>
                <a:gd name="T3" fmla="*/ 45 h 64"/>
                <a:gd name="T4" fmla="*/ 16 w 70"/>
                <a:gd name="T5" fmla="*/ 61 h 64"/>
                <a:gd name="T6" fmla="*/ 14 w 70"/>
                <a:gd name="T7" fmla="*/ 61 h 64"/>
                <a:gd name="T8" fmla="*/ 22 w 70"/>
                <a:gd name="T9" fmla="*/ 39 h 64"/>
                <a:gd name="T10" fmla="*/ 0 w 70"/>
                <a:gd name="T11" fmla="*/ 26 h 64"/>
                <a:gd name="T12" fmla="*/ 25 w 70"/>
                <a:gd name="T13" fmla="*/ 26 h 64"/>
                <a:gd name="T14" fmla="*/ 24 w 70"/>
                <a:gd name="T15" fmla="*/ 29 h 64"/>
                <a:gd name="T16" fmla="*/ 8 w 70"/>
                <a:gd name="T17" fmla="*/ 29 h 64"/>
                <a:gd name="T18" fmla="*/ 24 w 70"/>
                <a:gd name="T19" fmla="*/ 39 h 64"/>
                <a:gd name="T20" fmla="*/ 19 w 70"/>
                <a:gd name="T21" fmla="*/ 58 h 64"/>
                <a:gd name="T22" fmla="*/ 35 w 70"/>
                <a:gd name="T23" fmla="*/ 42 h 64"/>
                <a:gd name="T24" fmla="*/ 51 w 70"/>
                <a:gd name="T25" fmla="*/ 55 h 64"/>
                <a:gd name="T26" fmla="*/ 46 w 70"/>
                <a:gd name="T27" fmla="*/ 39 h 64"/>
                <a:gd name="T28" fmla="*/ 59 w 70"/>
                <a:gd name="T29" fmla="*/ 29 h 64"/>
                <a:gd name="T30" fmla="*/ 38 w 70"/>
                <a:gd name="T31" fmla="*/ 29 h 64"/>
                <a:gd name="T32" fmla="*/ 33 w 70"/>
                <a:gd name="T33" fmla="*/ 11 h 64"/>
                <a:gd name="T34" fmla="*/ 38 w 70"/>
                <a:gd name="T35" fmla="*/ 0 h 64"/>
                <a:gd name="T36" fmla="*/ 46 w 70"/>
                <a:gd name="T37" fmla="*/ 26 h 64"/>
                <a:gd name="T38" fmla="*/ 69 w 70"/>
                <a:gd name="T39" fmla="*/ 26 h 64"/>
                <a:gd name="T40" fmla="*/ 51 w 70"/>
                <a:gd name="T41" fmla="*/ 42 h 64"/>
                <a:gd name="T42" fmla="*/ 56 w 70"/>
                <a:gd name="T43" fmla="*/ 63 h 64"/>
                <a:gd name="T44" fmla="*/ 27 w 70"/>
                <a:gd name="T45" fmla="*/ 26 h 64"/>
                <a:gd name="T46" fmla="*/ 33 w 70"/>
                <a:gd name="T47" fmla="*/ 11 h 64"/>
                <a:gd name="T48" fmla="*/ 32 w 70"/>
                <a:gd name="T49" fmla="*/ 8 h 64"/>
                <a:gd name="T50" fmla="*/ 25 w 70"/>
                <a:gd name="T51" fmla="*/ 26 h 64"/>
                <a:gd name="T52" fmla="*/ 27 w 70"/>
                <a:gd name="T53" fmla="*/ 2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4">
                  <a:moveTo>
                    <a:pt x="56" y="63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22" y="39"/>
                  </a:lnTo>
                  <a:lnTo>
                    <a:pt x="0" y="26"/>
                  </a:lnTo>
                  <a:lnTo>
                    <a:pt x="25" y="26"/>
                  </a:lnTo>
                  <a:lnTo>
                    <a:pt x="24" y="29"/>
                  </a:lnTo>
                  <a:lnTo>
                    <a:pt x="8" y="29"/>
                  </a:lnTo>
                  <a:lnTo>
                    <a:pt x="24" y="39"/>
                  </a:lnTo>
                  <a:lnTo>
                    <a:pt x="19" y="58"/>
                  </a:lnTo>
                  <a:lnTo>
                    <a:pt x="35" y="42"/>
                  </a:lnTo>
                  <a:lnTo>
                    <a:pt x="51" y="55"/>
                  </a:lnTo>
                  <a:lnTo>
                    <a:pt x="46" y="39"/>
                  </a:lnTo>
                  <a:lnTo>
                    <a:pt x="59" y="29"/>
                  </a:lnTo>
                  <a:lnTo>
                    <a:pt x="38" y="29"/>
                  </a:lnTo>
                  <a:lnTo>
                    <a:pt x="33" y="11"/>
                  </a:lnTo>
                  <a:lnTo>
                    <a:pt x="38" y="0"/>
                  </a:lnTo>
                  <a:lnTo>
                    <a:pt x="46" y="26"/>
                  </a:lnTo>
                  <a:lnTo>
                    <a:pt x="69" y="26"/>
                  </a:lnTo>
                  <a:lnTo>
                    <a:pt x="51" y="42"/>
                  </a:lnTo>
                  <a:lnTo>
                    <a:pt x="56" y="63"/>
                  </a:lnTo>
                  <a:close/>
                  <a:moveTo>
                    <a:pt x="27" y="26"/>
                  </a:moveTo>
                  <a:lnTo>
                    <a:pt x="33" y="11"/>
                  </a:lnTo>
                  <a:lnTo>
                    <a:pt x="32" y="8"/>
                  </a:lnTo>
                  <a:lnTo>
                    <a:pt x="25" y="26"/>
                  </a:ln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" name="Freeform 94">
              <a:extLst>
                <a:ext uri="{FF2B5EF4-FFF2-40B4-BE49-F238E27FC236}">
                  <a16:creationId xmlns:a16="http://schemas.microsoft.com/office/drawing/2014/main" id="{B2A03268-2FB3-064B-944E-DAA0F1416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2239963"/>
              <a:ext cx="22225" cy="20637"/>
            </a:xfrm>
            <a:custGeom>
              <a:avLst/>
              <a:gdLst>
                <a:gd name="T0" fmla="*/ 32 w 62"/>
                <a:gd name="T1" fmla="*/ 0 h 57"/>
                <a:gd name="T2" fmla="*/ 37 w 62"/>
                <a:gd name="T3" fmla="*/ 21 h 57"/>
                <a:gd name="T4" fmla="*/ 61 w 62"/>
                <a:gd name="T5" fmla="*/ 21 h 57"/>
                <a:gd name="T6" fmla="*/ 45 w 62"/>
                <a:gd name="T7" fmla="*/ 34 h 57"/>
                <a:gd name="T8" fmla="*/ 51 w 62"/>
                <a:gd name="T9" fmla="*/ 56 h 57"/>
                <a:gd name="T10" fmla="*/ 32 w 62"/>
                <a:gd name="T11" fmla="*/ 40 h 57"/>
                <a:gd name="T12" fmla="*/ 11 w 62"/>
                <a:gd name="T13" fmla="*/ 56 h 57"/>
                <a:gd name="T14" fmla="*/ 19 w 62"/>
                <a:gd name="T15" fmla="*/ 34 h 57"/>
                <a:gd name="T16" fmla="*/ 0 w 62"/>
                <a:gd name="T17" fmla="*/ 21 h 57"/>
                <a:gd name="T18" fmla="*/ 22 w 62"/>
                <a:gd name="T19" fmla="*/ 24 h 57"/>
                <a:gd name="T20" fmla="*/ 32 w 62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57">
                  <a:moveTo>
                    <a:pt x="32" y="0"/>
                  </a:moveTo>
                  <a:lnTo>
                    <a:pt x="37" y="21"/>
                  </a:lnTo>
                  <a:lnTo>
                    <a:pt x="61" y="21"/>
                  </a:lnTo>
                  <a:lnTo>
                    <a:pt x="45" y="34"/>
                  </a:lnTo>
                  <a:lnTo>
                    <a:pt x="51" y="56"/>
                  </a:lnTo>
                  <a:lnTo>
                    <a:pt x="32" y="40"/>
                  </a:lnTo>
                  <a:lnTo>
                    <a:pt x="11" y="56"/>
                  </a:lnTo>
                  <a:lnTo>
                    <a:pt x="19" y="34"/>
                  </a:lnTo>
                  <a:lnTo>
                    <a:pt x="0" y="21"/>
                  </a:lnTo>
                  <a:lnTo>
                    <a:pt x="22" y="2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" name="Freeform 95">
              <a:extLst>
                <a:ext uri="{FF2B5EF4-FFF2-40B4-BE49-F238E27FC236}">
                  <a16:creationId xmlns:a16="http://schemas.microsoft.com/office/drawing/2014/main" id="{A9893445-5887-F242-BB71-BDC1684625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2238375"/>
              <a:ext cx="25400" cy="23813"/>
            </a:xfrm>
            <a:custGeom>
              <a:avLst/>
              <a:gdLst>
                <a:gd name="T0" fmla="*/ 55 w 70"/>
                <a:gd name="T1" fmla="*/ 63 h 64"/>
                <a:gd name="T2" fmla="*/ 34 w 70"/>
                <a:gd name="T3" fmla="*/ 45 h 64"/>
                <a:gd name="T4" fmla="*/ 16 w 70"/>
                <a:gd name="T5" fmla="*/ 61 h 64"/>
                <a:gd name="T6" fmla="*/ 13 w 70"/>
                <a:gd name="T7" fmla="*/ 61 h 64"/>
                <a:gd name="T8" fmla="*/ 21 w 70"/>
                <a:gd name="T9" fmla="*/ 39 h 64"/>
                <a:gd name="T10" fmla="*/ 0 w 70"/>
                <a:gd name="T11" fmla="*/ 26 h 64"/>
                <a:gd name="T12" fmla="*/ 22 w 70"/>
                <a:gd name="T13" fmla="*/ 26 h 64"/>
                <a:gd name="T14" fmla="*/ 21 w 70"/>
                <a:gd name="T15" fmla="*/ 29 h 64"/>
                <a:gd name="T16" fmla="*/ 5 w 70"/>
                <a:gd name="T17" fmla="*/ 29 h 64"/>
                <a:gd name="T18" fmla="*/ 21 w 70"/>
                <a:gd name="T19" fmla="*/ 39 h 64"/>
                <a:gd name="T20" fmla="*/ 16 w 70"/>
                <a:gd name="T21" fmla="*/ 58 h 64"/>
                <a:gd name="T22" fmla="*/ 32 w 70"/>
                <a:gd name="T23" fmla="*/ 42 h 64"/>
                <a:gd name="T24" fmla="*/ 47 w 70"/>
                <a:gd name="T25" fmla="*/ 55 h 64"/>
                <a:gd name="T26" fmla="*/ 42 w 70"/>
                <a:gd name="T27" fmla="*/ 39 h 64"/>
                <a:gd name="T28" fmla="*/ 55 w 70"/>
                <a:gd name="T29" fmla="*/ 29 h 64"/>
                <a:gd name="T30" fmla="*/ 34 w 70"/>
                <a:gd name="T31" fmla="*/ 29 h 64"/>
                <a:gd name="T32" fmla="*/ 31 w 70"/>
                <a:gd name="T33" fmla="*/ 15 h 64"/>
                <a:gd name="T34" fmla="*/ 37 w 70"/>
                <a:gd name="T35" fmla="*/ 0 h 64"/>
                <a:gd name="T36" fmla="*/ 45 w 70"/>
                <a:gd name="T37" fmla="*/ 26 h 64"/>
                <a:gd name="T38" fmla="*/ 69 w 70"/>
                <a:gd name="T39" fmla="*/ 26 h 64"/>
                <a:gd name="T40" fmla="*/ 50 w 70"/>
                <a:gd name="T41" fmla="*/ 39 h 64"/>
                <a:gd name="T42" fmla="*/ 55 w 70"/>
                <a:gd name="T43" fmla="*/ 63 h 64"/>
                <a:gd name="T44" fmla="*/ 26 w 70"/>
                <a:gd name="T45" fmla="*/ 26 h 64"/>
                <a:gd name="T46" fmla="*/ 31 w 70"/>
                <a:gd name="T47" fmla="*/ 15 h 64"/>
                <a:gd name="T48" fmla="*/ 29 w 70"/>
                <a:gd name="T49" fmla="*/ 8 h 64"/>
                <a:gd name="T50" fmla="*/ 22 w 70"/>
                <a:gd name="T51" fmla="*/ 26 h 64"/>
                <a:gd name="T52" fmla="*/ 26 w 70"/>
                <a:gd name="T53" fmla="*/ 2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4">
                  <a:moveTo>
                    <a:pt x="55" y="63"/>
                  </a:moveTo>
                  <a:lnTo>
                    <a:pt x="34" y="45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39"/>
                  </a:lnTo>
                  <a:lnTo>
                    <a:pt x="0" y="26"/>
                  </a:lnTo>
                  <a:lnTo>
                    <a:pt x="22" y="26"/>
                  </a:lnTo>
                  <a:lnTo>
                    <a:pt x="21" y="29"/>
                  </a:lnTo>
                  <a:lnTo>
                    <a:pt x="5" y="29"/>
                  </a:lnTo>
                  <a:lnTo>
                    <a:pt x="21" y="39"/>
                  </a:lnTo>
                  <a:lnTo>
                    <a:pt x="16" y="58"/>
                  </a:lnTo>
                  <a:lnTo>
                    <a:pt x="32" y="42"/>
                  </a:lnTo>
                  <a:lnTo>
                    <a:pt x="47" y="55"/>
                  </a:lnTo>
                  <a:lnTo>
                    <a:pt x="42" y="39"/>
                  </a:lnTo>
                  <a:lnTo>
                    <a:pt x="55" y="29"/>
                  </a:lnTo>
                  <a:lnTo>
                    <a:pt x="34" y="29"/>
                  </a:lnTo>
                  <a:lnTo>
                    <a:pt x="31" y="15"/>
                  </a:lnTo>
                  <a:lnTo>
                    <a:pt x="37" y="0"/>
                  </a:lnTo>
                  <a:lnTo>
                    <a:pt x="45" y="26"/>
                  </a:lnTo>
                  <a:lnTo>
                    <a:pt x="69" y="26"/>
                  </a:lnTo>
                  <a:lnTo>
                    <a:pt x="50" y="39"/>
                  </a:lnTo>
                  <a:lnTo>
                    <a:pt x="55" y="63"/>
                  </a:lnTo>
                  <a:close/>
                  <a:moveTo>
                    <a:pt x="26" y="26"/>
                  </a:moveTo>
                  <a:lnTo>
                    <a:pt x="31" y="15"/>
                  </a:lnTo>
                  <a:lnTo>
                    <a:pt x="29" y="8"/>
                  </a:lnTo>
                  <a:lnTo>
                    <a:pt x="22" y="26"/>
                  </a:ln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" name="Freeform 96">
              <a:extLst>
                <a:ext uri="{FF2B5EF4-FFF2-40B4-BE49-F238E27FC236}">
                  <a16:creationId xmlns:a16="http://schemas.microsoft.com/office/drawing/2014/main" id="{F9C01000-D98B-9543-88A7-3070BAD36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9188" y="2238375"/>
              <a:ext cx="20637" cy="20638"/>
            </a:xfrm>
            <a:custGeom>
              <a:avLst/>
              <a:gdLst>
                <a:gd name="T0" fmla="*/ 31 w 59"/>
                <a:gd name="T1" fmla="*/ 0 h 56"/>
                <a:gd name="T2" fmla="*/ 37 w 59"/>
                <a:gd name="T3" fmla="*/ 21 h 56"/>
                <a:gd name="T4" fmla="*/ 58 w 59"/>
                <a:gd name="T5" fmla="*/ 21 h 56"/>
                <a:gd name="T6" fmla="*/ 42 w 59"/>
                <a:gd name="T7" fmla="*/ 34 h 56"/>
                <a:gd name="T8" fmla="*/ 50 w 59"/>
                <a:gd name="T9" fmla="*/ 55 h 56"/>
                <a:gd name="T10" fmla="*/ 29 w 59"/>
                <a:gd name="T11" fmla="*/ 39 h 56"/>
                <a:gd name="T12" fmla="*/ 10 w 59"/>
                <a:gd name="T13" fmla="*/ 55 h 56"/>
                <a:gd name="T14" fmla="*/ 18 w 59"/>
                <a:gd name="T15" fmla="*/ 34 h 56"/>
                <a:gd name="T16" fmla="*/ 0 w 59"/>
                <a:gd name="T17" fmla="*/ 21 h 56"/>
                <a:gd name="T18" fmla="*/ 21 w 59"/>
                <a:gd name="T19" fmla="*/ 24 h 56"/>
                <a:gd name="T20" fmla="*/ 31 w 59"/>
                <a:gd name="T2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6">
                  <a:moveTo>
                    <a:pt x="31" y="0"/>
                  </a:moveTo>
                  <a:lnTo>
                    <a:pt x="37" y="21"/>
                  </a:lnTo>
                  <a:lnTo>
                    <a:pt x="58" y="21"/>
                  </a:lnTo>
                  <a:lnTo>
                    <a:pt x="42" y="34"/>
                  </a:lnTo>
                  <a:lnTo>
                    <a:pt x="50" y="55"/>
                  </a:lnTo>
                  <a:lnTo>
                    <a:pt x="29" y="39"/>
                  </a:lnTo>
                  <a:lnTo>
                    <a:pt x="10" y="55"/>
                  </a:lnTo>
                  <a:lnTo>
                    <a:pt x="18" y="34"/>
                  </a:lnTo>
                  <a:lnTo>
                    <a:pt x="0" y="21"/>
                  </a:lnTo>
                  <a:lnTo>
                    <a:pt x="21" y="24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" name="Freeform 97">
              <a:extLst>
                <a:ext uri="{FF2B5EF4-FFF2-40B4-BE49-F238E27FC236}">
                  <a16:creationId xmlns:a16="http://schemas.microsoft.com/office/drawing/2014/main" id="{AEF3AE28-75F6-B34C-A3F0-9919B9008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7600" y="2236788"/>
              <a:ext cx="25400" cy="23812"/>
            </a:xfrm>
            <a:custGeom>
              <a:avLst/>
              <a:gdLst>
                <a:gd name="T0" fmla="*/ 56 w 70"/>
                <a:gd name="T1" fmla="*/ 64 h 65"/>
                <a:gd name="T2" fmla="*/ 35 w 70"/>
                <a:gd name="T3" fmla="*/ 45 h 65"/>
                <a:gd name="T4" fmla="*/ 16 w 70"/>
                <a:gd name="T5" fmla="*/ 61 h 65"/>
                <a:gd name="T6" fmla="*/ 14 w 70"/>
                <a:gd name="T7" fmla="*/ 61 h 65"/>
                <a:gd name="T8" fmla="*/ 22 w 70"/>
                <a:gd name="T9" fmla="*/ 40 h 65"/>
                <a:gd name="T10" fmla="*/ 0 w 70"/>
                <a:gd name="T11" fmla="*/ 27 h 65"/>
                <a:gd name="T12" fmla="*/ 25 w 70"/>
                <a:gd name="T13" fmla="*/ 27 h 65"/>
                <a:gd name="T14" fmla="*/ 24 w 70"/>
                <a:gd name="T15" fmla="*/ 30 h 65"/>
                <a:gd name="T16" fmla="*/ 8 w 70"/>
                <a:gd name="T17" fmla="*/ 30 h 65"/>
                <a:gd name="T18" fmla="*/ 24 w 70"/>
                <a:gd name="T19" fmla="*/ 40 h 65"/>
                <a:gd name="T20" fmla="*/ 19 w 70"/>
                <a:gd name="T21" fmla="*/ 59 h 65"/>
                <a:gd name="T22" fmla="*/ 35 w 70"/>
                <a:gd name="T23" fmla="*/ 43 h 65"/>
                <a:gd name="T24" fmla="*/ 51 w 70"/>
                <a:gd name="T25" fmla="*/ 56 h 65"/>
                <a:gd name="T26" fmla="*/ 45 w 70"/>
                <a:gd name="T27" fmla="*/ 40 h 65"/>
                <a:gd name="T28" fmla="*/ 59 w 70"/>
                <a:gd name="T29" fmla="*/ 30 h 65"/>
                <a:gd name="T30" fmla="*/ 37 w 70"/>
                <a:gd name="T31" fmla="*/ 30 h 65"/>
                <a:gd name="T32" fmla="*/ 33 w 70"/>
                <a:gd name="T33" fmla="*/ 12 h 65"/>
                <a:gd name="T34" fmla="*/ 37 w 70"/>
                <a:gd name="T35" fmla="*/ 0 h 65"/>
                <a:gd name="T36" fmla="*/ 45 w 70"/>
                <a:gd name="T37" fmla="*/ 27 h 65"/>
                <a:gd name="T38" fmla="*/ 69 w 70"/>
                <a:gd name="T39" fmla="*/ 27 h 65"/>
                <a:gd name="T40" fmla="*/ 51 w 70"/>
                <a:gd name="T41" fmla="*/ 40 h 65"/>
                <a:gd name="T42" fmla="*/ 56 w 70"/>
                <a:gd name="T43" fmla="*/ 64 h 65"/>
                <a:gd name="T44" fmla="*/ 27 w 70"/>
                <a:gd name="T45" fmla="*/ 27 h 65"/>
                <a:gd name="T46" fmla="*/ 33 w 70"/>
                <a:gd name="T47" fmla="*/ 12 h 65"/>
                <a:gd name="T48" fmla="*/ 32 w 70"/>
                <a:gd name="T49" fmla="*/ 8 h 65"/>
                <a:gd name="T50" fmla="*/ 25 w 70"/>
                <a:gd name="T51" fmla="*/ 27 h 65"/>
                <a:gd name="T52" fmla="*/ 27 w 70"/>
                <a:gd name="T53" fmla="*/ 2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5">
                  <a:moveTo>
                    <a:pt x="56" y="64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22" y="40"/>
                  </a:lnTo>
                  <a:lnTo>
                    <a:pt x="0" y="27"/>
                  </a:lnTo>
                  <a:lnTo>
                    <a:pt x="25" y="27"/>
                  </a:lnTo>
                  <a:lnTo>
                    <a:pt x="24" y="30"/>
                  </a:lnTo>
                  <a:lnTo>
                    <a:pt x="8" y="30"/>
                  </a:lnTo>
                  <a:lnTo>
                    <a:pt x="24" y="40"/>
                  </a:lnTo>
                  <a:lnTo>
                    <a:pt x="19" y="59"/>
                  </a:lnTo>
                  <a:lnTo>
                    <a:pt x="35" y="43"/>
                  </a:lnTo>
                  <a:lnTo>
                    <a:pt x="51" y="56"/>
                  </a:lnTo>
                  <a:lnTo>
                    <a:pt x="45" y="40"/>
                  </a:lnTo>
                  <a:lnTo>
                    <a:pt x="59" y="30"/>
                  </a:lnTo>
                  <a:lnTo>
                    <a:pt x="37" y="30"/>
                  </a:lnTo>
                  <a:lnTo>
                    <a:pt x="33" y="12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9" y="27"/>
                  </a:lnTo>
                  <a:lnTo>
                    <a:pt x="51" y="40"/>
                  </a:lnTo>
                  <a:lnTo>
                    <a:pt x="56" y="64"/>
                  </a:lnTo>
                  <a:close/>
                  <a:moveTo>
                    <a:pt x="27" y="27"/>
                  </a:moveTo>
                  <a:lnTo>
                    <a:pt x="33" y="12"/>
                  </a:lnTo>
                  <a:lnTo>
                    <a:pt x="32" y="8"/>
                  </a:lnTo>
                  <a:lnTo>
                    <a:pt x="25" y="27"/>
                  </a:lnTo>
                  <a:lnTo>
                    <a:pt x="27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6" name="Freeform 98">
              <a:extLst>
                <a:ext uri="{FF2B5EF4-FFF2-40B4-BE49-F238E27FC236}">
                  <a16:creationId xmlns:a16="http://schemas.microsoft.com/office/drawing/2014/main" id="{A7397A60-B627-D444-82EC-24E5B54059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7950" y="2117725"/>
              <a:ext cx="22225" cy="20638"/>
            </a:xfrm>
            <a:custGeom>
              <a:avLst/>
              <a:gdLst>
                <a:gd name="T0" fmla="*/ 32 w 62"/>
                <a:gd name="T1" fmla="*/ 0 h 57"/>
                <a:gd name="T2" fmla="*/ 42 w 62"/>
                <a:gd name="T3" fmla="*/ 21 h 57"/>
                <a:gd name="T4" fmla="*/ 61 w 62"/>
                <a:gd name="T5" fmla="*/ 21 h 57"/>
                <a:gd name="T6" fmla="*/ 45 w 62"/>
                <a:gd name="T7" fmla="*/ 34 h 57"/>
                <a:gd name="T8" fmla="*/ 50 w 62"/>
                <a:gd name="T9" fmla="*/ 56 h 57"/>
                <a:gd name="T10" fmla="*/ 32 w 62"/>
                <a:gd name="T11" fmla="*/ 37 h 57"/>
                <a:gd name="T12" fmla="*/ 13 w 62"/>
                <a:gd name="T13" fmla="*/ 56 h 57"/>
                <a:gd name="T14" fmla="*/ 21 w 62"/>
                <a:gd name="T15" fmla="*/ 34 h 57"/>
                <a:gd name="T16" fmla="*/ 0 w 62"/>
                <a:gd name="T17" fmla="*/ 21 h 57"/>
                <a:gd name="T18" fmla="*/ 24 w 62"/>
                <a:gd name="T19" fmla="*/ 24 h 57"/>
                <a:gd name="T20" fmla="*/ 32 w 62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57">
                  <a:moveTo>
                    <a:pt x="32" y="0"/>
                  </a:moveTo>
                  <a:lnTo>
                    <a:pt x="42" y="21"/>
                  </a:lnTo>
                  <a:lnTo>
                    <a:pt x="61" y="21"/>
                  </a:lnTo>
                  <a:lnTo>
                    <a:pt x="45" y="34"/>
                  </a:lnTo>
                  <a:lnTo>
                    <a:pt x="50" y="56"/>
                  </a:lnTo>
                  <a:lnTo>
                    <a:pt x="32" y="37"/>
                  </a:lnTo>
                  <a:lnTo>
                    <a:pt x="13" y="56"/>
                  </a:lnTo>
                  <a:lnTo>
                    <a:pt x="21" y="34"/>
                  </a:lnTo>
                  <a:lnTo>
                    <a:pt x="0" y="21"/>
                  </a:lnTo>
                  <a:lnTo>
                    <a:pt x="24" y="2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7" name="Freeform 99">
              <a:extLst>
                <a:ext uri="{FF2B5EF4-FFF2-40B4-BE49-F238E27FC236}">
                  <a16:creationId xmlns:a16="http://schemas.microsoft.com/office/drawing/2014/main" id="{CC2871CC-69BD-2E4C-8327-52E634B53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7950" y="2117725"/>
              <a:ext cx="25400" cy="22225"/>
            </a:xfrm>
            <a:custGeom>
              <a:avLst/>
              <a:gdLst>
                <a:gd name="T0" fmla="*/ 56 w 70"/>
                <a:gd name="T1" fmla="*/ 61 h 62"/>
                <a:gd name="T2" fmla="*/ 35 w 70"/>
                <a:gd name="T3" fmla="*/ 43 h 62"/>
                <a:gd name="T4" fmla="*/ 16 w 70"/>
                <a:gd name="T5" fmla="*/ 61 h 62"/>
                <a:gd name="T6" fmla="*/ 13 w 70"/>
                <a:gd name="T7" fmla="*/ 61 h 62"/>
                <a:gd name="T8" fmla="*/ 21 w 70"/>
                <a:gd name="T9" fmla="*/ 40 h 62"/>
                <a:gd name="T10" fmla="*/ 0 w 70"/>
                <a:gd name="T11" fmla="*/ 27 h 62"/>
                <a:gd name="T12" fmla="*/ 25 w 70"/>
                <a:gd name="T13" fmla="*/ 27 h 62"/>
                <a:gd name="T14" fmla="*/ 24 w 70"/>
                <a:gd name="T15" fmla="*/ 29 h 62"/>
                <a:gd name="T16" fmla="*/ 8 w 70"/>
                <a:gd name="T17" fmla="*/ 27 h 62"/>
                <a:gd name="T18" fmla="*/ 24 w 70"/>
                <a:gd name="T19" fmla="*/ 37 h 62"/>
                <a:gd name="T20" fmla="*/ 19 w 70"/>
                <a:gd name="T21" fmla="*/ 56 h 62"/>
                <a:gd name="T22" fmla="*/ 35 w 70"/>
                <a:gd name="T23" fmla="*/ 40 h 62"/>
                <a:gd name="T24" fmla="*/ 51 w 70"/>
                <a:gd name="T25" fmla="*/ 56 h 62"/>
                <a:gd name="T26" fmla="*/ 45 w 70"/>
                <a:gd name="T27" fmla="*/ 40 h 62"/>
                <a:gd name="T28" fmla="*/ 58 w 70"/>
                <a:gd name="T29" fmla="*/ 29 h 62"/>
                <a:gd name="T30" fmla="*/ 40 w 70"/>
                <a:gd name="T31" fmla="*/ 29 h 62"/>
                <a:gd name="T32" fmla="*/ 33 w 70"/>
                <a:gd name="T33" fmla="*/ 11 h 62"/>
                <a:gd name="T34" fmla="*/ 37 w 70"/>
                <a:gd name="T35" fmla="*/ 0 h 62"/>
                <a:gd name="T36" fmla="*/ 45 w 70"/>
                <a:gd name="T37" fmla="*/ 24 h 62"/>
                <a:gd name="T38" fmla="*/ 69 w 70"/>
                <a:gd name="T39" fmla="*/ 24 h 62"/>
                <a:gd name="T40" fmla="*/ 51 w 70"/>
                <a:gd name="T41" fmla="*/ 37 h 62"/>
                <a:gd name="T42" fmla="*/ 56 w 70"/>
                <a:gd name="T43" fmla="*/ 61 h 62"/>
                <a:gd name="T44" fmla="*/ 27 w 70"/>
                <a:gd name="T45" fmla="*/ 27 h 62"/>
                <a:gd name="T46" fmla="*/ 33 w 70"/>
                <a:gd name="T47" fmla="*/ 11 h 62"/>
                <a:gd name="T48" fmla="*/ 32 w 70"/>
                <a:gd name="T49" fmla="*/ 8 h 62"/>
                <a:gd name="T50" fmla="*/ 25 w 70"/>
                <a:gd name="T51" fmla="*/ 27 h 62"/>
                <a:gd name="T52" fmla="*/ 27 w 70"/>
                <a:gd name="T53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62">
                  <a:moveTo>
                    <a:pt x="56" y="61"/>
                  </a:moveTo>
                  <a:lnTo>
                    <a:pt x="35" y="43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5" y="27"/>
                  </a:lnTo>
                  <a:lnTo>
                    <a:pt x="24" y="29"/>
                  </a:lnTo>
                  <a:lnTo>
                    <a:pt x="8" y="27"/>
                  </a:lnTo>
                  <a:lnTo>
                    <a:pt x="24" y="37"/>
                  </a:lnTo>
                  <a:lnTo>
                    <a:pt x="19" y="56"/>
                  </a:lnTo>
                  <a:lnTo>
                    <a:pt x="35" y="40"/>
                  </a:lnTo>
                  <a:lnTo>
                    <a:pt x="51" y="56"/>
                  </a:lnTo>
                  <a:lnTo>
                    <a:pt x="45" y="40"/>
                  </a:lnTo>
                  <a:lnTo>
                    <a:pt x="58" y="29"/>
                  </a:lnTo>
                  <a:lnTo>
                    <a:pt x="40" y="29"/>
                  </a:lnTo>
                  <a:lnTo>
                    <a:pt x="33" y="11"/>
                  </a:lnTo>
                  <a:lnTo>
                    <a:pt x="37" y="0"/>
                  </a:lnTo>
                  <a:lnTo>
                    <a:pt x="45" y="24"/>
                  </a:lnTo>
                  <a:lnTo>
                    <a:pt x="69" y="24"/>
                  </a:lnTo>
                  <a:lnTo>
                    <a:pt x="51" y="37"/>
                  </a:lnTo>
                  <a:lnTo>
                    <a:pt x="56" y="61"/>
                  </a:lnTo>
                  <a:close/>
                  <a:moveTo>
                    <a:pt x="27" y="27"/>
                  </a:moveTo>
                  <a:lnTo>
                    <a:pt x="33" y="11"/>
                  </a:lnTo>
                  <a:lnTo>
                    <a:pt x="32" y="8"/>
                  </a:lnTo>
                  <a:lnTo>
                    <a:pt x="25" y="27"/>
                  </a:lnTo>
                  <a:lnTo>
                    <a:pt x="27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8" name="Freeform 100">
              <a:extLst>
                <a:ext uri="{FF2B5EF4-FFF2-40B4-BE49-F238E27FC236}">
                  <a16:creationId xmlns:a16="http://schemas.microsoft.com/office/drawing/2014/main" id="{C78A1ED5-B308-304D-BA70-38C700301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1413" y="2266950"/>
              <a:ext cx="33337" cy="31750"/>
            </a:xfrm>
            <a:custGeom>
              <a:avLst/>
              <a:gdLst>
                <a:gd name="T0" fmla="*/ 79 w 91"/>
                <a:gd name="T1" fmla="*/ 29 h 88"/>
                <a:gd name="T2" fmla="*/ 90 w 91"/>
                <a:gd name="T3" fmla="*/ 37 h 88"/>
                <a:gd name="T4" fmla="*/ 42 w 91"/>
                <a:gd name="T5" fmla="*/ 87 h 88"/>
                <a:gd name="T6" fmla="*/ 31 w 91"/>
                <a:gd name="T7" fmla="*/ 77 h 88"/>
                <a:gd name="T8" fmla="*/ 45 w 91"/>
                <a:gd name="T9" fmla="*/ 24 h 88"/>
                <a:gd name="T10" fmla="*/ 45 w 91"/>
                <a:gd name="T11" fmla="*/ 24 h 88"/>
                <a:gd name="T12" fmla="*/ 10 w 91"/>
                <a:gd name="T13" fmla="*/ 58 h 88"/>
                <a:gd name="T14" fmla="*/ 0 w 91"/>
                <a:gd name="T15" fmla="*/ 50 h 88"/>
                <a:gd name="T16" fmla="*/ 47 w 91"/>
                <a:gd name="T17" fmla="*/ 0 h 88"/>
                <a:gd name="T18" fmla="*/ 58 w 91"/>
                <a:gd name="T19" fmla="*/ 11 h 88"/>
                <a:gd name="T20" fmla="*/ 47 w 91"/>
                <a:gd name="T21" fmla="*/ 64 h 88"/>
                <a:gd name="T22" fmla="*/ 47 w 91"/>
                <a:gd name="T23" fmla="*/ 64 h 88"/>
                <a:gd name="T24" fmla="*/ 79 w 91"/>
                <a:gd name="T25" fmla="*/ 2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88">
                  <a:moveTo>
                    <a:pt x="79" y="29"/>
                  </a:moveTo>
                  <a:lnTo>
                    <a:pt x="90" y="37"/>
                  </a:lnTo>
                  <a:lnTo>
                    <a:pt x="42" y="87"/>
                  </a:lnTo>
                  <a:lnTo>
                    <a:pt x="31" y="77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10" y="58"/>
                  </a:lnTo>
                  <a:lnTo>
                    <a:pt x="0" y="50"/>
                  </a:lnTo>
                  <a:lnTo>
                    <a:pt x="47" y="0"/>
                  </a:lnTo>
                  <a:lnTo>
                    <a:pt x="58" y="11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79" y="2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9" name="Freeform 101">
              <a:extLst>
                <a:ext uri="{FF2B5EF4-FFF2-40B4-BE49-F238E27FC236}">
                  <a16:creationId xmlns:a16="http://schemas.microsoft.com/office/drawing/2014/main" id="{1E948274-F663-A04C-98A9-41709BC47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300" y="2030413"/>
              <a:ext cx="23813" cy="26987"/>
            </a:xfrm>
            <a:custGeom>
              <a:avLst/>
              <a:gdLst>
                <a:gd name="T0" fmla="*/ 16 w 66"/>
                <a:gd name="T1" fmla="*/ 67 h 73"/>
                <a:gd name="T2" fmla="*/ 0 w 66"/>
                <a:gd name="T3" fmla="*/ 64 h 73"/>
                <a:gd name="T4" fmla="*/ 32 w 66"/>
                <a:gd name="T5" fmla="*/ 0 h 73"/>
                <a:gd name="T6" fmla="*/ 47 w 66"/>
                <a:gd name="T7" fmla="*/ 3 h 73"/>
                <a:gd name="T8" fmla="*/ 65 w 66"/>
                <a:gd name="T9" fmla="*/ 72 h 73"/>
                <a:gd name="T10" fmla="*/ 49 w 66"/>
                <a:gd name="T11" fmla="*/ 69 h 73"/>
                <a:gd name="T12" fmla="*/ 47 w 66"/>
                <a:gd name="T13" fmla="*/ 56 h 73"/>
                <a:gd name="T14" fmla="*/ 21 w 66"/>
                <a:gd name="T15" fmla="*/ 53 h 73"/>
                <a:gd name="T16" fmla="*/ 16 w 66"/>
                <a:gd name="T17" fmla="*/ 67 h 73"/>
                <a:gd name="T18" fmla="*/ 26 w 66"/>
                <a:gd name="T19" fmla="*/ 40 h 73"/>
                <a:gd name="T20" fmla="*/ 44 w 66"/>
                <a:gd name="T21" fmla="*/ 43 h 73"/>
                <a:gd name="T22" fmla="*/ 39 w 66"/>
                <a:gd name="T23" fmla="*/ 16 h 73"/>
                <a:gd name="T24" fmla="*/ 39 w 66"/>
                <a:gd name="T25" fmla="*/ 16 h 73"/>
                <a:gd name="T26" fmla="*/ 26 w 66"/>
                <a:gd name="T27" fmla="*/ 4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73">
                  <a:moveTo>
                    <a:pt x="16" y="67"/>
                  </a:moveTo>
                  <a:lnTo>
                    <a:pt x="0" y="64"/>
                  </a:lnTo>
                  <a:lnTo>
                    <a:pt x="32" y="0"/>
                  </a:lnTo>
                  <a:lnTo>
                    <a:pt x="47" y="3"/>
                  </a:lnTo>
                  <a:lnTo>
                    <a:pt x="65" y="72"/>
                  </a:lnTo>
                  <a:lnTo>
                    <a:pt x="49" y="69"/>
                  </a:lnTo>
                  <a:lnTo>
                    <a:pt x="47" y="56"/>
                  </a:lnTo>
                  <a:lnTo>
                    <a:pt x="21" y="53"/>
                  </a:lnTo>
                  <a:lnTo>
                    <a:pt x="16" y="67"/>
                  </a:lnTo>
                  <a:close/>
                  <a:moveTo>
                    <a:pt x="26" y="40"/>
                  </a:moveTo>
                  <a:lnTo>
                    <a:pt x="44" y="43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26" y="4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0" name="Freeform 102">
              <a:extLst>
                <a:ext uri="{FF2B5EF4-FFF2-40B4-BE49-F238E27FC236}">
                  <a16:creationId xmlns:a16="http://schemas.microsoft.com/office/drawing/2014/main" id="{36BE240E-D9A5-1A48-9E69-F5D85BBFA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050" y="2033588"/>
              <a:ext cx="19050" cy="28575"/>
            </a:xfrm>
            <a:custGeom>
              <a:avLst/>
              <a:gdLst>
                <a:gd name="T0" fmla="*/ 18 w 54"/>
                <a:gd name="T1" fmla="*/ 58 h 80"/>
                <a:gd name="T2" fmla="*/ 53 w 54"/>
                <a:gd name="T3" fmla="*/ 69 h 80"/>
                <a:gd name="T4" fmla="*/ 48 w 54"/>
                <a:gd name="T5" fmla="*/ 79 h 80"/>
                <a:gd name="T6" fmla="*/ 0 w 54"/>
                <a:gd name="T7" fmla="*/ 66 h 80"/>
                <a:gd name="T8" fmla="*/ 24 w 54"/>
                <a:gd name="T9" fmla="*/ 0 h 80"/>
                <a:gd name="T10" fmla="*/ 37 w 54"/>
                <a:gd name="T11" fmla="*/ 5 h 80"/>
                <a:gd name="T12" fmla="*/ 18 w 54"/>
                <a:gd name="T13" fmla="*/ 5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80">
                  <a:moveTo>
                    <a:pt x="18" y="58"/>
                  </a:moveTo>
                  <a:lnTo>
                    <a:pt x="53" y="69"/>
                  </a:lnTo>
                  <a:lnTo>
                    <a:pt x="48" y="79"/>
                  </a:lnTo>
                  <a:lnTo>
                    <a:pt x="0" y="66"/>
                  </a:lnTo>
                  <a:lnTo>
                    <a:pt x="24" y="0"/>
                  </a:lnTo>
                  <a:lnTo>
                    <a:pt x="37" y="5"/>
                  </a:lnTo>
                  <a:lnTo>
                    <a:pt x="18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1" name="Freeform 103">
              <a:extLst>
                <a:ext uri="{FF2B5EF4-FFF2-40B4-BE49-F238E27FC236}">
                  <a16:creationId xmlns:a16="http://schemas.microsoft.com/office/drawing/2014/main" id="{9A4E1E94-E468-844A-8033-0C043B4627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6038" y="2046288"/>
              <a:ext cx="28575" cy="30162"/>
            </a:xfrm>
            <a:custGeom>
              <a:avLst/>
              <a:gdLst>
                <a:gd name="T0" fmla="*/ 50 w 81"/>
                <a:gd name="T1" fmla="*/ 66 h 83"/>
                <a:gd name="T2" fmla="*/ 13 w 81"/>
                <a:gd name="T3" fmla="*/ 71 h 83"/>
                <a:gd name="T4" fmla="*/ 0 w 81"/>
                <a:gd name="T5" fmla="*/ 53 h 83"/>
                <a:gd name="T6" fmla="*/ 5 w 81"/>
                <a:gd name="T7" fmla="*/ 37 h 83"/>
                <a:gd name="T8" fmla="*/ 32 w 81"/>
                <a:gd name="T9" fmla="*/ 0 h 83"/>
                <a:gd name="T10" fmla="*/ 45 w 81"/>
                <a:gd name="T11" fmla="*/ 8 h 83"/>
                <a:gd name="T12" fmla="*/ 21 w 81"/>
                <a:gd name="T13" fmla="*/ 45 h 83"/>
                <a:gd name="T14" fmla="*/ 24 w 81"/>
                <a:gd name="T15" fmla="*/ 63 h 83"/>
                <a:gd name="T16" fmla="*/ 42 w 81"/>
                <a:gd name="T17" fmla="*/ 61 h 83"/>
                <a:gd name="T18" fmla="*/ 66 w 81"/>
                <a:gd name="T19" fmla="*/ 24 h 83"/>
                <a:gd name="T20" fmla="*/ 80 w 81"/>
                <a:gd name="T21" fmla="*/ 32 h 83"/>
                <a:gd name="T22" fmla="*/ 50 w 81"/>
                <a:gd name="T23" fmla="*/ 6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83">
                  <a:moveTo>
                    <a:pt x="50" y="66"/>
                  </a:moveTo>
                  <a:cubicBezTo>
                    <a:pt x="40" y="82"/>
                    <a:pt x="27" y="82"/>
                    <a:pt x="13" y="71"/>
                  </a:cubicBezTo>
                  <a:cubicBezTo>
                    <a:pt x="8" y="69"/>
                    <a:pt x="0" y="61"/>
                    <a:pt x="0" y="53"/>
                  </a:cubicBezTo>
                  <a:cubicBezTo>
                    <a:pt x="0" y="47"/>
                    <a:pt x="0" y="42"/>
                    <a:pt x="5" y="37"/>
                  </a:cubicBezTo>
                  <a:lnTo>
                    <a:pt x="32" y="0"/>
                  </a:lnTo>
                  <a:lnTo>
                    <a:pt x="45" y="8"/>
                  </a:lnTo>
                  <a:lnTo>
                    <a:pt x="21" y="45"/>
                  </a:lnTo>
                  <a:cubicBezTo>
                    <a:pt x="16" y="53"/>
                    <a:pt x="19" y="58"/>
                    <a:pt x="24" y="63"/>
                  </a:cubicBezTo>
                  <a:cubicBezTo>
                    <a:pt x="32" y="69"/>
                    <a:pt x="37" y="66"/>
                    <a:pt x="42" y="61"/>
                  </a:cubicBezTo>
                  <a:lnTo>
                    <a:pt x="66" y="24"/>
                  </a:lnTo>
                  <a:lnTo>
                    <a:pt x="80" y="32"/>
                  </a:lnTo>
                  <a:lnTo>
                    <a:pt x="50" y="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2" name="Freeform 104">
              <a:extLst>
                <a:ext uri="{FF2B5EF4-FFF2-40B4-BE49-F238E27FC236}">
                  <a16:creationId xmlns:a16="http://schemas.microsoft.com/office/drawing/2014/main" id="{D7C8FB0F-E0E6-E04F-82B2-ED6248C1FD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1438" y="2062163"/>
              <a:ext cx="25400" cy="26987"/>
            </a:xfrm>
            <a:custGeom>
              <a:avLst/>
              <a:gdLst>
                <a:gd name="T0" fmla="*/ 10 w 72"/>
                <a:gd name="T1" fmla="*/ 75 h 76"/>
                <a:gd name="T2" fmla="*/ 0 w 72"/>
                <a:gd name="T3" fmla="*/ 64 h 76"/>
                <a:gd name="T4" fmla="*/ 37 w 72"/>
                <a:gd name="T5" fmla="*/ 22 h 76"/>
                <a:gd name="T6" fmla="*/ 21 w 72"/>
                <a:gd name="T7" fmla="*/ 8 h 76"/>
                <a:gd name="T8" fmla="*/ 29 w 72"/>
                <a:gd name="T9" fmla="*/ 0 h 76"/>
                <a:gd name="T10" fmla="*/ 71 w 72"/>
                <a:gd name="T11" fmla="*/ 35 h 76"/>
                <a:gd name="T12" fmla="*/ 63 w 72"/>
                <a:gd name="T13" fmla="*/ 43 h 76"/>
                <a:gd name="T14" fmla="*/ 47 w 72"/>
                <a:gd name="T15" fmla="*/ 32 h 76"/>
                <a:gd name="T16" fmla="*/ 10 w 72"/>
                <a:gd name="T17" fmla="*/ 7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6">
                  <a:moveTo>
                    <a:pt x="10" y="75"/>
                  </a:moveTo>
                  <a:lnTo>
                    <a:pt x="0" y="64"/>
                  </a:lnTo>
                  <a:lnTo>
                    <a:pt x="37" y="22"/>
                  </a:lnTo>
                  <a:lnTo>
                    <a:pt x="21" y="8"/>
                  </a:lnTo>
                  <a:lnTo>
                    <a:pt x="29" y="0"/>
                  </a:lnTo>
                  <a:lnTo>
                    <a:pt x="71" y="35"/>
                  </a:lnTo>
                  <a:lnTo>
                    <a:pt x="63" y="43"/>
                  </a:lnTo>
                  <a:lnTo>
                    <a:pt x="47" y="32"/>
                  </a:lnTo>
                  <a:lnTo>
                    <a:pt x="10" y="7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3" name="Freeform 105">
              <a:extLst>
                <a:ext uri="{FF2B5EF4-FFF2-40B4-BE49-F238E27FC236}">
                  <a16:creationId xmlns:a16="http://schemas.microsoft.com/office/drawing/2014/main" id="{720E8EE9-A22F-844E-B40C-5B69FABF40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725" y="2030413"/>
              <a:ext cx="23813" cy="28575"/>
            </a:xfrm>
            <a:custGeom>
              <a:avLst/>
              <a:gdLst>
                <a:gd name="T0" fmla="*/ 16 w 65"/>
                <a:gd name="T1" fmla="*/ 51 h 81"/>
                <a:gd name="T2" fmla="*/ 32 w 65"/>
                <a:gd name="T3" fmla="*/ 59 h 81"/>
                <a:gd name="T4" fmla="*/ 45 w 65"/>
                <a:gd name="T5" fmla="*/ 48 h 81"/>
                <a:gd name="T6" fmla="*/ 32 w 65"/>
                <a:gd name="T7" fmla="*/ 43 h 81"/>
                <a:gd name="T8" fmla="*/ 24 w 65"/>
                <a:gd name="T9" fmla="*/ 43 h 81"/>
                <a:gd name="T10" fmla="*/ 0 w 65"/>
                <a:gd name="T11" fmla="*/ 27 h 81"/>
                <a:gd name="T12" fmla="*/ 24 w 65"/>
                <a:gd name="T13" fmla="*/ 3 h 81"/>
                <a:gd name="T14" fmla="*/ 53 w 65"/>
                <a:gd name="T15" fmla="*/ 22 h 81"/>
                <a:gd name="T16" fmla="*/ 40 w 65"/>
                <a:gd name="T17" fmla="*/ 24 h 81"/>
                <a:gd name="T18" fmla="*/ 24 w 65"/>
                <a:gd name="T19" fmla="*/ 16 h 81"/>
                <a:gd name="T20" fmla="*/ 13 w 65"/>
                <a:gd name="T21" fmla="*/ 27 h 81"/>
                <a:gd name="T22" fmla="*/ 21 w 65"/>
                <a:gd name="T23" fmla="*/ 32 h 81"/>
                <a:gd name="T24" fmla="*/ 40 w 65"/>
                <a:gd name="T25" fmla="*/ 35 h 81"/>
                <a:gd name="T26" fmla="*/ 61 w 65"/>
                <a:gd name="T27" fmla="*/ 51 h 81"/>
                <a:gd name="T28" fmla="*/ 37 w 65"/>
                <a:gd name="T29" fmla="*/ 77 h 81"/>
                <a:gd name="T30" fmla="*/ 3 w 65"/>
                <a:gd name="T31" fmla="*/ 59 h 81"/>
                <a:gd name="T32" fmla="*/ 16 w 65"/>
                <a:gd name="T33" fmla="*/ 5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81">
                  <a:moveTo>
                    <a:pt x="16" y="51"/>
                  </a:moveTo>
                  <a:cubicBezTo>
                    <a:pt x="16" y="53"/>
                    <a:pt x="19" y="61"/>
                    <a:pt x="32" y="59"/>
                  </a:cubicBezTo>
                  <a:cubicBezTo>
                    <a:pt x="40" y="59"/>
                    <a:pt x="45" y="56"/>
                    <a:pt x="45" y="48"/>
                  </a:cubicBezTo>
                  <a:cubicBezTo>
                    <a:pt x="45" y="43"/>
                    <a:pt x="40" y="43"/>
                    <a:pt x="32" y="43"/>
                  </a:cubicBezTo>
                  <a:lnTo>
                    <a:pt x="24" y="43"/>
                  </a:lnTo>
                  <a:cubicBezTo>
                    <a:pt x="13" y="43"/>
                    <a:pt x="0" y="40"/>
                    <a:pt x="0" y="27"/>
                  </a:cubicBezTo>
                  <a:cubicBezTo>
                    <a:pt x="0" y="19"/>
                    <a:pt x="0" y="6"/>
                    <a:pt x="24" y="3"/>
                  </a:cubicBezTo>
                  <a:cubicBezTo>
                    <a:pt x="45" y="0"/>
                    <a:pt x="53" y="14"/>
                    <a:pt x="53" y="22"/>
                  </a:cubicBezTo>
                  <a:lnTo>
                    <a:pt x="40" y="24"/>
                  </a:lnTo>
                  <a:cubicBezTo>
                    <a:pt x="40" y="22"/>
                    <a:pt x="37" y="14"/>
                    <a:pt x="24" y="16"/>
                  </a:cubicBezTo>
                  <a:cubicBezTo>
                    <a:pt x="19" y="16"/>
                    <a:pt x="13" y="19"/>
                    <a:pt x="13" y="27"/>
                  </a:cubicBezTo>
                  <a:cubicBezTo>
                    <a:pt x="13" y="32"/>
                    <a:pt x="19" y="32"/>
                    <a:pt x="21" y="32"/>
                  </a:cubicBezTo>
                  <a:lnTo>
                    <a:pt x="40" y="35"/>
                  </a:lnTo>
                  <a:cubicBezTo>
                    <a:pt x="50" y="35"/>
                    <a:pt x="58" y="37"/>
                    <a:pt x="61" y="51"/>
                  </a:cubicBezTo>
                  <a:cubicBezTo>
                    <a:pt x="64" y="72"/>
                    <a:pt x="43" y="75"/>
                    <a:pt x="37" y="77"/>
                  </a:cubicBezTo>
                  <a:cubicBezTo>
                    <a:pt x="13" y="80"/>
                    <a:pt x="5" y="67"/>
                    <a:pt x="3" y="59"/>
                  </a:cubicBezTo>
                  <a:lnTo>
                    <a:pt x="16" y="5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4" name="Freeform 106">
              <a:extLst>
                <a:ext uri="{FF2B5EF4-FFF2-40B4-BE49-F238E27FC236}">
                  <a16:creationId xmlns:a16="http://schemas.microsoft.com/office/drawing/2014/main" id="{726CBDFD-625D-F74D-B911-6319E4123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8400" y="2044700"/>
              <a:ext cx="33338" cy="31750"/>
            </a:xfrm>
            <a:custGeom>
              <a:avLst/>
              <a:gdLst>
                <a:gd name="T0" fmla="*/ 74 w 91"/>
                <a:gd name="T1" fmla="*/ 27 h 86"/>
                <a:gd name="T2" fmla="*/ 61 w 91"/>
                <a:gd name="T3" fmla="*/ 74 h 86"/>
                <a:gd name="T4" fmla="*/ 13 w 91"/>
                <a:gd name="T5" fmla="*/ 58 h 86"/>
                <a:gd name="T6" fmla="*/ 26 w 91"/>
                <a:gd name="T7" fmla="*/ 11 h 86"/>
                <a:gd name="T8" fmla="*/ 74 w 91"/>
                <a:gd name="T9" fmla="*/ 27 h 86"/>
                <a:gd name="T10" fmla="*/ 61 w 91"/>
                <a:gd name="T11" fmla="*/ 35 h 86"/>
                <a:gd name="T12" fmla="*/ 31 w 91"/>
                <a:gd name="T13" fmla="*/ 21 h 86"/>
                <a:gd name="T14" fmla="*/ 26 w 91"/>
                <a:gd name="T15" fmla="*/ 50 h 86"/>
                <a:gd name="T16" fmla="*/ 55 w 91"/>
                <a:gd name="T17" fmla="*/ 64 h 86"/>
                <a:gd name="T18" fmla="*/ 61 w 91"/>
                <a:gd name="T19" fmla="*/ 3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86">
                  <a:moveTo>
                    <a:pt x="74" y="27"/>
                  </a:moveTo>
                  <a:cubicBezTo>
                    <a:pt x="90" y="56"/>
                    <a:pt x="69" y="69"/>
                    <a:pt x="61" y="74"/>
                  </a:cubicBezTo>
                  <a:cubicBezTo>
                    <a:pt x="53" y="80"/>
                    <a:pt x="29" y="85"/>
                    <a:pt x="13" y="58"/>
                  </a:cubicBezTo>
                  <a:cubicBezTo>
                    <a:pt x="0" y="29"/>
                    <a:pt x="18" y="16"/>
                    <a:pt x="26" y="11"/>
                  </a:cubicBezTo>
                  <a:cubicBezTo>
                    <a:pt x="34" y="5"/>
                    <a:pt x="58" y="0"/>
                    <a:pt x="74" y="27"/>
                  </a:cubicBezTo>
                  <a:close/>
                  <a:moveTo>
                    <a:pt x="61" y="35"/>
                  </a:moveTo>
                  <a:cubicBezTo>
                    <a:pt x="53" y="19"/>
                    <a:pt x="39" y="18"/>
                    <a:pt x="31" y="21"/>
                  </a:cubicBezTo>
                  <a:cubicBezTo>
                    <a:pt x="23" y="23"/>
                    <a:pt x="18" y="35"/>
                    <a:pt x="26" y="50"/>
                  </a:cubicBezTo>
                  <a:cubicBezTo>
                    <a:pt x="34" y="69"/>
                    <a:pt x="47" y="69"/>
                    <a:pt x="55" y="64"/>
                  </a:cubicBezTo>
                  <a:cubicBezTo>
                    <a:pt x="63" y="61"/>
                    <a:pt x="69" y="50"/>
                    <a:pt x="61" y="3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5" name="Freeform 107">
              <a:extLst>
                <a:ext uri="{FF2B5EF4-FFF2-40B4-BE49-F238E27FC236}">
                  <a16:creationId xmlns:a16="http://schemas.microsoft.com/office/drawing/2014/main" id="{14122C83-9785-4D4B-930B-812D4C7C8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1413" y="2065338"/>
              <a:ext cx="33337" cy="30162"/>
            </a:xfrm>
            <a:custGeom>
              <a:avLst/>
              <a:gdLst>
                <a:gd name="T0" fmla="*/ 0 w 91"/>
                <a:gd name="T1" fmla="*/ 37 h 85"/>
                <a:gd name="T2" fmla="*/ 23 w 91"/>
                <a:gd name="T3" fmla="*/ 13 h 85"/>
                <a:gd name="T4" fmla="*/ 52 w 91"/>
                <a:gd name="T5" fmla="*/ 10 h 85"/>
                <a:gd name="T6" fmla="*/ 58 w 91"/>
                <a:gd name="T7" fmla="*/ 29 h 85"/>
                <a:gd name="T8" fmla="*/ 76 w 91"/>
                <a:gd name="T9" fmla="*/ 34 h 85"/>
                <a:gd name="T10" fmla="*/ 90 w 91"/>
                <a:gd name="T11" fmla="*/ 42 h 85"/>
                <a:gd name="T12" fmla="*/ 90 w 91"/>
                <a:gd name="T13" fmla="*/ 42 h 85"/>
                <a:gd name="T14" fmla="*/ 79 w 91"/>
                <a:gd name="T15" fmla="*/ 53 h 85"/>
                <a:gd name="T16" fmla="*/ 68 w 91"/>
                <a:gd name="T17" fmla="*/ 45 h 85"/>
                <a:gd name="T18" fmla="*/ 52 w 91"/>
                <a:gd name="T19" fmla="*/ 45 h 85"/>
                <a:gd name="T20" fmla="*/ 42 w 91"/>
                <a:gd name="T21" fmla="*/ 55 h 85"/>
                <a:gd name="T22" fmla="*/ 60 w 91"/>
                <a:gd name="T23" fmla="*/ 74 h 85"/>
                <a:gd name="T24" fmla="*/ 50 w 91"/>
                <a:gd name="T25" fmla="*/ 84 h 85"/>
                <a:gd name="T26" fmla="*/ 0 w 91"/>
                <a:gd name="T27" fmla="*/ 37 h 85"/>
                <a:gd name="T28" fmla="*/ 42 w 91"/>
                <a:gd name="T29" fmla="*/ 34 h 85"/>
                <a:gd name="T30" fmla="*/ 42 w 91"/>
                <a:gd name="T31" fmla="*/ 21 h 85"/>
                <a:gd name="T32" fmla="*/ 29 w 91"/>
                <a:gd name="T33" fmla="*/ 21 h 85"/>
                <a:gd name="T34" fmla="*/ 15 w 91"/>
                <a:gd name="T35" fmla="*/ 34 h 85"/>
                <a:gd name="T36" fmla="*/ 29 w 91"/>
                <a:gd name="T37" fmla="*/ 47 h 85"/>
                <a:gd name="T38" fmla="*/ 42 w 91"/>
                <a:gd name="T39" fmla="*/ 3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1" h="85">
                  <a:moveTo>
                    <a:pt x="0" y="37"/>
                  </a:moveTo>
                  <a:lnTo>
                    <a:pt x="23" y="13"/>
                  </a:lnTo>
                  <a:cubicBezTo>
                    <a:pt x="37" y="0"/>
                    <a:pt x="47" y="8"/>
                    <a:pt x="52" y="10"/>
                  </a:cubicBezTo>
                  <a:cubicBezTo>
                    <a:pt x="58" y="16"/>
                    <a:pt x="60" y="24"/>
                    <a:pt x="58" y="29"/>
                  </a:cubicBezTo>
                  <a:cubicBezTo>
                    <a:pt x="63" y="26"/>
                    <a:pt x="68" y="26"/>
                    <a:pt x="76" y="34"/>
                  </a:cubicBezTo>
                  <a:cubicBezTo>
                    <a:pt x="84" y="42"/>
                    <a:pt x="84" y="42"/>
                    <a:pt x="90" y="42"/>
                  </a:cubicBezTo>
                  <a:lnTo>
                    <a:pt x="90" y="42"/>
                  </a:lnTo>
                  <a:lnTo>
                    <a:pt x="79" y="53"/>
                  </a:lnTo>
                  <a:cubicBezTo>
                    <a:pt x="76" y="50"/>
                    <a:pt x="74" y="50"/>
                    <a:pt x="68" y="45"/>
                  </a:cubicBezTo>
                  <a:cubicBezTo>
                    <a:pt x="60" y="39"/>
                    <a:pt x="58" y="37"/>
                    <a:pt x="52" y="45"/>
                  </a:cubicBezTo>
                  <a:lnTo>
                    <a:pt x="42" y="55"/>
                  </a:lnTo>
                  <a:lnTo>
                    <a:pt x="60" y="74"/>
                  </a:lnTo>
                  <a:lnTo>
                    <a:pt x="50" y="84"/>
                  </a:lnTo>
                  <a:lnTo>
                    <a:pt x="0" y="37"/>
                  </a:lnTo>
                  <a:close/>
                  <a:moveTo>
                    <a:pt x="42" y="34"/>
                  </a:moveTo>
                  <a:cubicBezTo>
                    <a:pt x="47" y="29"/>
                    <a:pt x="47" y="24"/>
                    <a:pt x="42" y="21"/>
                  </a:cubicBezTo>
                  <a:cubicBezTo>
                    <a:pt x="39" y="18"/>
                    <a:pt x="34" y="16"/>
                    <a:pt x="29" y="21"/>
                  </a:cubicBezTo>
                  <a:lnTo>
                    <a:pt x="15" y="34"/>
                  </a:lnTo>
                  <a:lnTo>
                    <a:pt x="29" y="47"/>
                  </a:lnTo>
                  <a:lnTo>
                    <a:pt x="42" y="3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6" name="Freeform 108">
              <a:extLst>
                <a:ext uri="{FF2B5EF4-FFF2-40B4-BE49-F238E27FC236}">
                  <a16:creationId xmlns:a16="http://schemas.microsoft.com/office/drawing/2014/main" id="{EB3A5737-EC31-CB43-9F1D-122969DA0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688" y="2289175"/>
              <a:ext cx="31750" cy="31750"/>
            </a:xfrm>
            <a:custGeom>
              <a:avLst/>
              <a:gdLst>
                <a:gd name="T0" fmla="*/ 37 w 86"/>
                <a:gd name="T1" fmla="*/ 8 h 88"/>
                <a:gd name="T2" fmla="*/ 51 w 86"/>
                <a:gd name="T3" fmla="*/ 0 h 88"/>
                <a:gd name="T4" fmla="*/ 85 w 86"/>
                <a:gd name="T5" fmla="*/ 58 h 88"/>
                <a:gd name="T6" fmla="*/ 72 w 86"/>
                <a:gd name="T7" fmla="*/ 66 h 88"/>
                <a:gd name="T8" fmla="*/ 21 w 86"/>
                <a:gd name="T9" fmla="*/ 37 h 88"/>
                <a:gd name="T10" fmla="*/ 21 w 86"/>
                <a:gd name="T11" fmla="*/ 37 h 88"/>
                <a:gd name="T12" fmla="*/ 45 w 86"/>
                <a:gd name="T13" fmla="*/ 79 h 88"/>
                <a:gd name="T14" fmla="*/ 35 w 86"/>
                <a:gd name="T15" fmla="*/ 87 h 88"/>
                <a:gd name="T16" fmla="*/ 0 w 86"/>
                <a:gd name="T17" fmla="*/ 29 h 88"/>
                <a:gd name="T18" fmla="*/ 13 w 86"/>
                <a:gd name="T19" fmla="*/ 21 h 88"/>
                <a:gd name="T20" fmla="*/ 61 w 86"/>
                <a:gd name="T21" fmla="*/ 48 h 88"/>
                <a:gd name="T22" fmla="*/ 61 w 86"/>
                <a:gd name="T23" fmla="*/ 48 h 88"/>
                <a:gd name="T24" fmla="*/ 37 w 86"/>
                <a:gd name="T25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" h="88">
                  <a:moveTo>
                    <a:pt x="37" y="8"/>
                  </a:moveTo>
                  <a:lnTo>
                    <a:pt x="51" y="0"/>
                  </a:lnTo>
                  <a:lnTo>
                    <a:pt x="85" y="58"/>
                  </a:lnTo>
                  <a:lnTo>
                    <a:pt x="72" y="66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45" y="79"/>
                  </a:lnTo>
                  <a:lnTo>
                    <a:pt x="35" y="87"/>
                  </a:lnTo>
                  <a:lnTo>
                    <a:pt x="0" y="29"/>
                  </a:lnTo>
                  <a:lnTo>
                    <a:pt x="13" y="21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37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7" name="Freeform 109">
              <a:extLst>
                <a:ext uri="{FF2B5EF4-FFF2-40B4-BE49-F238E27FC236}">
                  <a16:creationId xmlns:a16="http://schemas.microsoft.com/office/drawing/2014/main" id="{B4A1E835-A02B-B645-A02C-C3F189FA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1913" y="2273300"/>
              <a:ext cx="31750" cy="30163"/>
            </a:xfrm>
            <a:custGeom>
              <a:avLst/>
              <a:gdLst>
                <a:gd name="T0" fmla="*/ 0 w 86"/>
                <a:gd name="T1" fmla="*/ 31 h 85"/>
                <a:gd name="T2" fmla="*/ 24 w 86"/>
                <a:gd name="T3" fmla="*/ 13 h 85"/>
                <a:gd name="T4" fmla="*/ 66 w 86"/>
                <a:gd name="T5" fmla="*/ 21 h 85"/>
                <a:gd name="T6" fmla="*/ 66 w 86"/>
                <a:gd name="T7" fmla="*/ 66 h 85"/>
                <a:gd name="T8" fmla="*/ 42 w 86"/>
                <a:gd name="T9" fmla="*/ 84 h 85"/>
                <a:gd name="T10" fmla="*/ 0 w 86"/>
                <a:gd name="T11" fmla="*/ 31 h 85"/>
                <a:gd name="T12" fmla="*/ 47 w 86"/>
                <a:gd name="T13" fmla="*/ 66 h 85"/>
                <a:gd name="T14" fmla="*/ 58 w 86"/>
                <a:gd name="T15" fmla="*/ 58 h 85"/>
                <a:gd name="T16" fmla="*/ 55 w 86"/>
                <a:gd name="T17" fmla="*/ 31 h 85"/>
                <a:gd name="T18" fmla="*/ 29 w 86"/>
                <a:gd name="T19" fmla="*/ 23 h 85"/>
                <a:gd name="T20" fmla="*/ 18 w 86"/>
                <a:gd name="T21" fmla="*/ 31 h 85"/>
                <a:gd name="T22" fmla="*/ 47 w 86"/>
                <a:gd name="T23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85">
                  <a:moveTo>
                    <a:pt x="0" y="31"/>
                  </a:moveTo>
                  <a:lnTo>
                    <a:pt x="24" y="13"/>
                  </a:lnTo>
                  <a:cubicBezTo>
                    <a:pt x="42" y="0"/>
                    <a:pt x="58" y="10"/>
                    <a:pt x="66" y="21"/>
                  </a:cubicBezTo>
                  <a:cubicBezTo>
                    <a:pt x="74" y="31"/>
                    <a:pt x="85" y="53"/>
                    <a:pt x="66" y="66"/>
                  </a:cubicBezTo>
                  <a:lnTo>
                    <a:pt x="42" y="84"/>
                  </a:lnTo>
                  <a:lnTo>
                    <a:pt x="0" y="31"/>
                  </a:lnTo>
                  <a:close/>
                  <a:moveTo>
                    <a:pt x="47" y="66"/>
                  </a:moveTo>
                  <a:lnTo>
                    <a:pt x="58" y="58"/>
                  </a:lnTo>
                  <a:cubicBezTo>
                    <a:pt x="69" y="50"/>
                    <a:pt x="63" y="39"/>
                    <a:pt x="55" y="31"/>
                  </a:cubicBezTo>
                  <a:cubicBezTo>
                    <a:pt x="42" y="16"/>
                    <a:pt x="34" y="21"/>
                    <a:pt x="29" y="23"/>
                  </a:cubicBezTo>
                  <a:lnTo>
                    <a:pt x="18" y="31"/>
                  </a:lnTo>
                  <a:lnTo>
                    <a:pt x="47" y="6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8" name="Freeform 110">
              <a:extLst>
                <a:ext uri="{FF2B5EF4-FFF2-40B4-BE49-F238E27FC236}">
                  <a16:creationId xmlns:a16="http://schemas.microsoft.com/office/drawing/2014/main" id="{3747B405-69F7-ED47-BD8E-43DBE373D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0963" y="2265363"/>
              <a:ext cx="23812" cy="20637"/>
            </a:xfrm>
            <a:custGeom>
              <a:avLst/>
              <a:gdLst>
                <a:gd name="T0" fmla="*/ 63 w 64"/>
                <a:gd name="T1" fmla="*/ 45 h 56"/>
                <a:gd name="T2" fmla="*/ 53 w 64"/>
                <a:gd name="T3" fmla="*/ 55 h 56"/>
                <a:gd name="T4" fmla="*/ 0 w 64"/>
                <a:gd name="T5" fmla="*/ 10 h 56"/>
                <a:gd name="T6" fmla="*/ 10 w 64"/>
                <a:gd name="T7" fmla="*/ 0 h 56"/>
                <a:gd name="T8" fmla="*/ 63 w 64"/>
                <a:gd name="T9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6">
                  <a:moveTo>
                    <a:pt x="63" y="45"/>
                  </a:moveTo>
                  <a:lnTo>
                    <a:pt x="53" y="5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63" y="4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9" name="Freeform 111">
              <a:extLst>
                <a:ext uri="{FF2B5EF4-FFF2-40B4-BE49-F238E27FC236}">
                  <a16:creationId xmlns:a16="http://schemas.microsoft.com/office/drawing/2014/main" id="{D47BFA67-6460-6542-BAD1-33204A679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4138" y="2084388"/>
              <a:ext cx="31750" cy="28575"/>
            </a:xfrm>
            <a:custGeom>
              <a:avLst/>
              <a:gdLst>
                <a:gd name="T0" fmla="*/ 76 w 88"/>
                <a:gd name="T1" fmla="*/ 45 h 81"/>
                <a:gd name="T2" fmla="*/ 55 w 88"/>
                <a:gd name="T3" fmla="*/ 16 h 81"/>
                <a:gd name="T4" fmla="*/ 42 w 88"/>
                <a:gd name="T5" fmla="*/ 27 h 81"/>
                <a:gd name="T6" fmla="*/ 63 w 88"/>
                <a:gd name="T7" fmla="*/ 53 h 81"/>
                <a:gd name="T8" fmla="*/ 53 w 88"/>
                <a:gd name="T9" fmla="*/ 59 h 81"/>
                <a:gd name="T10" fmla="*/ 34 w 88"/>
                <a:gd name="T11" fmla="*/ 32 h 81"/>
                <a:gd name="T12" fmla="*/ 18 w 88"/>
                <a:gd name="T13" fmla="*/ 43 h 81"/>
                <a:gd name="T14" fmla="*/ 42 w 88"/>
                <a:gd name="T15" fmla="*/ 74 h 81"/>
                <a:gd name="T16" fmla="*/ 31 w 88"/>
                <a:gd name="T17" fmla="*/ 80 h 81"/>
                <a:gd name="T18" fmla="*/ 0 w 88"/>
                <a:gd name="T19" fmla="*/ 40 h 81"/>
                <a:gd name="T20" fmla="*/ 55 w 88"/>
                <a:gd name="T21" fmla="*/ 0 h 81"/>
                <a:gd name="T22" fmla="*/ 87 w 88"/>
                <a:gd name="T23" fmla="*/ 37 h 81"/>
                <a:gd name="T24" fmla="*/ 76 w 88"/>
                <a:gd name="T25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1">
                  <a:moveTo>
                    <a:pt x="76" y="45"/>
                  </a:moveTo>
                  <a:lnTo>
                    <a:pt x="55" y="16"/>
                  </a:lnTo>
                  <a:lnTo>
                    <a:pt x="42" y="27"/>
                  </a:lnTo>
                  <a:lnTo>
                    <a:pt x="63" y="53"/>
                  </a:lnTo>
                  <a:lnTo>
                    <a:pt x="53" y="59"/>
                  </a:lnTo>
                  <a:lnTo>
                    <a:pt x="34" y="32"/>
                  </a:lnTo>
                  <a:lnTo>
                    <a:pt x="18" y="43"/>
                  </a:lnTo>
                  <a:lnTo>
                    <a:pt x="42" y="74"/>
                  </a:lnTo>
                  <a:lnTo>
                    <a:pt x="31" y="80"/>
                  </a:lnTo>
                  <a:lnTo>
                    <a:pt x="0" y="40"/>
                  </a:lnTo>
                  <a:lnTo>
                    <a:pt x="55" y="0"/>
                  </a:lnTo>
                  <a:lnTo>
                    <a:pt x="87" y="37"/>
                  </a:lnTo>
                  <a:lnTo>
                    <a:pt x="76" y="4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0" name="Freeform 112">
              <a:extLst>
                <a:ext uri="{FF2B5EF4-FFF2-40B4-BE49-F238E27FC236}">
                  <a16:creationId xmlns:a16="http://schemas.microsoft.com/office/drawing/2014/main" id="{C05DE302-9888-3841-B7B9-9C02A598A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050" y="2284413"/>
              <a:ext cx="31750" cy="31750"/>
            </a:xfrm>
            <a:custGeom>
              <a:avLst/>
              <a:gdLst>
                <a:gd name="T0" fmla="*/ 71 w 90"/>
                <a:gd name="T1" fmla="*/ 63 h 90"/>
                <a:gd name="T2" fmla="*/ 24 w 90"/>
                <a:gd name="T3" fmla="*/ 74 h 90"/>
                <a:gd name="T4" fmla="*/ 18 w 90"/>
                <a:gd name="T5" fmla="*/ 26 h 90"/>
                <a:gd name="T6" fmla="*/ 66 w 90"/>
                <a:gd name="T7" fmla="*/ 16 h 90"/>
                <a:gd name="T8" fmla="*/ 71 w 90"/>
                <a:gd name="T9" fmla="*/ 63 h 90"/>
                <a:gd name="T10" fmla="*/ 61 w 90"/>
                <a:gd name="T11" fmla="*/ 55 h 90"/>
                <a:gd name="T12" fmla="*/ 58 w 90"/>
                <a:gd name="T13" fmla="*/ 26 h 90"/>
                <a:gd name="T14" fmla="*/ 29 w 90"/>
                <a:gd name="T15" fmla="*/ 34 h 90"/>
                <a:gd name="T16" fmla="*/ 32 w 90"/>
                <a:gd name="T17" fmla="*/ 63 h 90"/>
                <a:gd name="T18" fmla="*/ 61 w 90"/>
                <a:gd name="T19" fmla="*/ 5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0">
                  <a:moveTo>
                    <a:pt x="71" y="63"/>
                  </a:moveTo>
                  <a:cubicBezTo>
                    <a:pt x="52" y="89"/>
                    <a:pt x="32" y="79"/>
                    <a:pt x="24" y="74"/>
                  </a:cubicBezTo>
                  <a:cubicBezTo>
                    <a:pt x="16" y="69"/>
                    <a:pt x="0" y="53"/>
                    <a:pt x="18" y="26"/>
                  </a:cubicBezTo>
                  <a:cubicBezTo>
                    <a:pt x="37" y="0"/>
                    <a:pt x="61" y="10"/>
                    <a:pt x="66" y="16"/>
                  </a:cubicBezTo>
                  <a:cubicBezTo>
                    <a:pt x="74" y="21"/>
                    <a:pt x="89" y="36"/>
                    <a:pt x="71" y="63"/>
                  </a:cubicBezTo>
                  <a:close/>
                  <a:moveTo>
                    <a:pt x="61" y="55"/>
                  </a:moveTo>
                  <a:cubicBezTo>
                    <a:pt x="71" y="39"/>
                    <a:pt x="66" y="29"/>
                    <a:pt x="58" y="26"/>
                  </a:cubicBezTo>
                  <a:cubicBezTo>
                    <a:pt x="53" y="21"/>
                    <a:pt x="39" y="21"/>
                    <a:pt x="29" y="34"/>
                  </a:cubicBezTo>
                  <a:cubicBezTo>
                    <a:pt x="18" y="50"/>
                    <a:pt x="26" y="61"/>
                    <a:pt x="32" y="63"/>
                  </a:cubicBezTo>
                  <a:cubicBezTo>
                    <a:pt x="37" y="69"/>
                    <a:pt x="50" y="71"/>
                    <a:pt x="61" y="5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1" name="Freeform 113">
              <a:extLst>
                <a:ext uri="{FF2B5EF4-FFF2-40B4-BE49-F238E27FC236}">
                  <a16:creationId xmlns:a16="http://schemas.microsoft.com/office/drawing/2014/main" id="{4CF3C869-1496-AA4A-A1E6-5C3F286691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6975" y="2297113"/>
              <a:ext cx="20638" cy="26987"/>
            </a:xfrm>
            <a:custGeom>
              <a:avLst/>
              <a:gdLst>
                <a:gd name="T0" fmla="*/ 45 w 59"/>
                <a:gd name="T1" fmla="*/ 16 h 75"/>
                <a:gd name="T2" fmla="*/ 58 w 59"/>
                <a:gd name="T3" fmla="*/ 21 h 75"/>
                <a:gd name="T4" fmla="*/ 13 w 59"/>
                <a:gd name="T5" fmla="*/ 74 h 75"/>
                <a:gd name="T6" fmla="*/ 0 w 59"/>
                <a:gd name="T7" fmla="*/ 71 h 75"/>
                <a:gd name="T8" fmla="*/ 3 w 59"/>
                <a:gd name="T9" fmla="*/ 0 h 75"/>
                <a:gd name="T10" fmla="*/ 19 w 59"/>
                <a:gd name="T11" fmla="*/ 5 h 75"/>
                <a:gd name="T12" fmla="*/ 13 w 59"/>
                <a:gd name="T13" fmla="*/ 58 h 75"/>
                <a:gd name="T14" fmla="*/ 13 w 59"/>
                <a:gd name="T15" fmla="*/ 58 h 75"/>
                <a:gd name="T16" fmla="*/ 45 w 59"/>
                <a:gd name="T17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75">
                  <a:moveTo>
                    <a:pt x="45" y="16"/>
                  </a:moveTo>
                  <a:lnTo>
                    <a:pt x="58" y="21"/>
                  </a:lnTo>
                  <a:lnTo>
                    <a:pt x="13" y="74"/>
                  </a:lnTo>
                  <a:lnTo>
                    <a:pt x="0" y="71"/>
                  </a:lnTo>
                  <a:lnTo>
                    <a:pt x="3" y="0"/>
                  </a:lnTo>
                  <a:lnTo>
                    <a:pt x="19" y="5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45" y="1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2" name="Freeform 114">
              <a:extLst>
                <a:ext uri="{FF2B5EF4-FFF2-40B4-BE49-F238E27FC236}">
                  <a16:creationId xmlns:a16="http://schemas.microsoft.com/office/drawing/2014/main" id="{C99F09A3-65CA-674C-9F34-C3F4AB3489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025" y="2306638"/>
              <a:ext cx="11113" cy="25400"/>
            </a:xfrm>
            <a:custGeom>
              <a:avLst/>
              <a:gdLst>
                <a:gd name="T0" fmla="*/ 13 w 32"/>
                <a:gd name="T1" fmla="*/ 69 h 70"/>
                <a:gd name="T2" fmla="*/ 0 w 32"/>
                <a:gd name="T3" fmla="*/ 63 h 70"/>
                <a:gd name="T4" fmla="*/ 18 w 32"/>
                <a:gd name="T5" fmla="*/ 0 h 70"/>
                <a:gd name="T6" fmla="*/ 31 w 32"/>
                <a:gd name="T7" fmla="*/ 2 h 70"/>
                <a:gd name="T8" fmla="*/ 13 w 32"/>
                <a:gd name="T9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70">
                  <a:moveTo>
                    <a:pt x="13" y="69"/>
                  </a:moveTo>
                  <a:lnTo>
                    <a:pt x="0" y="63"/>
                  </a:lnTo>
                  <a:lnTo>
                    <a:pt x="18" y="0"/>
                  </a:lnTo>
                  <a:lnTo>
                    <a:pt x="31" y="2"/>
                  </a:lnTo>
                  <a:lnTo>
                    <a:pt x="13" y="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3" name="Freeform 115">
              <a:extLst>
                <a:ext uri="{FF2B5EF4-FFF2-40B4-BE49-F238E27FC236}">
                  <a16:creationId xmlns:a16="http://schemas.microsoft.com/office/drawing/2014/main" id="{F4944C3E-4D48-1645-A2A9-72D439077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4125" y="2308225"/>
              <a:ext cx="25400" cy="25400"/>
            </a:xfrm>
            <a:custGeom>
              <a:avLst/>
              <a:gdLst>
                <a:gd name="T0" fmla="*/ 70 w 71"/>
                <a:gd name="T1" fmla="*/ 69 h 72"/>
                <a:gd name="T2" fmla="*/ 57 w 71"/>
                <a:gd name="T3" fmla="*/ 69 h 72"/>
                <a:gd name="T4" fmla="*/ 54 w 71"/>
                <a:gd name="T5" fmla="*/ 13 h 72"/>
                <a:gd name="T6" fmla="*/ 54 w 71"/>
                <a:gd name="T7" fmla="*/ 13 h 72"/>
                <a:gd name="T8" fmla="*/ 44 w 71"/>
                <a:gd name="T9" fmla="*/ 69 h 72"/>
                <a:gd name="T10" fmla="*/ 31 w 71"/>
                <a:gd name="T11" fmla="*/ 71 h 72"/>
                <a:gd name="T12" fmla="*/ 13 w 71"/>
                <a:gd name="T13" fmla="*/ 16 h 72"/>
                <a:gd name="T14" fmla="*/ 13 w 71"/>
                <a:gd name="T15" fmla="*/ 16 h 72"/>
                <a:gd name="T16" fmla="*/ 18 w 71"/>
                <a:gd name="T17" fmla="*/ 71 h 72"/>
                <a:gd name="T18" fmla="*/ 5 w 71"/>
                <a:gd name="T19" fmla="*/ 71 h 72"/>
                <a:gd name="T20" fmla="*/ 0 w 71"/>
                <a:gd name="T21" fmla="*/ 5 h 72"/>
                <a:gd name="T22" fmla="*/ 21 w 71"/>
                <a:gd name="T23" fmla="*/ 3 h 72"/>
                <a:gd name="T24" fmla="*/ 37 w 71"/>
                <a:gd name="T25" fmla="*/ 56 h 72"/>
                <a:gd name="T26" fmla="*/ 37 w 71"/>
                <a:gd name="T27" fmla="*/ 56 h 72"/>
                <a:gd name="T28" fmla="*/ 46 w 71"/>
                <a:gd name="T29" fmla="*/ 3 h 72"/>
                <a:gd name="T30" fmla="*/ 65 w 71"/>
                <a:gd name="T31" fmla="*/ 0 h 72"/>
                <a:gd name="T32" fmla="*/ 70 w 71"/>
                <a:gd name="T33" fmla="*/ 6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" h="72">
                  <a:moveTo>
                    <a:pt x="70" y="69"/>
                  </a:moveTo>
                  <a:lnTo>
                    <a:pt x="57" y="69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44" y="69"/>
                  </a:lnTo>
                  <a:lnTo>
                    <a:pt x="31" y="71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8" y="71"/>
                  </a:lnTo>
                  <a:lnTo>
                    <a:pt x="5" y="71"/>
                  </a:lnTo>
                  <a:lnTo>
                    <a:pt x="0" y="5"/>
                  </a:lnTo>
                  <a:lnTo>
                    <a:pt x="21" y="3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46" y="3"/>
                  </a:lnTo>
                  <a:lnTo>
                    <a:pt x="65" y="0"/>
                  </a:lnTo>
                  <a:lnTo>
                    <a:pt x="70" y="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4" name="Freeform 116">
              <a:extLst>
                <a:ext uri="{FF2B5EF4-FFF2-40B4-BE49-F238E27FC236}">
                  <a16:creationId xmlns:a16="http://schemas.microsoft.com/office/drawing/2014/main" id="{4BFB20D4-4461-BB4D-A32E-BCE65739B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5875" y="2303463"/>
              <a:ext cx="26988" cy="26987"/>
            </a:xfrm>
            <a:custGeom>
              <a:avLst/>
              <a:gdLst>
                <a:gd name="T0" fmla="*/ 66 w 73"/>
                <a:gd name="T1" fmla="*/ 39 h 75"/>
                <a:gd name="T2" fmla="*/ 45 w 73"/>
                <a:gd name="T3" fmla="*/ 71 h 75"/>
                <a:gd name="T4" fmla="*/ 21 w 73"/>
                <a:gd name="T5" fmla="*/ 69 h 75"/>
                <a:gd name="T6" fmla="*/ 11 w 73"/>
                <a:gd name="T7" fmla="*/ 53 h 75"/>
                <a:gd name="T8" fmla="*/ 0 w 73"/>
                <a:gd name="T9" fmla="*/ 10 h 75"/>
                <a:gd name="T10" fmla="*/ 13 w 73"/>
                <a:gd name="T11" fmla="*/ 8 h 75"/>
                <a:gd name="T12" fmla="*/ 24 w 73"/>
                <a:gd name="T13" fmla="*/ 50 h 75"/>
                <a:gd name="T14" fmla="*/ 40 w 73"/>
                <a:gd name="T15" fmla="*/ 61 h 75"/>
                <a:gd name="T16" fmla="*/ 50 w 73"/>
                <a:gd name="T17" fmla="*/ 45 h 75"/>
                <a:gd name="T18" fmla="*/ 40 w 73"/>
                <a:gd name="T19" fmla="*/ 2 h 75"/>
                <a:gd name="T20" fmla="*/ 53 w 73"/>
                <a:gd name="T21" fmla="*/ 0 h 75"/>
                <a:gd name="T22" fmla="*/ 66 w 73"/>
                <a:gd name="T23" fmla="*/ 3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75">
                  <a:moveTo>
                    <a:pt x="66" y="39"/>
                  </a:moveTo>
                  <a:cubicBezTo>
                    <a:pt x="72" y="58"/>
                    <a:pt x="61" y="66"/>
                    <a:pt x="45" y="71"/>
                  </a:cubicBezTo>
                  <a:cubicBezTo>
                    <a:pt x="40" y="74"/>
                    <a:pt x="29" y="74"/>
                    <a:pt x="21" y="69"/>
                  </a:cubicBezTo>
                  <a:cubicBezTo>
                    <a:pt x="16" y="66"/>
                    <a:pt x="13" y="61"/>
                    <a:pt x="11" y="53"/>
                  </a:cubicBezTo>
                  <a:lnTo>
                    <a:pt x="0" y="10"/>
                  </a:lnTo>
                  <a:lnTo>
                    <a:pt x="13" y="8"/>
                  </a:lnTo>
                  <a:lnTo>
                    <a:pt x="24" y="50"/>
                  </a:lnTo>
                  <a:cubicBezTo>
                    <a:pt x="26" y="58"/>
                    <a:pt x="32" y="61"/>
                    <a:pt x="40" y="61"/>
                  </a:cubicBezTo>
                  <a:cubicBezTo>
                    <a:pt x="50" y="58"/>
                    <a:pt x="53" y="53"/>
                    <a:pt x="50" y="45"/>
                  </a:cubicBezTo>
                  <a:lnTo>
                    <a:pt x="40" y="2"/>
                  </a:lnTo>
                  <a:lnTo>
                    <a:pt x="53" y="0"/>
                  </a:lnTo>
                  <a:lnTo>
                    <a:pt x="66" y="3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" name="Freeform 117">
              <a:extLst>
                <a:ext uri="{FF2B5EF4-FFF2-40B4-BE49-F238E27FC236}">
                  <a16:creationId xmlns:a16="http://schemas.microsoft.com/office/drawing/2014/main" id="{52F18E29-43AB-B74C-8B30-2CBD1CEF5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0775" y="2089150"/>
              <a:ext cx="23813" cy="26988"/>
            </a:xfrm>
            <a:custGeom>
              <a:avLst/>
              <a:gdLst>
                <a:gd name="T0" fmla="*/ 66 w 67"/>
                <a:gd name="T1" fmla="*/ 66 h 77"/>
                <a:gd name="T2" fmla="*/ 59 w 67"/>
                <a:gd name="T3" fmla="*/ 76 h 77"/>
                <a:gd name="T4" fmla="*/ 0 w 67"/>
                <a:gd name="T5" fmla="*/ 39 h 77"/>
                <a:gd name="T6" fmla="*/ 19 w 67"/>
                <a:gd name="T7" fmla="*/ 13 h 77"/>
                <a:gd name="T8" fmla="*/ 51 w 67"/>
                <a:gd name="T9" fmla="*/ 8 h 77"/>
                <a:gd name="T10" fmla="*/ 56 w 67"/>
                <a:gd name="T11" fmla="*/ 37 h 77"/>
                <a:gd name="T12" fmla="*/ 45 w 67"/>
                <a:gd name="T13" fmla="*/ 53 h 77"/>
                <a:gd name="T14" fmla="*/ 66 w 67"/>
                <a:gd name="T15" fmla="*/ 66 h 77"/>
                <a:gd name="T16" fmla="*/ 43 w 67"/>
                <a:gd name="T17" fmla="*/ 37 h 77"/>
                <a:gd name="T18" fmla="*/ 40 w 67"/>
                <a:gd name="T19" fmla="*/ 21 h 77"/>
                <a:gd name="T20" fmla="*/ 24 w 67"/>
                <a:gd name="T21" fmla="*/ 26 h 77"/>
                <a:gd name="T22" fmla="*/ 19 w 67"/>
                <a:gd name="T23" fmla="*/ 37 h 77"/>
                <a:gd name="T24" fmla="*/ 35 w 67"/>
                <a:gd name="T25" fmla="*/ 47 h 77"/>
                <a:gd name="T26" fmla="*/ 43 w 67"/>
                <a:gd name="T27" fmla="*/ 3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77">
                  <a:moveTo>
                    <a:pt x="66" y="66"/>
                  </a:moveTo>
                  <a:lnTo>
                    <a:pt x="59" y="76"/>
                  </a:lnTo>
                  <a:lnTo>
                    <a:pt x="0" y="39"/>
                  </a:lnTo>
                  <a:lnTo>
                    <a:pt x="19" y="13"/>
                  </a:lnTo>
                  <a:cubicBezTo>
                    <a:pt x="27" y="2"/>
                    <a:pt x="37" y="0"/>
                    <a:pt x="51" y="8"/>
                  </a:cubicBezTo>
                  <a:cubicBezTo>
                    <a:pt x="56" y="10"/>
                    <a:pt x="66" y="23"/>
                    <a:pt x="56" y="37"/>
                  </a:cubicBezTo>
                  <a:lnTo>
                    <a:pt x="45" y="53"/>
                  </a:lnTo>
                  <a:lnTo>
                    <a:pt x="66" y="66"/>
                  </a:lnTo>
                  <a:close/>
                  <a:moveTo>
                    <a:pt x="43" y="37"/>
                  </a:moveTo>
                  <a:cubicBezTo>
                    <a:pt x="48" y="29"/>
                    <a:pt x="43" y="23"/>
                    <a:pt x="40" y="21"/>
                  </a:cubicBezTo>
                  <a:cubicBezTo>
                    <a:pt x="35" y="18"/>
                    <a:pt x="29" y="18"/>
                    <a:pt x="24" y="26"/>
                  </a:cubicBezTo>
                  <a:lnTo>
                    <a:pt x="19" y="37"/>
                  </a:lnTo>
                  <a:lnTo>
                    <a:pt x="35" y="47"/>
                  </a:lnTo>
                  <a:lnTo>
                    <a:pt x="43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" name="Freeform 118">
              <a:extLst>
                <a:ext uri="{FF2B5EF4-FFF2-40B4-BE49-F238E27FC236}">
                  <a16:creationId xmlns:a16="http://schemas.microsoft.com/office/drawing/2014/main" id="{141A259F-00CE-894A-8FBA-FCBAABF9D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3175" y="2274888"/>
              <a:ext cx="7938" cy="6350"/>
            </a:xfrm>
            <a:custGeom>
              <a:avLst/>
              <a:gdLst>
                <a:gd name="T0" fmla="*/ 5 w 24"/>
                <a:gd name="T1" fmla="*/ 18 h 19"/>
                <a:gd name="T2" fmla="*/ 0 w 24"/>
                <a:gd name="T3" fmla="*/ 18 h 19"/>
                <a:gd name="T4" fmla="*/ 18 w 24"/>
                <a:gd name="T5" fmla="*/ 5 h 19"/>
                <a:gd name="T6" fmla="*/ 5 w 2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9">
                  <a:moveTo>
                    <a:pt x="5" y="18"/>
                  </a:moveTo>
                  <a:lnTo>
                    <a:pt x="0" y="18"/>
                  </a:lnTo>
                  <a:cubicBezTo>
                    <a:pt x="2" y="11"/>
                    <a:pt x="8" y="0"/>
                    <a:pt x="18" y="5"/>
                  </a:cubicBezTo>
                  <a:cubicBezTo>
                    <a:pt x="23" y="16"/>
                    <a:pt x="10" y="13"/>
                    <a:pt x="5" y="1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" name="Freeform 119">
              <a:extLst>
                <a:ext uri="{FF2B5EF4-FFF2-40B4-BE49-F238E27FC236}">
                  <a16:creationId xmlns:a16="http://schemas.microsoft.com/office/drawing/2014/main" id="{D2EB8CC6-E1EA-D646-8D22-2422D32EE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6188" y="2200275"/>
              <a:ext cx="7937" cy="4763"/>
            </a:xfrm>
            <a:custGeom>
              <a:avLst/>
              <a:gdLst>
                <a:gd name="T0" fmla="*/ 21 w 22"/>
                <a:gd name="T1" fmla="*/ 14 h 15"/>
                <a:gd name="T2" fmla="*/ 2 w 22"/>
                <a:gd name="T3" fmla="*/ 14 h 15"/>
                <a:gd name="T4" fmla="*/ 21 w 22"/>
                <a:gd name="T5" fmla="*/ 8 h 15"/>
                <a:gd name="T6" fmla="*/ 21 w 22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21" y="14"/>
                  </a:moveTo>
                  <a:lnTo>
                    <a:pt x="2" y="14"/>
                  </a:lnTo>
                  <a:cubicBezTo>
                    <a:pt x="0" y="3"/>
                    <a:pt x="16" y="0"/>
                    <a:pt x="21" y="8"/>
                  </a:cubicBezTo>
                  <a:lnTo>
                    <a:pt x="21" y="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" name="Freeform 120">
              <a:extLst>
                <a:ext uri="{FF2B5EF4-FFF2-40B4-BE49-F238E27FC236}">
                  <a16:creationId xmlns:a16="http://schemas.microsoft.com/office/drawing/2014/main" id="{750563B0-2C0F-5A49-8755-6E7EB77CC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0" y="2155825"/>
              <a:ext cx="15875" cy="4763"/>
            </a:xfrm>
            <a:custGeom>
              <a:avLst/>
              <a:gdLst>
                <a:gd name="T0" fmla="*/ 0 w 42"/>
                <a:gd name="T1" fmla="*/ 13 h 14"/>
                <a:gd name="T2" fmla="*/ 11 w 42"/>
                <a:gd name="T3" fmla="*/ 3 h 14"/>
                <a:gd name="T4" fmla="*/ 31 w 42"/>
                <a:gd name="T5" fmla="*/ 0 h 14"/>
                <a:gd name="T6" fmla="*/ 41 w 42"/>
                <a:gd name="T7" fmla="*/ 0 h 14"/>
                <a:gd name="T8" fmla="*/ 39 w 42"/>
                <a:gd name="T9" fmla="*/ 8 h 14"/>
                <a:gd name="T10" fmla="*/ 26 w 42"/>
                <a:gd name="T11" fmla="*/ 13 h 14"/>
                <a:gd name="T12" fmla="*/ 28 w 42"/>
                <a:gd name="T13" fmla="*/ 8 h 14"/>
                <a:gd name="T14" fmla="*/ 13 w 42"/>
                <a:gd name="T15" fmla="*/ 8 h 14"/>
                <a:gd name="T16" fmla="*/ 5 w 42"/>
                <a:gd name="T17" fmla="*/ 13 h 14"/>
                <a:gd name="T18" fmla="*/ 0 w 42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14">
                  <a:moveTo>
                    <a:pt x="0" y="13"/>
                  </a:moveTo>
                  <a:lnTo>
                    <a:pt x="11" y="3"/>
                  </a:lnTo>
                  <a:lnTo>
                    <a:pt x="31" y="0"/>
                  </a:lnTo>
                  <a:lnTo>
                    <a:pt x="41" y="0"/>
                  </a:lnTo>
                  <a:lnTo>
                    <a:pt x="39" y="8"/>
                  </a:lnTo>
                  <a:lnTo>
                    <a:pt x="26" y="13"/>
                  </a:lnTo>
                  <a:lnTo>
                    <a:pt x="28" y="8"/>
                  </a:lnTo>
                  <a:lnTo>
                    <a:pt x="13" y="8"/>
                  </a:lnTo>
                  <a:lnTo>
                    <a:pt x="5" y="13"/>
                  </a:lnTo>
                  <a:lnTo>
                    <a:pt x="0" y="1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" name="Freeform 121">
              <a:extLst>
                <a:ext uri="{FF2B5EF4-FFF2-40B4-BE49-F238E27FC236}">
                  <a16:creationId xmlns:a16="http://schemas.microsoft.com/office/drawing/2014/main" id="{71DE752E-C711-164B-BF08-DE31F9E7D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2155825"/>
              <a:ext cx="11113" cy="6350"/>
            </a:xfrm>
            <a:custGeom>
              <a:avLst/>
              <a:gdLst>
                <a:gd name="T0" fmla="*/ 16 w 33"/>
                <a:gd name="T1" fmla="*/ 0 h 17"/>
                <a:gd name="T2" fmla="*/ 24 w 33"/>
                <a:gd name="T3" fmla="*/ 0 h 17"/>
                <a:gd name="T4" fmla="*/ 32 w 33"/>
                <a:gd name="T5" fmla="*/ 3 h 17"/>
                <a:gd name="T6" fmla="*/ 27 w 33"/>
                <a:gd name="T7" fmla="*/ 8 h 17"/>
                <a:gd name="T8" fmla="*/ 19 w 33"/>
                <a:gd name="T9" fmla="*/ 11 h 17"/>
                <a:gd name="T10" fmla="*/ 14 w 33"/>
                <a:gd name="T11" fmla="*/ 16 h 17"/>
                <a:gd name="T12" fmla="*/ 11 w 33"/>
                <a:gd name="T13" fmla="*/ 11 h 17"/>
                <a:gd name="T14" fmla="*/ 3 w 33"/>
                <a:gd name="T15" fmla="*/ 13 h 17"/>
                <a:gd name="T16" fmla="*/ 0 w 33"/>
                <a:gd name="T17" fmla="*/ 11 h 17"/>
                <a:gd name="T18" fmla="*/ 8 w 33"/>
                <a:gd name="T19" fmla="*/ 8 h 17"/>
                <a:gd name="T20" fmla="*/ 6 w 33"/>
                <a:gd name="T21" fmla="*/ 5 h 17"/>
                <a:gd name="T22" fmla="*/ 8 w 33"/>
                <a:gd name="T23" fmla="*/ 0 h 17"/>
                <a:gd name="T24" fmla="*/ 16 w 33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17">
                  <a:moveTo>
                    <a:pt x="16" y="0"/>
                  </a:moveTo>
                  <a:lnTo>
                    <a:pt x="24" y="0"/>
                  </a:lnTo>
                  <a:lnTo>
                    <a:pt x="32" y="3"/>
                  </a:lnTo>
                  <a:lnTo>
                    <a:pt x="27" y="8"/>
                  </a:lnTo>
                  <a:lnTo>
                    <a:pt x="19" y="11"/>
                  </a:lnTo>
                  <a:lnTo>
                    <a:pt x="14" y="16"/>
                  </a:lnTo>
                  <a:lnTo>
                    <a:pt x="11" y="11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8" y="0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" name="Freeform 122">
              <a:extLst>
                <a:ext uri="{FF2B5EF4-FFF2-40B4-BE49-F238E27FC236}">
                  <a16:creationId xmlns:a16="http://schemas.microsoft.com/office/drawing/2014/main" id="{7A224748-E3B1-0745-B85F-826D4726E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2225" y="2157413"/>
              <a:ext cx="6350" cy="3175"/>
            </a:xfrm>
            <a:custGeom>
              <a:avLst/>
              <a:gdLst>
                <a:gd name="T0" fmla="*/ 2 w 16"/>
                <a:gd name="T1" fmla="*/ 3 h 9"/>
                <a:gd name="T2" fmla="*/ 5 w 16"/>
                <a:gd name="T3" fmla="*/ 0 h 9"/>
                <a:gd name="T4" fmla="*/ 15 w 16"/>
                <a:gd name="T5" fmla="*/ 0 h 9"/>
                <a:gd name="T6" fmla="*/ 13 w 16"/>
                <a:gd name="T7" fmla="*/ 6 h 9"/>
                <a:gd name="T8" fmla="*/ 0 w 16"/>
                <a:gd name="T9" fmla="*/ 8 h 9"/>
                <a:gd name="T10" fmla="*/ 2 w 16"/>
                <a:gd name="T1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9">
                  <a:moveTo>
                    <a:pt x="2" y="3"/>
                  </a:moveTo>
                  <a:lnTo>
                    <a:pt x="5" y="0"/>
                  </a:lnTo>
                  <a:lnTo>
                    <a:pt x="15" y="0"/>
                  </a:lnTo>
                  <a:lnTo>
                    <a:pt x="13" y="6"/>
                  </a:lnTo>
                  <a:lnTo>
                    <a:pt x="0" y="8"/>
                  </a:lnTo>
                  <a:lnTo>
                    <a:pt x="2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" name="Freeform 123">
              <a:extLst>
                <a:ext uri="{FF2B5EF4-FFF2-40B4-BE49-F238E27FC236}">
                  <a16:creationId xmlns:a16="http://schemas.microsoft.com/office/drawing/2014/main" id="{984A696F-E9D3-E447-B42A-8B79841246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8413" y="2162175"/>
              <a:ext cx="4762" cy="3175"/>
            </a:xfrm>
            <a:custGeom>
              <a:avLst/>
              <a:gdLst>
                <a:gd name="T0" fmla="*/ 2 w 13"/>
                <a:gd name="T1" fmla="*/ 3 h 7"/>
                <a:gd name="T2" fmla="*/ 12 w 13"/>
                <a:gd name="T3" fmla="*/ 0 h 7"/>
                <a:gd name="T4" fmla="*/ 9 w 13"/>
                <a:gd name="T5" fmla="*/ 6 h 7"/>
                <a:gd name="T6" fmla="*/ 0 w 13"/>
                <a:gd name="T7" fmla="*/ 6 h 7"/>
                <a:gd name="T8" fmla="*/ 2 w 1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2" y="3"/>
                  </a:moveTo>
                  <a:lnTo>
                    <a:pt x="12" y="0"/>
                  </a:lnTo>
                  <a:lnTo>
                    <a:pt x="9" y="6"/>
                  </a:lnTo>
                  <a:lnTo>
                    <a:pt x="0" y="6"/>
                  </a:lnTo>
                  <a:lnTo>
                    <a:pt x="2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" name="Freeform 124">
              <a:extLst>
                <a:ext uri="{FF2B5EF4-FFF2-40B4-BE49-F238E27FC236}">
                  <a16:creationId xmlns:a16="http://schemas.microsoft.com/office/drawing/2014/main" id="{F4CECA89-13AC-FC48-AE73-11C676773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2225" y="2160588"/>
              <a:ext cx="3175" cy="3175"/>
            </a:xfrm>
            <a:custGeom>
              <a:avLst/>
              <a:gdLst>
                <a:gd name="T0" fmla="*/ 0 w 8"/>
                <a:gd name="T1" fmla="*/ 5 h 9"/>
                <a:gd name="T2" fmla="*/ 5 w 8"/>
                <a:gd name="T3" fmla="*/ 0 h 9"/>
                <a:gd name="T4" fmla="*/ 7 w 8"/>
                <a:gd name="T5" fmla="*/ 5 h 9"/>
                <a:gd name="T6" fmla="*/ 5 w 8"/>
                <a:gd name="T7" fmla="*/ 8 h 9"/>
                <a:gd name="T8" fmla="*/ 0 w 8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0" y="5"/>
                  </a:moveTo>
                  <a:lnTo>
                    <a:pt x="5" y="0"/>
                  </a:lnTo>
                  <a:lnTo>
                    <a:pt x="7" y="5"/>
                  </a:lnTo>
                  <a:lnTo>
                    <a:pt x="5" y="8"/>
                  </a:lnTo>
                  <a:lnTo>
                    <a:pt x="0" y="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" name="Freeform 125">
              <a:extLst>
                <a:ext uri="{FF2B5EF4-FFF2-40B4-BE49-F238E27FC236}">
                  <a16:creationId xmlns:a16="http://schemas.microsoft.com/office/drawing/2014/main" id="{817DAE1F-EB61-FE45-9C01-57D97E0A37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0638" y="2163763"/>
              <a:ext cx="3175" cy="4762"/>
            </a:xfrm>
            <a:custGeom>
              <a:avLst/>
              <a:gdLst>
                <a:gd name="T0" fmla="*/ 0 w 9"/>
                <a:gd name="T1" fmla="*/ 8 h 14"/>
                <a:gd name="T2" fmla="*/ 6 w 9"/>
                <a:gd name="T3" fmla="*/ 13 h 14"/>
                <a:gd name="T4" fmla="*/ 8 w 9"/>
                <a:gd name="T5" fmla="*/ 11 h 14"/>
                <a:gd name="T6" fmla="*/ 6 w 9"/>
                <a:gd name="T7" fmla="*/ 0 h 14"/>
                <a:gd name="T8" fmla="*/ 0 w 9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4">
                  <a:moveTo>
                    <a:pt x="0" y="8"/>
                  </a:moveTo>
                  <a:lnTo>
                    <a:pt x="6" y="13"/>
                  </a:lnTo>
                  <a:lnTo>
                    <a:pt x="8" y="11"/>
                  </a:lnTo>
                  <a:lnTo>
                    <a:pt x="6" y="0"/>
                  </a:lnTo>
                  <a:lnTo>
                    <a:pt x="0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4" name="Freeform 126">
              <a:extLst>
                <a:ext uri="{FF2B5EF4-FFF2-40B4-BE49-F238E27FC236}">
                  <a16:creationId xmlns:a16="http://schemas.microsoft.com/office/drawing/2014/main" id="{FE9874FC-4272-8341-88F9-7DF4F8903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3813" y="2165350"/>
              <a:ext cx="3175" cy="3175"/>
            </a:xfrm>
            <a:custGeom>
              <a:avLst/>
              <a:gdLst>
                <a:gd name="T0" fmla="*/ 5 w 11"/>
                <a:gd name="T1" fmla="*/ 8 h 9"/>
                <a:gd name="T2" fmla="*/ 10 w 11"/>
                <a:gd name="T3" fmla="*/ 2 h 9"/>
                <a:gd name="T4" fmla="*/ 0 w 11"/>
                <a:gd name="T5" fmla="*/ 0 h 9"/>
                <a:gd name="T6" fmla="*/ 5 w 11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5" y="8"/>
                  </a:moveTo>
                  <a:lnTo>
                    <a:pt x="10" y="2"/>
                  </a:lnTo>
                  <a:lnTo>
                    <a:pt x="0" y="0"/>
                  </a:lnTo>
                  <a:lnTo>
                    <a:pt x="5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5" name="Freeform 127">
              <a:extLst>
                <a:ext uri="{FF2B5EF4-FFF2-40B4-BE49-F238E27FC236}">
                  <a16:creationId xmlns:a16="http://schemas.microsoft.com/office/drawing/2014/main" id="{59F3A0AD-5C2A-6340-ACC3-4BC84D409A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8575" y="2165350"/>
              <a:ext cx="1588" cy="6350"/>
            </a:xfrm>
            <a:custGeom>
              <a:avLst/>
              <a:gdLst>
                <a:gd name="T0" fmla="*/ 3 w 6"/>
                <a:gd name="T1" fmla="*/ 0 h 17"/>
                <a:gd name="T2" fmla="*/ 5 w 6"/>
                <a:gd name="T3" fmla="*/ 3 h 17"/>
                <a:gd name="T4" fmla="*/ 5 w 6"/>
                <a:gd name="T5" fmla="*/ 16 h 17"/>
                <a:gd name="T6" fmla="*/ 0 w 6"/>
                <a:gd name="T7" fmla="*/ 3 h 17"/>
                <a:gd name="T8" fmla="*/ 3 w 6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7">
                  <a:moveTo>
                    <a:pt x="3" y="0"/>
                  </a:moveTo>
                  <a:lnTo>
                    <a:pt x="5" y="3"/>
                  </a:lnTo>
                  <a:lnTo>
                    <a:pt x="5" y="16"/>
                  </a:lnTo>
                  <a:lnTo>
                    <a:pt x="0" y="3"/>
                  </a:lnTo>
                  <a:lnTo>
                    <a:pt x="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6" name="Freeform 128">
              <a:extLst>
                <a:ext uri="{FF2B5EF4-FFF2-40B4-BE49-F238E27FC236}">
                  <a16:creationId xmlns:a16="http://schemas.microsoft.com/office/drawing/2014/main" id="{48FA611A-D5D7-4048-9A1D-9F49F3D9E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575" y="2074863"/>
              <a:ext cx="171450" cy="211137"/>
            </a:xfrm>
            <a:custGeom>
              <a:avLst/>
              <a:gdLst>
                <a:gd name="T0" fmla="*/ 199 w 477"/>
                <a:gd name="T1" fmla="*/ 18 h 586"/>
                <a:gd name="T2" fmla="*/ 204 w 477"/>
                <a:gd name="T3" fmla="*/ 40 h 586"/>
                <a:gd name="T4" fmla="*/ 220 w 477"/>
                <a:gd name="T5" fmla="*/ 74 h 586"/>
                <a:gd name="T6" fmla="*/ 209 w 477"/>
                <a:gd name="T7" fmla="*/ 66 h 586"/>
                <a:gd name="T8" fmla="*/ 215 w 477"/>
                <a:gd name="T9" fmla="*/ 71 h 586"/>
                <a:gd name="T10" fmla="*/ 202 w 477"/>
                <a:gd name="T11" fmla="*/ 90 h 586"/>
                <a:gd name="T12" fmla="*/ 215 w 477"/>
                <a:gd name="T13" fmla="*/ 98 h 586"/>
                <a:gd name="T14" fmla="*/ 236 w 477"/>
                <a:gd name="T15" fmla="*/ 93 h 586"/>
                <a:gd name="T16" fmla="*/ 241 w 477"/>
                <a:gd name="T17" fmla="*/ 58 h 586"/>
                <a:gd name="T18" fmla="*/ 241 w 477"/>
                <a:gd name="T19" fmla="*/ 58 h 586"/>
                <a:gd name="T20" fmla="*/ 239 w 477"/>
                <a:gd name="T21" fmla="*/ 45 h 586"/>
                <a:gd name="T22" fmla="*/ 237 w 477"/>
                <a:gd name="T23" fmla="*/ 68 h 586"/>
                <a:gd name="T24" fmla="*/ 312 w 477"/>
                <a:gd name="T25" fmla="*/ 283 h 586"/>
                <a:gd name="T26" fmla="*/ 341 w 477"/>
                <a:gd name="T27" fmla="*/ 296 h 586"/>
                <a:gd name="T28" fmla="*/ 357 w 477"/>
                <a:gd name="T29" fmla="*/ 296 h 586"/>
                <a:gd name="T30" fmla="*/ 396 w 477"/>
                <a:gd name="T31" fmla="*/ 339 h 586"/>
                <a:gd name="T32" fmla="*/ 418 w 477"/>
                <a:gd name="T33" fmla="*/ 437 h 586"/>
                <a:gd name="T34" fmla="*/ 338 w 477"/>
                <a:gd name="T35" fmla="*/ 500 h 586"/>
                <a:gd name="T36" fmla="*/ 262 w 477"/>
                <a:gd name="T37" fmla="*/ 572 h 586"/>
                <a:gd name="T38" fmla="*/ 241 w 477"/>
                <a:gd name="T39" fmla="*/ 559 h 586"/>
                <a:gd name="T40" fmla="*/ 260 w 477"/>
                <a:gd name="T41" fmla="*/ 344 h 586"/>
                <a:gd name="T42" fmla="*/ 270 w 477"/>
                <a:gd name="T43" fmla="*/ 302 h 586"/>
                <a:gd name="T44" fmla="*/ 239 w 477"/>
                <a:gd name="T45" fmla="*/ 294 h 586"/>
                <a:gd name="T46" fmla="*/ 167 w 477"/>
                <a:gd name="T47" fmla="*/ 259 h 586"/>
                <a:gd name="T48" fmla="*/ 135 w 477"/>
                <a:gd name="T49" fmla="*/ 238 h 586"/>
                <a:gd name="T50" fmla="*/ 104 w 477"/>
                <a:gd name="T51" fmla="*/ 148 h 586"/>
                <a:gd name="T52" fmla="*/ 0 w 477"/>
                <a:gd name="T53" fmla="*/ 132 h 586"/>
                <a:gd name="T54" fmla="*/ 24 w 477"/>
                <a:gd name="T55" fmla="*/ 103 h 586"/>
                <a:gd name="T56" fmla="*/ 24 w 477"/>
                <a:gd name="T57" fmla="*/ 93 h 586"/>
                <a:gd name="T58" fmla="*/ 24 w 477"/>
                <a:gd name="T59" fmla="*/ 79 h 586"/>
                <a:gd name="T60" fmla="*/ 156 w 477"/>
                <a:gd name="T61" fmla="*/ 42 h 586"/>
                <a:gd name="T62" fmla="*/ 167 w 477"/>
                <a:gd name="T63" fmla="*/ 21 h 586"/>
                <a:gd name="T64" fmla="*/ 207 w 477"/>
                <a:gd name="T65" fmla="*/ 3 h 586"/>
                <a:gd name="T66" fmla="*/ 220 w 477"/>
                <a:gd name="T67" fmla="*/ 10 h 586"/>
                <a:gd name="T68" fmla="*/ 231 w 477"/>
                <a:gd name="T69" fmla="*/ 10 h 586"/>
                <a:gd name="T70" fmla="*/ 285 w 477"/>
                <a:gd name="T71" fmla="*/ 55 h 586"/>
                <a:gd name="T72" fmla="*/ 291 w 477"/>
                <a:gd name="T73" fmla="*/ 79 h 586"/>
                <a:gd name="T74" fmla="*/ 341 w 477"/>
                <a:gd name="T75" fmla="*/ 116 h 586"/>
                <a:gd name="T76" fmla="*/ 265 w 477"/>
                <a:gd name="T77" fmla="*/ 220 h 586"/>
                <a:gd name="T78" fmla="*/ 249 w 477"/>
                <a:gd name="T79" fmla="*/ 206 h 586"/>
                <a:gd name="T80" fmla="*/ 204 w 477"/>
                <a:gd name="T81" fmla="*/ 251 h 586"/>
                <a:gd name="T82" fmla="*/ 225 w 477"/>
                <a:gd name="T83" fmla="*/ 233 h 586"/>
                <a:gd name="T84" fmla="*/ 252 w 477"/>
                <a:gd name="T85" fmla="*/ 270 h 586"/>
                <a:gd name="T86" fmla="*/ 257 w 477"/>
                <a:gd name="T87" fmla="*/ 291 h 586"/>
                <a:gd name="T88" fmla="*/ 273 w 477"/>
                <a:gd name="T89" fmla="*/ 291 h 586"/>
                <a:gd name="T90" fmla="*/ 283 w 477"/>
                <a:gd name="T91" fmla="*/ 296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77" h="586">
                  <a:moveTo>
                    <a:pt x="204" y="40"/>
                  </a:moveTo>
                  <a:cubicBezTo>
                    <a:pt x="207" y="37"/>
                    <a:pt x="204" y="21"/>
                    <a:pt x="199" y="18"/>
                  </a:cubicBezTo>
                  <a:cubicBezTo>
                    <a:pt x="194" y="29"/>
                    <a:pt x="212" y="32"/>
                    <a:pt x="199" y="40"/>
                  </a:cubicBezTo>
                  <a:lnTo>
                    <a:pt x="204" y="40"/>
                  </a:lnTo>
                  <a:close/>
                  <a:moveTo>
                    <a:pt x="237" y="69"/>
                  </a:moveTo>
                  <a:cubicBezTo>
                    <a:pt x="236" y="72"/>
                    <a:pt x="231" y="74"/>
                    <a:pt x="220" y="74"/>
                  </a:cubicBezTo>
                  <a:cubicBezTo>
                    <a:pt x="217" y="71"/>
                    <a:pt x="215" y="69"/>
                    <a:pt x="215" y="66"/>
                  </a:cubicBezTo>
                  <a:lnTo>
                    <a:pt x="209" y="66"/>
                  </a:lnTo>
                  <a:lnTo>
                    <a:pt x="209" y="71"/>
                  </a:lnTo>
                  <a:lnTo>
                    <a:pt x="215" y="71"/>
                  </a:lnTo>
                  <a:cubicBezTo>
                    <a:pt x="212" y="74"/>
                    <a:pt x="209" y="77"/>
                    <a:pt x="207" y="77"/>
                  </a:cubicBezTo>
                  <a:cubicBezTo>
                    <a:pt x="207" y="82"/>
                    <a:pt x="207" y="87"/>
                    <a:pt x="202" y="90"/>
                  </a:cubicBezTo>
                  <a:lnTo>
                    <a:pt x="209" y="90"/>
                  </a:lnTo>
                  <a:cubicBezTo>
                    <a:pt x="212" y="93"/>
                    <a:pt x="215" y="95"/>
                    <a:pt x="215" y="98"/>
                  </a:cubicBezTo>
                  <a:cubicBezTo>
                    <a:pt x="220" y="100"/>
                    <a:pt x="231" y="95"/>
                    <a:pt x="233" y="103"/>
                  </a:cubicBezTo>
                  <a:cubicBezTo>
                    <a:pt x="231" y="95"/>
                    <a:pt x="233" y="93"/>
                    <a:pt x="236" y="93"/>
                  </a:cubicBezTo>
                  <a:cubicBezTo>
                    <a:pt x="236" y="87"/>
                    <a:pt x="235" y="78"/>
                    <a:pt x="237" y="69"/>
                  </a:cubicBezTo>
                  <a:close/>
                  <a:moveTo>
                    <a:pt x="241" y="58"/>
                  </a:moveTo>
                  <a:lnTo>
                    <a:pt x="247" y="53"/>
                  </a:lnTo>
                  <a:cubicBezTo>
                    <a:pt x="244" y="53"/>
                    <a:pt x="244" y="55"/>
                    <a:pt x="241" y="58"/>
                  </a:cubicBezTo>
                  <a:lnTo>
                    <a:pt x="233" y="50"/>
                  </a:lnTo>
                  <a:lnTo>
                    <a:pt x="239" y="45"/>
                  </a:lnTo>
                  <a:cubicBezTo>
                    <a:pt x="233" y="48"/>
                    <a:pt x="231" y="40"/>
                    <a:pt x="225" y="37"/>
                  </a:cubicBezTo>
                  <a:cubicBezTo>
                    <a:pt x="222" y="48"/>
                    <a:pt x="238" y="61"/>
                    <a:pt x="237" y="68"/>
                  </a:cubicBezTo>
                  <a:cubicBezTo>
                    <a:pt x="238" y="65"/>
                    <a:pt x="239" y="61"/>
                    <a:pt x="241" y="58"/>
                  </a:cubicBezTo>
                  <a:close/>
                  <a:moveTo>
                    <a:pt x="312" y="283"/>
                  </a:moveTo>
                  <a:cubicBezTo>
                    <a:pt x="312" y="288"/>
                    <a:pt x="314" y="288"/>
                    <a:pt x="317" y="291"/>
                  </a:cubicBezTo>
                  <a:cubicBezTo>
                    <a:pt x="328" y="281"/>
                    <a:pt x="333" y="288"/>
                    <a:pt x="341" y="296"/>
                  </a:cubicBezTo>
                  <a:cubicBezTo>
                    <a:pt x="343" y="299"/>
                    <a:pt x="349" y="302"/>
                    <a:pt x="354" y="302"/>
                  </a:cubicBezTo>
                  <a:cubicBezTo>
                    <a:pt x="354" y="299"/>
                    <a:pt x="354" y="299"/>
                    <a:pt x="357" y="296"/>
                  </a:cubicBezTo>
                  <a:lnTo>
                    <a:pt x="362" y="296"/>
                  </a:lnTo>
                  <a:cubicBezTo>
                    <a:pt x="367" y="312"/>
                    <a:pt x="394" y="323"/>
                    <a:pt x="396" y="339"/>
                  </a:cubicBezTo>
                  <a:cubicBezTo>
                    <a:pt x="412" y="347"/>
                    <a:pt x="434" y="339"/>
                    <a:pt x="444" y="355"/>
                  </a:cubicBezTo>
                  <a:cubicBezTo>
                    <a:pt x="476" y="389"/>
                    <a:pt x="407" y="402"/>
                    <a:pt x="418" y="437"/>
                  </a:cubicBezTo>
                  <a:cubicBezTo>
                    <a:pt x="412" y="461"/>
                    <a:pt x="394" y="463"/>
                    <a:pt x="373" y="466"/>
                  </a:cubicBezTo>
                  <a:cubicBezTo>
                    <a:pt x="365" y="484"/>
                    <a:pt x="351" y="490"/>
                    <a:pt x="338" y="500"/>
                  </a:cubicBezTo>
                  <a:cubicBezTo>
                    <a:pt x="317" y="500"/>
                    <a:pt x="314" y="516"/>
                    <a:pt x="293" y="522"/>
                  </a:cubicBezTo>
                  <a:cubicBezTo>
                    <a:pt x="285" y="543"/>
                    <a:pt x="268" y="551"/>
                    <a:pt x="262" y="572"/>
                  </a:cubicBezTo>
                  <a:cubicBezTo>
                    <a:pt x="265" y="580"/>
                    <a:pt x="277" y="574"/>
                    <a:pt x="275" y="585"/>
                  </a:cubicBezTo>
                  <a:cubicBezTo>
                    <a:pt x="260" y="585"/>
                    <a:pt x="241" y="577"/>
                    <a:pt x="241" y="559"/>
                  </a:cubicBezTo>
                  <a:cubicBezTo>
                    <a:pt x="247" y="511"/>
                    <a:pt x="283" y="474"/>
                    <a:pt x="285" y="426"/>
                  </a:cubicBezTo>
                  <a:cubicBezTo>
                    <a:pt x="262" y="408"/>
                    <a:pt x="260" y="376"/>
                    <a:pt x="260" y="344"/>
                  </a:cubicBezTo>
                  <a:cubicBezTo>
                    <a:pt x="275" y="336"/>
                    <a:pt x="270" y="320"/>
                    <a:pt x="277" y="310"/>
                  </a:cubicBezTo>
                  <a:lnTo>
                    <a:pt x="270" y="302"/>
                  </a:lnTo>
                  <a:cubicBezTo>
                    <a:pt x="262" y="315"/>
                    <a:pt x="254" y="296"/>
                    <a:pt x="244" y="302"/>
                  </a:cubicBezTo>
                  <a:cubicBezTo>
                    <a:pt x="244" y="299"/>
                    <a:pt x="241" y="296"/>
                    <a:pt x="239" y="294"/>
                  </a:cubicBezTo>
                  <a:cubicBezTo>
                    <a:pt x="233" y="288"/>
                    <a:pt x="225" y="283"/>
                    <a:pt x="220" y="275"/>
                  </a:cubicBezTo>
                  <a:cubicBezTo>
                    <a:pt x="202" y="270"/>
                    <a:pt x="183" y="270"/>
                    <a:pt x="167" y="259"/>
                  </a:cubicBezTo>
                  <a:cubicBezTo>
                    <a:pt x="146" y="257"/>
                    <a:pt x="159" y="236"/>
                    <a:pt x="141" y="230"/>
                  </a:cubicBezTo>
                  <a:cubicBezTo>
                    <a:pt x="138" y="233"/>
                    <a:pt x="135" y="236"/>
                    <a:pt x="135" y="238"/>
                  </a:cubicBezTo>
                  <a:cubicBezTo>
                    <a:pt x="106" y="230"/>
                    <a:pt x="119" y="201"/>
                    <a:pt x="104" y="183"/>
                  </a:cubicBezTo>
                  <a:cubicBezTo>
                    <a:pt x="106" y="169"/>
                    <a:pt x="106" y="159"/>
                    <a:pt x="104" y="148"/>
                  </a:cubicBezTo>
                  <a:cubicBezTo>
                    <a:pt x="101" y="140"/>
                    <a:pt x="98" y="135"/>
                    <a:pt x="93" y="127"/>
                  </a:cubicBezTo>
                  <a:cubicBezTo>
                    <a:pt x="64" y="95"/>
                    <a:pt x="35" y="148"/>
                    <a:pt x="0" y="132"/>
                  </a:cubicBezTo>
                  <a:cubicBezTo>
                    <a:pt x="13" y="132"/>
                    <a:pt x="24" y="127"/>
                    <a:pt x="32" y="116"/>
                  </a:cubicBezTo>
                  <a:cubicBezTo>
                    <a:pt x="29" y="111"/>
                    <a:pt x="21" y="111"/>
                    <a:pt x="24" y="103"/>
                  </a:cubicBezTo>
                  <a:lnTo>
                    <a:pt x="29" y="98"/>
                  </a:lnTo>
                  <a:lnTo>
                    <a:pt x="24" y="93"/>
                  </a:lnTo>
                  <a:lnTo>
                    <a:pt x="29" y="87"/>
                  </a:lnTo>
                  <a:cubicBezTo>
                    <a:pt x="27" y="85"/>
                    <a:pt x="24" y="82"/>
                    <a:pt x="24" y="79"/>
                  </a:cubicBezTo>
                  <a:cubicBezTo>
                    <a:pt x="40" y="66"/>
                    <a:pt x="64" y="48"/>
                    <a:pt x="90" y="50"/>
                  </a:cubicBezTo>
                  <a:cubicBezTo>
                    <a:pt x="111" y="42"/>
                    <a:pt x="138" y="66"/>
                    <a:pt x="156" y="42"/>
                  </a:cubicBezTo>
                  <a:cubicBezTo>
                    <a:pt x="146" y="42"/>
                    <a:pt x="138" y="29"/>
                    <a:pt x="149" y="21"/>
                  </a:cubicBezTo>
                  <a:cubicBezTo>
                    <a:pt x="154" y="21"/>
                    <a:pt x="162" y="10"/>
                    <a:pt x="167" y="21"/>
                  </a:cubicBezTo>
                  <a:cubicBezTo>
                    <a:pt x="172" y="18"/>
                    <a:pt x="172" y="13"/>
                    <a:pt x="172" y="8"/>
                  </a:cubicBezTo>
                  <a:cubicBezTo>
                    <a:pt x="186" y="0"/>
                    <a:pt x="202" y="24"/>
                    <a:pt x="207" y="3"/>
                  </a:cubicBezTo>
                  <a:lnTo>
                    <a:pt x="215" y="3"/>
                  </a:lnTo>
                  <a:cubicBezTo>
                    <a:pt x="215" y="8"/>
                    <a:pt x="217" y="8"/>
                    <a:pt x="220" y="10"/>
                  </a:cubicBezTo>
                  <a:lnTo>
                    <a:pt x="225" y="5"/>
                  </a:lnTo>
                  <a:lnTo>
                    <a:pt x="231" y="10"/>
                  </a:lnTo>
                  <a:cubicBezTo>
                    <a:pt x="241" y="0"/>
                    <a:pt x="249" y="24"/>
                    <a:pt x="265" y="16"/>
                  </a:cubicBezTo>
                  <a:cubicBezTo>
                    <a:pt x="275" y="24"/>
                    <a:pt x="283" y="40"/>
                    <a:pt x="285" y="55"/>
                  </a:cubicBezTo>
                  <a:cubicBezTo>
                    <a:pt x="280" y="55"/>
                    <a:pt x="275" y="55"/>
                    <a:pt x="273" y="61"/>
                  </a:cubicBezTo>
                  <a:lnTo>
                    <a:pt x="291" y="79"/>
                  </a:lnTo>
                  <a:cubicBezTo>
                    <a:pt x="296" y="77"/>
                    <a:pt x="296" y="71"/>
                    <a:pt x="296" y="66"/>
                  </a:cubicBezTo>
                  <a:cubicBezTo>
                    <a:pt x="317" y="77"/>
                    <a:pt x="330" y="98"/>
                    <a:pt x="341" y="116"/>
                  </a:cubicBezTo>
                  <a:cubicBezTo>
                    <a:pt x="317" y="119"/>
                    <a:pt x="296" y="130"/>
                    <a:pt x="283" y="151"/>
                  </a:cubicBezTo>
                  <a:cubicBezTo>
                    <a:pt x="296" y="185"/>
                    <a:pt x="239" y="185"/>
                    <a:pt x="265" y="220"/>
                  </a:cubicBezTo>
                  <a:lnTo>
                    <a:pt x="257" y="228"/>
                  </a:lnTo>
                  <a:cubicBezTo>
                    <a:pt x="257" y="220"/>
                    <a:pt x="254" y="212"/>
                    <a:pt x="249" y="206"/>
                  </a:cubicBezTo>
                  <a:cubicBezTo>
                    <a:pt x="225" y="220"/>
                    <a:pt x="186" y="193"/>
                    <a:pt x="191" y="236"/>
                  </a:cubicBezTo>
                  <a:cubicBezTo>
                    <a:pt x="196" y="241"/>
                    <a:pt x="196" y="249"/>
                    <a:pt x="204" y="251"/>
                  </a:cubicBezTo>
                  <a:cubicBezTo>
                    <a:pt x="215" y="257"/>
                    <a:pt x="220" y="243"/>
                    <a:pt x="225" y="238"/>
                  </a:cubicBezTo>
                  <a:lnTo>
                    <a:pt x="225" y="233"/>
                  </a:lnTo>
                  <a:lnTo>
                    <a:pt x="244" y="233"/>
                  </a:lnTo>
                  <a:cubicBezTo>
                    <a:pt x="254" y="249"/>
                    <a:pt x="225" y="267"/>
                    <a:pt x="252" y="270"/>
                  </a:cubicBezTo>
                  <a:cubicBezTo>
                    <a:pt x="252" y="275"/>
                    <a:pt x="252" y="281"/>
                    <a:pt x="247" y="283"/>
                  </a:cubicBezTo>
                  <a:cubicBezTo>
                    <a:pt x="249" y="288"/>
                    <a:pt x="252" y="291"/>
                    <a:pt x="257" y="291"/>
                  </a:cubicBezTo>
                  <a:lnTo>
                    <a:pt x="268" y="291"/>
                  </a:lnTo>
                  <a:lnTo>
                    <a:pt x="273" y="291"/>
                  </a:lnTo>
                  <a:cubicBezTo>
                    <a:pt x="275" y="291"/>
                    <a:pt x="280" y="291"/>
                    <a:pt x="280" y="296"/>
                  </a:cubicBezTo>
                  <a:cubicBezTo>
                    <a:pt x="277" y="299"/>
                    <a:pt x="280" y="296"/>
                    <a:pt x="283" y="296"/>
                  </a:cubicBezTo>
                  <a:cubicBezTo>
                    <a:pt x="293" y="291"/>
                    <a:pt x="298" y="286"/>
                    <a:pt x="312" y="2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7" name="Freeform 129">
              <a:extLst>
                <a:ext uri="{FF2B5EF4-FFF2-40B4-BE49-F238E27FC236}">
                  <a16:creationId xmlns:a16="http://schemas.microsoft.com/office/drawing/2014/main" id="{110E7AA2-6C13-484F-880E-FBF5DA554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9063" y="2151063"/>
              <a:ext cx="14287" cy="17462"/>
            </a:xfrm>
            <a:custGeom>
              <a:avLst/>
              <a:gdLst>
                <a:gd name="T0" fmla="*/ 2 w 38"/>
                <a:gd name="T1" fmla="*/ 1 h 47"/>
                <a:gd name="T2" fmla="*/ 18 w 38"/>
                <a:gd name="T3" fmla="*/ 1 h 47"/>
                <a:gd name="T4" fmla="*/ 31 w 38"/>
                <a:gd name="T5" fmla="*/ 3 h 47"/>
                <a:gd name="T6" fmla="*/ 37 w 38"/>
                <a:gd name="T7" fmla="*/ 14 h 47"/>
                <a:gd name="T8" fmla="*/ 31 w 38"/>
                <a:gd name="T9" fmla="*/ 25 h 47"/>
                <a:gd name="T10" fmla="*/ 16 w 38"/>
                <a:gd name="T11" fmla="*/ 30 h 47"/>
                <a:gd name="T12" fmla="*/ 13 w 38"/>
                <a:gd name="T13" fmla="*/ 30 h 47"/>
                <a:gd name="T14" fmla="*/ 13 w 38"/>
                <a:gd name="T15" fmla="*/ 46 h 47"/>
                <a:gd name="T16" fmla="*/ 0 w 38"/>
                <a:gd name="T17" fmla="*/ 46 h 47"/>
                <a:gd name="T18" fmla="*/ 2 w 38"/>
                <a:gd name="T19" fmla="*/ 1 h 47"/>
                <a:gd name="T20" fmla="*/ 13 w 38"/>
                <a:gd name="T21" fmla="*/ 22 h 47"/>
                <a:gd name="T22" fmla="*/ 16 w 38"/>
                <a:gd name="T23" fmla="*/ 22 h 47"/>
                <a:gd name="T24" fmla="*/ 23 w 38"/>
                <a:gd name="T25" fmla="*/ 17 h 47"/>
                <a:gd name="T26" fmla="*/ 16 w 38"/>
                <a:gd name="T27" fmla="*/ 11 h 47"/>
                <a:gd name="T28" fmla="*/ 13 w 38"/>
                <a:gd name="T29" fmla="*/ 11 h 47"/>
                <a:gd name="T30" fmla="*/ 13 w 38"/>
                <a:gd name="T31" fmla="*/ 2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47">
                  <a:moveTo>
                    <a:pt x="2" y="1"/>
                  </a:moveTo>
                  <a:cubicBezTo>
                    <a:pt x="5" y="1"/>
                    <a:pt x="10" y="1"/>
                    <a:pt x="18" y="1"/>
                  </a:cubicBezTo>
                  <a:cubicBezTo>
                    <a:pt x="23" y="1"/>
                    <a:pt x="29" y="0"/>
                    <a:pt x="31" y="3"/>
                  </a:cubicBezTo>
                  <a:cubicBezTo>
                    <a:pt x="34" y="5"/>
                    <a:pt x="37" y="9"/>
                    <a:pt x="37" y="14"/>
                  </a:cubicBezTo>
                  <a:cubicBezTo>
                    <a:pt x="37" y="19"/>
                    <a:pt x="34" y="22"/>
                    <a:pt x="31" y="25"/>
                  </a:cubicBezTo>
                  <a:cubicBezTo>
                    <a:pt x="29" y="27"/>
                    <a:pt x="23" y="30"/>
                    <a:pt x="16" y="30"/>
                  </a:cubicBezTo>
                  <a:lnTo>
                    <a:pt x="13" y="30"/>
                  </a:lnTo>
                  <a:lnTo>
                    <a:pt x="13" y="46"/>
                  </a:lnTo>
                  <a:lnTo>
                    <a:pt x="0" y="46"/>
                  </a:lnTo>
                  <a:lnTo>
                    <a:pt x="2" y="1"/>
                  </a:lnTo>
                  <a:close/>
                  <a:moveTo>
                    <a:pt x="13" y="22"/>
                  </a:moveTo>
                  <a:lnTo>
                    <a:pt x="16" y="22"/>
                  </a:lnTo>
                  <a:cubicBezTo>
                    <a:pt x="21" y="22"/>
                    <a:pt x="23" y="19"/>
                    <a:pt x="23" y="17"/>
                  </a:cubicBezTo>
                  <a:cubicBezTo>
                    <a:pt x="23" y="14"/>
                    <a:pt x="21" y="11"/>
                    <a:pt x="16" y="11"/>
                  </a:cubicBezTo>
                  <a:cubicBezTo>
                    <a:pt x="13" y="11"/>
                    <a:pt x="13" y="11"/>
                    <a:pt x="13" y="11"/>
                  </a:cubicBezTo>
                  <a:lnTo>
                    <a:pt x="13" y="2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8" name="Freeform 130">
              <a:extLst>
                <a:ext uri="{FF2B5EF4-FFF2-40B4-BE49-F238E27FC236}">
                  <a16:creationId xmlns:a16="http://schemas.microsoft.com/office/drawing/2014/main" id="{4C12E53F-72DB-614F-A331-374B1F02FA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238" y="2174875"/>
              <a:ext cx="15875" cy="15875"/>
            </a:xfrm>
            <a:custGeom>
              <a:avLst/>
              <a:gdLst>
                <a:gd name="T0" fmla="*/ 16 w 43"/>
                <a:gd name="T1" fmla="*/ 35 h 46"/>
                <a:gd name="T2" fmla="*/ 13 w 43"/>
                <a:gd name="T3" fmla="*/ 45 h 46"/>
                <a:gd name="T4" fmla="*/ 0 w 43"/>
                <a:gd name="T5" fmla="*/ 45 h 46"/>
                <a:gd name="T6" fmla="*/ 13 w 43"/>
                <a:gd name="T7" fmla="*/ 0 h 46"/>
                <a:gd name="T8" fmla="*/ 29 w 43"/>
                <a:gd name="T9" fmla="*/ 0 h 46"/>
                <a:gd name="T10" fmla="*/ 42 w 43"/>
                <a:gd name="T11" fmla="*/ 45 h 46"/>
                <a:gd name="T12" fmla="*/ 32 w 43"/>
                <a:gd name="T13" fmla="*/ 45 h 46"/>
                <a:gd name="T14" fmla="*/ 29 w 43"/>
                <a:gd name="T15" fmla="*/ 35 h 46"/>
                <a:gd name="T16" fmla="*/ 16 w 43"/>
                <a:gd name="T17" fmla="*/ 35 h 46"/>
                <a:gd name="T18" fmla="*/ 26 w 43"/>
                <a:gd name="T19" fmla="*/ 24 h 46"/>
                <a:gd name="T20" fmla="*/ 24 w 43"/>
                <a:gd name="T21" fmla="*/ 16 h 46"/>
                <a:gd name="T22" fmla="*/ 21 w 43"/>
                <a:gd name="T23" fmla="*/ 8 h 46"/>
                <a:gd name="T24" fmla="*/ 21 w 43"/>
                <a:gd name="T25" fmla="*/ 8 h 46"/>
                <a:gd name="T26" fmla="*/ 18 w 43"/>
                <a:gd name="T27" fmla="*/ 16 h 46"/>
                <a:gd name="T28" fmla="*/ 16 w 43"/>
                <a:gd name="T29" fmla="*/ 24 h 46"/>
                <a:gd name="T30" fmla="*/ 26 w 43"/>
                <a:gd name="T31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46">
                  <a:moveTo>
                    <a:pt x="16" y="35"/>
                  </a:moveTo>
                  <a:lnTo>
                    <a:pt x="13" y="45"/>
                  </a:lnTo>
                  <a:lnTo>
                    <a:pt x="0" y="45"/>
                  </a:lnTo>
                  <a:lnTo>
                    <a:pt x="13" y="0"/>
                  </a:lnTo>
                  <a:lnTo>
                    <a:pt x="29" y="0"/>
                  </a:lnTo>
                  <a:lnTo>
                    <a:pt x="42" y="45"/>
                  </a:lnTo>
                  <a:lnTo>
                    <a:pt x="32" y="45"/>
                  </a:lnTo>
                  <a:lnTo>
                    <a:pt x="29" y="35"/>
                  </a:lnTo>
                  <a:lnTo>
                    <a:pt x="16" y="35"/>
                  </a:lnTo>
                  <a:close/>
                  <a:moveTo>
                    <a:pt x="26" y="24"/>
                  </a:moveTo>
                  <a:lnTo>
                    <a:pt x="24" y="16"/>
                  </a:lnTo>
                  <a:cubicBezTo>
                    <a:pt x="24" y="13"/>
                    <a:pt x="21" y="11"/>
                    <a:pt x="21" y="8"/>
                  </a:cubicBezTo>
                  <a:lnTo>
                    <a:pt x="21" y="8"/>
                  </a:lnTo>
                  <a:cubicBezTo>
                    <a:pt x="21" y="11"/>
                    <a:pt x="18" y="13"/>
                    <a:pt x="18" y="16"/>
                  </a:cubicBezTo>
                  <a:lnTo>
                    <a:pt x="16" y="24"/>
                  </a:ln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9" name="Freeform 131">
              <a:extLst>
                <a:ext uri="{FF2B5EF4-FFF2-40B4-BE49-F238E27FC236}">
                  <a16:creationId xmlns:a16="http://schemas.microsoft.com/office/drawing/2014/main" id="{53C2B563-C2B9-6249-A75B-1ABF7B71F0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9063" y="2197100"/>
              <a:ext cx="14287" cy="15875"/>
            </a:xfrm>
            <a:custGeom>
              <a:avLst/>
              <a:gdLst>
                <a:gd name="T0" fmla="*/ 10 w 40"/>
                <a:gd name="T1" fmla="*/ 0 h 46"/>
                <a:gd name="T2" fmla="*/ 10 w 40"/>
                <a:gd name="T3" fmla="*/ 16 h 46"/>
                <a:gd name="T4" fmla="*/ 26 w 40"/>
                <a:gd name="T5" fmla="*/ 16 h 46"/>
                <a:gd name="T6" fmla="*/ 26 w 40"/>
                <a:gd name="T7" fmla="*/ 0 h 46"/>
                <a:gd name="T8" fmla="*/ 39 w 40"/>
                <a:gd name="T9" fmla="*/ 0 h 46"/>
                <a:gd name="T10" fmla="*/ 39 w 40"/>
                <a:gd name="T11" fmla="*/ 45 h 46"/>
                <a:gd name="T12" fmla="*/ 26 w 40"/>
                <a:gd name="T13" fmla="*/ 45 h 46"/>
                <a:gd name="T14" fmla="*/ 26 w 40"/>
                <a:gd name="T15" fmla="*/ 26 h 46"/>
                <a:gd name="T16" fmla="*/ 10 w 40"/>
                <a:gd name="T17" fmla="*/ 26 h 46"/>
                <a:gd name="T18" fmla="*/ 10 w 40"/>
                <a:gd name="T19" fmla="*/ 45 h 46"/>
                <a:gd name="T20" fmla="*/ 0 w 40"/>
                <a:gd name="T21" fmla="*/ 45 h 46"/>
                <a:gd name="T22" fmla="*/ 0 w 40"/>
                <a:gd name="T23" fmla="*/ 0 h 46"/>
                <a:gd name="T24" fmla="*/ 10 w 40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46">
                  <a:moveTo>
                    <a:pt x="10" y="0"/>
                  </a:moveTo>
                  <a:lnTo>
                    <a:pt x="10" y="16"/>
                  </a:lnTo>
                  <a:lnTo>
                    <a:pt x="26" y="16"/>
                  </a:lnTo>
                  <a:lnTo>
                    <a:pt x="26" y="0"/>
                  </a:lnTo>
                  <a:lnTo>
                    <a:pt x="39" y="0"/>
                  </a:lnTo>
                  <a:lnTo>
                    <a:pt x="39" y="45"/>
                  </a:lnTo>
                  <a:lnTo>
                    <a:pt x="26" y="45"/>
                  </a:lnTo>
                  <a:lnTo>
                    <a:pt x="26" y="26"/>
                  </a:lnTo>
                  <a:lnTo>
                    <a:pt x="10" y="26"/>
                  </a:lnTo>
                  <a:lnTo>
                    <a:pt x="10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1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0" name="Freeform 132">
              <a:extLst>
                <a:ext uri="{FF2B5EF4-FFF2-40B4-BE49-F238E27FC236}">
                  <a16:creationId xmlns:a16="http://schemas.microsoft.com/office/drawing/2014/main" id="{A0F24BBA-DAAA-DC47-8303-C478ABE01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2219325"/>
              <a:ext cx="15875" cy="17463"/>
            </a:xfrm>
            <a:custGeom>
              <a:avLst/>
              <a:gdLst>
                <a:gd name="T0" fmla="*/ 21 w 46"/>
                <a:gd name="T1" fmla="*/ 47 h 48"/>
                <a:gd name="T2" fmla="*/ 0 w 46"/>
                <a:gd name="T3" fmla="*/ 24 h 48"/>
                <a:gd name="T4" fmla="*/ 24 w 46"/>
                <a:gd name="T5" fmla="*/ 0 h 48"/>
                <a:gd name="T6" fmla="*/ 45 w 46"/>
                <a:gd name="T7" fmla="*/ 24 h 48"/>
                <a:gd name="T8" fmla="*/ 21 w 46"/>
                <a:gd name="T9" fmla="*/ 47 h 48"/>
                <a:gd name="T10" fmla="*/ 24 w 46"/>
                <a:gd name="T11" fmla="*/ 37 h 48"/>
                <a:gd name="T12" fmla="*/ 34 w 46"/>
                <a:gd name="T13" fmla="*/ 24 h 48"/>
                <a:gd name="T14" fmla="*/ 24 w 46"/>
                <a:gd name="T15" fmla="*/ 10 h 48"/>
                <a:gd name="T16" fmla="*/ 13 w 46"/>
                <a:gd name="T17" fmla="*/ 24 h 48"/>
                <a:gd name="T18" fmla="*/ 24 w 46"/>
                <a:gd name="T19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8">
                  <a:moveTo>
                    <a:pt x="21" y="47"/>
                  </a:moveTo>
                  <a:cubicBezTo>
                    <a:pt x="8" y="47"/>
                    <a:pt x="0" y="37"/>
                    <a:pt x="0" y="24"/>
                  </a:cubicBezTo>
                  <a:cubicBezTo>
                    <a:pt x="0" y="10"/>
                    <a:pt x="8" y="0"/>
                    <a:pt x="24" y="0"/>
                  </a:cubicBezTo>
                  <a:cubicBezTo>
                    <a:pt x="37" y="2"/>
                    <a:pt x="45" y="13"/>
                    <a:pt x="45" y="24"/>
                  </a:cubicBezTo>
                  <a:cubicBezTo>
                    <a:pt x="45" y="37"/>
                    <a:pt x="37" y="47"/>
                    <a:pt x="21" y="47"/>
                  </a:cubicBezTo>
                  <a:close/>
                  <a:moveTo>
                    <a:pt x="24" y="37"/>
                  </a:moveTo>
                  <a:cubicBezTo>
                    <a:pt x="29" y="37"/>
                    <a:pt x="34" y="31"/>
                    <a:pt x="34" y="24"/>
                  </a:cubicBezTo>
                  <a:cubicBezTo>
                    <a:pt x="34" y="16"/>
                    <a:pt x="32" y="10"/>
                    <a:pt x="24" y="10"/>
                  </a:cubicBezTo>
                  <a:cubicBezTo>
                    <a:pt x="16" y="10"/>
                    <a:pt x="13" y="16"/>
                    <a:pt x="13" y="24"/>
                  </a:cubicBezTo>
                  <a:cubicBezTo>
                    <a:pt x="13" y="31"/>
                    <a:pt x="16" y="37"/>
                    <a:pt x="24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" name="Freeform 133">
              <a:extLst>
                <a:ext uri="{FF2B5EF4-FFF2-40B4-BE49-F238E27FC236}">
                  <a16:creationId xmlns:a16="http://schemas.microsoft.com/office/drawing/2014/main" id="{8BA36BDF-84FC-8249-8476-BF08C0138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488" y="2159000"/>
              <a:ext cx="15875" cy="17463"/>
            </a:xfrm>
            <a:custGeom>
              <a:avLst/>
              <a:gdLst>
                <a:gd name="T0" fmla="*/ 21 w 46"/>
                <a:gd name="T1" fmla="*/ 48 h 49"/>
                <a:gd name="T2" fmla="*/ 0 w 46"/>
                <a:gd name="T3" fmla="*/ 24 h 49"/>
                <a:gd name="T4" fmla="*/ 24 w 46"/>
                <a:gd name="T5" fmla="*/ 0 h 49"/>
                <a:gd name="T6" fmla="*/ 45 w 46"/>
                <a:gd name="T7" fmla="*/ 24 h 49"/>
                <a:gd name="T8" fmla="*/ 21 w 46"/>
                <a:gd name="T9" fmla="*/ 48 h 49"/>
                <a:gd name="T10" fmla="*/ 24 w 46"/>
                <a:gd name="T11" fmla="*/ 37 h 49"/>
                <a:gd name="T12" fmla="*/ 35 w 46"/>
                <a:gd name="T13" fmla="*/ 24 h 49"/>
                <a:gd name="T14" fmla="*/ 24 w 46"/>
                <a:gd name="T15" fmla="*/ 10 h 49"/>
                <a:gd name="T16" fmla="*/ 13 w 46"/>
                <a:gd name="T17" fmla="*/ 24 h 49"/>
                <a:gd name="T18" fmla="*/ 24 w 46"/>
                <a:gd name="T19" fmla="*/ 3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9">
                  <a:moveTo>
                    <a:pt x="21" y="48"/>
                  </a:moveTo>
                  <a:cubicBezTo>
                    <a:pt x="8" y="48"/>
                    <a:pt x="0" y="37"/>
                    <a:pt x="0" y="24"/>
                  </a:cubicBezTo>
                  <a:cubicBezTo>
                    <a:pt x="0" y="10"/>
                    <a:pt x="8" y="0"/>
                    <a:pt x="24" y="0"/>
                  </a:cubicBezTo>
                  <a:cubicBezTo>
                    <a:pt x="37" y="3"/>
                    <a:pt x="45" y="13"/>
                    <a:pt x="45" y="24"/>
                  </a:cubicBezTo>
                  <a:cubicBezTo>
                    <a:pt x="45" y="37"/>
                    <a:pt x="37" y="48"/>
                    <a:pt x="21" y="48"/>
                  </a:cubicBezTo>
                  <a:close/>
                  <a:moveTo>
                    <a:pt x="24" y="37"/>
                  </a:moveTo>
                  <a:cubicBezTo>
                    <a:pt x="29" y="37"/>
                    <a:pt x="35" y="32"/>
                    <a:pt x="35" y="24"/>
                  </a:cubicBezTo>
                  <a:cubicBezTo>
                    <a:pt x="35" y="16"/>
                    <a:pt x="32" y="10"/>
                    <a:pt x="24" y="10"/>
                  </a:cubicBezTo>
                  <a:cubicBezTo>
                    <a:pt x="16" y="10"/>
                    <a:pt x="13" y="16"/>
                    <a:pt x="13" y="24"/>
                  </a:cubicBezTo>
                  <a:cubicBezTo>
                    <a:pt x="13" y="32"/>
                    <a:pt x="16" y="37"/>
                    <a:pt x="24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2" name="Freeform 134">
              <a:extLst>
                <a:ext uri="{FF2B5EF4-FFF2-40B4-BE49-F238E27FC236}">
                  <a16:creationId xmlns:a16="http://schemas.microsoft.com/office/drawing/2014/main" id="{E2DB0835-2822-5F45-9DF0-4495FDF12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488" y="2185988"/>
              <a:ext cx="14287" cy="15875"/>
            </a:xfrm>
            <a:custGeom>
              <a:avLst/>
              <a:gdLst>
                <a:gd name="T0" fmla="*/ 2 w 38"/>
                <a:gd name="T1" fmla="*/ 0 h 46"/>
                <a:gd name="T2" fmla="*/ 18 w 38"/>
                <a:gd name="T3" fmla="*/ 0 h 46"/>
                <a:gd name="T4" fmla="*/ 31 w 38"/>
                <a:gd name="T5" fmla="*/ 3 h 46"/>
                <a:gd name="T6" fmla="*/ 37 w 38"/>
                <a:gd name="T7" fmla="*/ 13 h 46"/>
                <a:gd name="T8" fmla="*/ 31 w 38"/>
                <a:gd name="T9" fmla="*/ 24 h 46"/>
                <a:gd name="T10" fmla="*/ 15 w 38"/>
                <a:gd name="T11" fmla="*/ 29 h 46"/>
                <a:gd name="T12" fmla="*/ 13 w 38"/>
                <a:gd name="T13" fmla="*/ 29 h 46"/>
                <a:gd name="T14" fmla="*/ 13 w 38"/>
                <a:gd name="T15" fmla="*/ 45 h 46"/>
                <a:gd name="T16" fmla="*/ 0 w 38"/>
                <a:gd name="T17" fmla="*/ 45 h 46"/>
                <a:gd name="T18" fmla="*/ 2 w 38"/>
                <a:gd name="T19" fmla="*/ 0 h 46"/>
                <a:gd name="T20" fmla="*/ 13 w 38"/>
                <a:gd name="T21" fmla="*/ 21 h 46"/>
                <a:gd name="T22" fmla="*/ 15 w 38"/>
                <a:gd name="T23" fmla="*/ 21 h 46"/>
                <a:gd name="T24" fmla="*/ 23 w 38"/>
                <a:gd name="T25" fmla="*/ 16 h 46"/>
                <a:gd name="T26" fmla="*/ 15 w 38"/>
                <a:gd name="T27" fmla="*/ 11 h 46"/>
                <a:gd name="T28" fmla="*/ 13 w 38"/>
                <a:gd name="T29" fmla="*/ 11 h 46"/>
                <a:gd name="T30" fmla="*/ 13 w 38"/>
                <a:gd name="T31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46">
                  <a:moveTo>
                    <a:pt x="2" y="0"/>
                  </a:moveTo>
                  <a:cubicBezTo>
                    <a:pt x="5" y="0"/>
                    <a:pt x="10" y="0"/>
                    <a:pt x="18" y="0"/>
                  </a:cubicBezTo>
                  <a:cubicBezTo>
                    <a:pt x="23" y="0"/>
                    <a:pt x="28" y="0"/>
                    <a:pt x="31" y="3"/>
                  </a:cubicBezTo>
                  <a:cubicBezTo>
                    <a:pt x="33" y="5"/>
                    <a:pt x="37" y="8"/>
                    <a:pt x="37" y="13"/>
                  </a:cubicBezTo>
                  <a:cubicBezTo>
                    <a:pt x="37" y="19"/>
                    <a:pt x="34" y="21"/>
                    <a:pt x="31" y="24"/>
                  </a:cubicBezTo>
                  <a:cubicBezTo>
                    <a:pt x="29" y="27"/>
                    <a:pt x="23" y="29"/>
                    <a:pt x="15" y="29"/>
                  </a:cubicBezTo>
                  <a:lnTo>
                    <a:pt x="13" y="29"/>
                  </a:lnTo>
                  <a:lnTo>
                    <a:pt x="13" y="45"/>
                  </a:lnTo>
                  <a:lnTo>
                    <a:pt x="0" y="45"/>
                  </a:lnTo>
                  <a:lnTo>
                    <a:pt x="2" y="0"/>
                  </a:lnTo>
                  <a:close/>
                  <a:moveTo>
                    <a:pt x="13" y="21"/>
                  </a:moveTo>
                  <a:lnTo>
                    <a:pt x="15" y="21"/>
                  </a:lnTo>
                  <a:cubicBezTo>
                    <a:pt x="21" y="21"/>
                    <a:pt x="23" y="19"/>
                    <a:pt x="23" y="16"/>
                  </a:cubicBezTo>
                  <a:cubicBezTo>
                    <a:pt x="23" y="13"/>
                    <a:pt x="21" y="11"/>
                    <a:pt x="15" y="11"/>
                  </a:cubicBezTo>
                  <a:cubicBezTo>
                    <a:pt x="13" y="11"/>
                    <a:pt x="13" y="11"/>
                    <a:pt x="13" y="11"/>
                  </a:cubicBez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3" name="Freeform 135">
              <a:extLst>
                <a:ext uri="{FF2B5EF4-FFF2-40B4-BE49-F238E27FC236}">
                  <a16:creationId xmlns:a16="http://schemas.microsoft.com/office/drawing/2014/main" id="{1897AC13-439A-094D-830E-40D2AF364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2208213"/>
              <a:ext cx="11113" cy="15875"/>
            </a:xfrm>
            <a:custGeom>
              <a:avLst/>
              <a:gdLst>
                <a:gd name="T0" fmla="*/ 6 w 33"/>
                <a:gd name="T1" fmla="*/ 31 h 46"/>
                <a:gd name="T2" fmla="*/ 16 w 33"/>
                <a:gd name="T3" fmla="*/ 34 h 46"/>
                <a:gd name="T4" fmla="*/ 22 w 33"/>
                <a:gd name="T5" fmla="*/ 31 h 46"/>
                <a:gd name="T6" fmla="*/ 14 w 33"/>
                <a:gd name="T7" fmla="*/ 26 h 46"/>
                <a:gd name="T8" fmla="*/ 0 w 33"/>
                <a:gd name="T9" fmla="*/ 13 h 46"/>
                <a:gd name="T10" fmla="*/ 19 w 33"/>
                <a:gd name="T11" fmla="*/ 0 h 46"/>
                <a:gd name="T12" fmla="*/ 32 w 33"/>
                <a:gd name="T13" fmla="*/ 2 h 46"/>
                <a:gd name="T14" fmla="*/ 30 w 33"/>
                <a:gd name="T15" fmla="*/ 13 h 46"/>
                <a:gd name="T16" fmla="*/ 19 w 33"/>
                <a:gd name="T17" fmla="*/ 10 h 46"/>
                <a:gd name="T18" fmla="*/ 14 w 33"/>
                <a:gd name="T19" fmla="*/ 13 h 46"/>
                <a:gd name="T20" fmla="*/ 22 w 33"/>
                <a:gd name="T21" fmla="*/ 18 h 46"/>
                <a:gd name="T22" fmla="*/ 32 w 33"/>
                <a:gd name="T23" fmla="*/ 31 h 46"/>
                <a:gd name="T24" fmla="*/ 14 w 33"/>
                <a:gd name="T25" fmla="*/ 45 h 46"/>
                <a:gd name="T26" fmla="*/ 0 w 33"/>
                <a:gd name="T27" fmla="*/ 42 h 46"/>
                <a:gd name="T28" fmla="*/ 6 w 33"/>
                <a:gd name="T29" fmla="*/ 3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6">
                  <a:moveTo>
                    <a:pt x="6" y="31"/>
                  </a:moveTo>
                  <a:cubicBezTo>
                    <a:pt x="8" y="34"/>
                    <a:pt x="14" y="34"/>
                    <a:pt x="16" y="34"/>
                  </a:cubicBezTo>
                  <a:cubicBezTo>
                    <a:pt x="22" y="34"/>
                    <a:pt x="22" y="31"/>
                    <a:pt x="22" y="31"/>
                  </a:cubicBezTo>
                  <a:cubicBezTo>
                    <a:pt x="22" y="29"/>
                    <a:pt x="19" y="29"/>
                    <a:pt x="14" y="26"/>
                  </a:cubicBezTo>
                  <a:cubicBezTo>
                    <a:pt x="6" y="23"/>
                    <a:pt x="0" y="18"/>
                    <a:pt x="0" y="13"/>
                  </a:cubicBezTo>
                  <a:cubicBezTo>
                    <a:pt x="0" y="5"/>
                    <a:pt x="8" y="0"/>
                    <a:pt x="19" y="0"/>
                  </a:cubicBezTo>
                  <a:cubicBezTo>
                    <a:pt x="24" y="0"/>
                    <a:pt x="30" y="0"/>
                    <a:pt x="32" y="2"/>
                  </a:cubicBezTo>
                  <a:lnTo>
                    <a:pt x="30" y="13"/>
                  </a:lnTo>
                  <a:cubicBezTo>
                    <a:pt x="27" y="13"/>
                    <a:pt x="24" y="10"/>
                    <a:pt x="19" y="10"/>
                  </a:cubicBezTo>
                  <a:cubicBezTo>
                    <a:pt x="16" y="10"/>
                    <a:pt x="14" y="13"/>
                    <a:pt x="14" y="13"/>
                  </a:cubicBezTo>
                  <a:cubicBezTo>
                    <a:pt x="14" y="15"/>
                    <a:pt x="16" y="15"/>
                    <a:pt x="22" y="18"/>
                  </a:cubicBezTo>
                  <a:cubicBezTo>
                    <a:pt x="30" y="21"/>
                    <a:pt x="32" y="26"/>
                    <a:pt x="32" y="31"/>
                  </a:cubicBezTo>
                  <a:cubicBezTo>
                    <a:pt x="32" y="39"/>
                    <a:pt x="27" y="45"/>
                    <a:pt x="14" y="45"/>
                  </a:cubicBezTo>
                  <a:cubicBezTo>
                    <a:pt x="8" y="45"/>
                    <a:pt x="3" y="42"/>
                    <a:pt x="0" y="42"/>
                  </a:cubicBezTo>
                  <a:lnTo>
                    <a:pt x="6" y="3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4" name="Freeform 136">
              <a:extLst>
                <a:ext uri="{FF2B5EF4-FFF2-40B4-BE49-F238E27FC236}">
                  <a16:creationId xmlns:a16="http://schemas.microsoft.com/office/drawing/2014/main" id="{606BB688-23C2-2941-9CBA-21B71B1ABA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2017713"/>
              <a:ext cx="438150" cy="381000"/>
            </a:xfrm>
            <a:custGeom>
              <a:avLst/>
              <a:gdLst>
                <a:gd name="T0" fmla="*/ 0 w 1219"/>
                <a:gd name="T1" fmla="*/ 0 h 1060"/>
                <a:gd name="T2" fmla="*/ 784 w 1219"/>
                <a:gd name="T3" fmla="*/ 0 h 1060"/>
                <a:gd name="T4" fmla="*/ 1218 w 1219"/>
                <a:gd name="T5" fmla="*/ 365 h 1060"/>
                <a:gd name="T6" fmla="*/ 781 w 1219"/>
                <a:gd name="T7" fmla="*/ 755 h 1060"/>
                <a:gd name="T8" fmla="*/ 455 w 1219"/>
                <a:gd name="T9" fmla="*/ 755 h 1060"/>
                <a:gd name="T10" fmla="*/ 455 w 1219"/>
                <a:gd name="T11" fmla="*/ 1059 h 1060"/>
                <a:gd name="T12" fmla="*/ 0 w 1219"/>
                <a:gd name="T13" fmla="*/ 1059 h 1060"/>
                <a:gd name="T14" fmla="*/ 0 w 1219"/>
                <a:gd name="T15" fmla="*/ 0 h 1060"/>
                <a:gd name="T16" fmla="*/ 543 w 1219"/>
                <a:gd name="T17" fmla="*/ 508 h 1060"/>
                <a:gd name="T18" fmla="*/ 762 w 1219"/>
                <a:gd name="T19" fmla="*/ 371 h 1060"/>
                <a:gd name="T20" fmla="*/ 543 w 1219"/>
                <a:gd name="T21" fmla="*/ 244 h 1060"/>
                <a:gd name="T22" fmla="*/ 445 w 1219"/>
                <a:gd name="T23" fmla="*/ 244 h 1060"/>
                <a:gd name="T24" fmla="*/ 445 w 1219"/>
                <a:gd name="T25" fmla="*/ 508 h 1060"/>
                <a:gd name="T26" fmla="*/ 543 w 1219"/>
                <a:gd name="T27" fmla="*/ 508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9" h="1060">
                  <a:moveTo>
                    <a:pt x="0" y="0"/>
                  </a:moveTo>
                  <a:lnTo>
                    <a:pt x="784" y="0"/>
                  </a:lnTo>
                  <a:cubicBezTo>
                    <a:pt x="969" y="0"/>
                    <a:pt x="1218" y="79"/>
                    <a:pt x="1218" y="365"/>
                  </a:cubicBezTo>
                  <a:cubicBezTo>
                    <a:pt x="1218" y="641"/>
                    <a:pt x="1019" y="755"/>
                    <a:pt x="781" y="755"/>
                  </a:cubicBezTo>
                  <a:lnTo>
                    <a:pt x="455" y="755"/>
                  </a:lnTo>
                  <a:lnTo>
                    <a:pt x="455" y="1059"/>
                  </a:lnTo>
                  <a:lnTo>
                    <a:pt x="0" y="1059"/>
                  </a:lnTo>
                  <a:lnTo>
                    <a:pt x="0" y="0"/>
                  </a:lnTo>
                  <a:close/>
                  <a:moveTo>
                    <a:pt x="543" y="508"/>
                  </a:moveTo>
                  <a:cubicBezTo>
                    <a:pt x="651" y="508"/>
                    <a:pt x="762" y="490"/>
                    <a:pt x="762" y="371"/>
                  </a:cubicBezTo>
                  <a:cubicBezTo>
                    <a:pt x="762" y="259"/>
                    <a:pt x="651" y="244"/>
                    <a:pt x="543" y="244"/>
                  </a:cubicBezTo>
                  <a:lnTo>
                    <a:pt x="445" y="244"/>
                  </a:lnTo>
                  <a:lnTo>
                    <a:pt x="445" y="508"/>
                  </a:lnTo>
                  <a:lnTo>
                    <a:pt x="543" y="5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5" name="Freeform 137">
              <a:extLst>
                <a:ext uri="{FF2B5EF4-FFF2-40B4-BE49-F238E27FC236}">
                  <a16:creationId xmlns:a16="http://schemas.microsoft.com/office/drawing/2014/main" id="{D4A7620A-42A5-7541-8C2C-0AEAD73EDA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5338" y="2017713"/>
              <a:ext cx="528637" cy="381000"/>
            </a:xfrm>
            <a:custGeom>
              <a:avLst/>
              <a:gdLst>
                <a:gd name="T0" fmla="*/ 416 w 1468"/>
                <a:gd name="T1" fmla="*/ 0 h 1060"/>
                <a:gd name="T2" fmla="*/ 1044 w 1468"/>
                <a:gd name="T3" fmla="*/ 0 h 1060"/>
                <a:gd name="T4" fmla="*/ 1467 w 1468"/>
                <a:gd name="T5" fmla="*/ 1059 h 1060"/>
                <a:gd name="T6" fmla="*/ 991 w 1468"/>
                <a:gd name="T7" fmla="*/ 1059 h 1060"/>
                <a:gd name="T8" fmla="*/ 911 w 1468"/>
                <a:gd name="T9" fmla="*/ 829 h 1060"/>
                <a:gd name="T10" fmla="*/ 527 w 1468"/>
                <a:gd name="T11" fmla="*/ 829 h 1060"/>
                <a:gd name="T12" fmla="*/ 453 w 1468"/>
                <a:gd name="T13" fmla="*/ 1059 h 1060"/>
                <a:gd name="T14" fmla="*/ 0 w 1468"/>
                <a:gd name="T15" fmla="*/ 1059 h 1060"/>
                <a:gd name="T16" fmla="*/ 416 w 1468"/>
                <a:gd name="T17" fmla="*/ 0 h 1060"/>
                <a:gd name="T18" fmla="*/ 591 w 1468"/>
                <a:gd name="T19" fmla="*/ 575 h 1060"/>
                <a:gd name="T20" fmla="*/ 856 w 1468"/>
                <a:gd name="T21" fmla="*/ 575 h 1060"/>
                <a:gd name="T22" fmla="*/ 726 w 1468"/>
                <a:gd name="T23" fmla="*/ 228 h 1060"/>
                <a:gd name="T24" fmla="*/ 723 w 1468"/>
                <a:gd name="T25" fmla="*/ 228 h 1060"/>
                <a:gd name="T26" fmla="*/ 591 w 1468"/>
                <a:gd name="T27" fmla="*/ 575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68" h="1060">
                  <a:moveTo>
                    <a:pt x="416" y="0"/>
                  </a:moveTo>
                  <a:lnTo>
                    <a:pt x="1044" y="0"/>
                  </a:lnTo>
                  <a:lnTo>
                    <a:pt x="1467" y="1059"/>
                  </a:lnTo>
                  <a:lnTo>
                    <a:pt x="991" y="1059"/>
                  </a:lnTo>
                  <a:lnTo>
                    <a:pt x="911" y="829"/>
                  </a:lnTo>
                  <a:lnTo>
                    <a:pt x="527" y="829"/>
                  </a:lnTo>
                  <a:lnTo>
                    <a:pt x="453" y="1059"/>
                  </a:lnTo>
                  <a:lnTo>
                    <a:pt x="0" y="1059"/>
                  </a:lnTo>
                  <a:lnTo>
                    <a:pt x="416" y="0"/>
                  </a:lnTo>
                  <a:close/>
                  <a:moveTo>
                    <a:pt x="591" y="575"/>
                  </a:moveTo>
                  <a:lnTo>
                    <a:pt x="856" y="575"/>
                  </a:lnTo>
                  <a:lnTo>
                    <a:pt x="726" y="228"/>
                  </a:lnTo>
                  <a:lnTo>
                    <a:pt x="723" y="228"/>
                  </a:lnTo>
                  <a:lnTo>
                    <a:pt x="591" y="57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6" name="Freeform 138">
              <a:extLst>
                <a:ext uri="{FF2B5EF4-FFF2-40B4-BE49-F238E27FC236}">
                  <a16:creationId xmlns:a16="http://schemas.microsoft.com/office/drawing/2014/main" id="{327EEBFE-B4DA-324E-BE77-87CC374B3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200" y="2017713"/>
              <a:ext cx="438150" cy="381000"/>
            </a:xfrm>
            <a:custGeom>
              <a:avLst/>
              <a:gdLst>
                <a:gd name="T0" fmla="*/ 760 w 1217"/>
                <a:gd name="T1" fmla="*/ 0 h 1060"/>
                <a:gd name="T2" fmla="*/ 1216 w 1217"/>
                <a:gd name="T3" fmla="*/ 0 h 1060"/>
                <a:gd name="T4" fmla="*/ 1216 w 1217"/>
                <a:gd name="T5" fmla="*/ 1059 h 1060"/>
                <a:gd name="T6" fmla="*/ 760 w 1217"/>
                <a:gd name="T7" fmla="*/ 1059 h 1060"/>
                <a:gd name="T8" fmla="*/ 760 w 1217"/>
                <a:gd name="T9" fmla="*/ 678 h 1060"/>
                <a:gd name="T10" fmla="*/ 456 w 1217"/>
                <a:gd name="T11" fmla="*/ 678 h 1060"/>
                <a:gd name="T12" fmla="*/ 456 w 1217"/>
                <a:gd name="T13" fmla="*/ 1059 h 1060"/>
                <a:gd name="T14" fmla="*/ 0 w 1217"/>
                <a:gd name="T15" fmla="*/ 1059 h 1060"/>
                <a:gd name="T16" fmla="*/ 0 w 1217"/>
                <a:gd name="T17" fmla="*/ 0 h 1060"/>
                <a:gd name="T18" fmla="*/ 456 w 1217"/>
                <a:gd name="T19" fmla="*/ 0 h 1060"/>
                <a:gd name="T20" fmla="*/ 456 w 1217"/>
                <a:gd name="T21" fmla="*/ 365 h 1060"/>
                <a:gd name="T22" fmla="*/ 760 w 1217"/>
                <a:gd name="T23" fmla="*/ 365 h 1060"/>
                <a:gd name="T24" fmla="*/ 760 w 1217"/>
                <a:gd name="T25" fmla="*/ 0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17" h="1060">
                  <a:moveTo>
                    <a:pt x="760" y="0"/>
                  </a:moveTo>
                  <a:lnTo>
                    <a:pt x="1216" y="0"/>
                  </a:lnTo>
                  <a:lnTo>
                    <a:pt x="1216" y="1059"/>
                  </a:lnTo>
                  <a:lnTo>
                    <a:pt x="760" y="1059"/>
                  </a:lnTo>
                  <a:lnTo>
                    <a:pt x="760" y="678"/>
                  </a:lnTo>
                  <a:lnTo>
                    <a:pt x="456" y="678"/>
                  </a:lnTo>
                  <a:lnTo>
                    <a:pt x="456" y="1059"/>
                  </a:lnTo>
                  <a:lnTo>
                    <a:pt x="0" y="1059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365"/>
                  </a:lnTo>
                  <a:lnTo>
                    <a:pt x="760" y="365"/>
                  </a:lnTo>
                  <a:lnTo>
                    <a:pt x="76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7" name="Freeform 139">
              <a:extLst>
                <a:ext uri="{FF2B5EF4-FFF2-40B4-BE49-F238E27FC236}">
                  <a16:creationId xmlns:a16="http://schemas.microsoft.com/office/drawing/2014/main" id="{747F0B85-9AAD-F341-AD82-A38079F6B3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5625" y="2011363"/>
              <a:ext cx="476250" cy="395287"/>
            </a:xfrm>
            <a:custGeom>
              <a:avLst/>
              <a:gdLst>
                <a:gd name="T0" fmla="*/ 657 w 1322"/>
                <a:gd name="T1" fmla="*/ 1097 h 1098"/>
                <a:gd name="T2" fmla="*/ 0 w 1322"/>
                <a:gd name="T3" fmla="*/ 549 h 1098"/>
                <a:gd name="T4" fmla="*/ 657 w 1322"/>
                <a:gd name="T5" fmla="*/ 0 h 1098"/>
                <a:gd name="T6" fmla="*/ 1319 w 1322"/>
                <a:gd name="T7" fmla="*/ 549 h 1098"/>
                <a:gd name="T8" fmla="*/ 657 w 1322"/>
                <a:gd name="T9" fmla="*/ 1097 h 1098"/>
                <a:gd name="T10" fmla="*/ 657 w 1322"/>
                <a:gd name="T11" fmla="*/ 843 h 1098"/>
                <a:gd name="T12" fmla="*/ 845 w 1322"/>
                <a:gd name="T13" fmla="*/ 549 h 1098"/>
                <a:gd name="T14" fmla="*/ 657 w 1322"/>
                <a:gd name="T15" fmla="*/ 255 h 1098"/>
                <a:gd name="T16" fmla="*/ 474 w 1322"/>
                <a:gd name="T17" fmla="*/ 549 h 1098"/>
                <a:gd name="T18" fmla="*/ 657 w 1322"/>
                <a:gd name="T19" fmla="*/ 843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2" h="1098">
                  <a:moveTo>
                    <a:pt x="657" y="1097"/>
                  </a:moveTo>
                  <a:cubicBezTo>
                    <a:pt x="241" y="1097"/>
                    <a:pt x="0" y="909"/>
                    <a:pt x="0" y="549"/>
                  </a:cubicBezTo>
                  <a:cubicBezTo>
                    <a:pt x="0" y="194"/>
                    <a:pt x="244" y="0"/>
                    <a:pt x="657" y="0"/>
                  </a:cubicBezTo>
                  <a:cubicBezTo>
                    <a:pt x="1072" y="0"/>
                    <a:pt x="1319" y="194"/>
                    <a:pt x="1319" y="549"/>
                  </a:cubicBezTo>
                  <a:cubicBezTo>
                    <a:pt x="1321" y="911"/>
                    <a:pt x="1072" y="1097"/>
                    <a:pt x="657" y="1097"/>
                  </a:cubicBezTo>
                  <a:close/>
                  <a:moveTo>
                    <a:pt x="657" y="843"/>
                  </a:moveTo>
                  <a:cubicBezTo>
                    <a:pt x="837" y="843"/>
                    <a:pt x="842" y="662"/>
                    <a:pt x="845" y="549"/>
                  </a:cubicBezTo>
                  <a:cubicBezTo>
                    <a:pt x="842" y="451"/>
                    <a:pt x="831" y="255"/>
                    <a:pt x="657" y="255"/>
                  </a:cubicBezTo>
                  <a:cubicBezTo>
                    <a:pt x="487" y="255"/>
                    <a:pt x="474" y="448"/>
                    <a:pt x="474" y="549"/>
                  </a:cubicBezTo>
                  <a:cubicBezTo>
                    <a:pt x="477" y="662"/>
                    <a:pt x="495" y="843"/>
                    <a:pt x="657" y="8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24B46963-3CAA-7E46-8E4C-A63175F0D3A3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14613" y="6301945"/>
            <a:ext cx="0" cy="30777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Slide Number Placeholder 8">
            <a:extLst>
              <a:ext uri="{FF2B5EF4-FFF2-40B4-BE49-F238E27FC236}">
                <a16:creationId xmlns:a16="http://schemas.microsoft.com/office/drawing/2014/main" id="{9F130AB5-F5AB-E249-8D20-BF830176BA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14613" y="6292846"/>
            <a:ext cx="739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CEF48CEA-885D-5C4E-A5CD-C931F1E95D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1102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36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011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F7A68B15-EE20-4125-A615-0A987E99D731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8313" imgH="8238" progId="TCLayout.ActiveDocument.1">
                  <p:embed/>
                </p:oleObj>
              </mc:Choice>
              <mc:Fallback>
                <p:oleObj name="think-cell Slide" r:id="rId2" imgW="8313" imgH="8238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F7A68B15-EE20-4125-A615-0A987E99D7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148A4FBA-8DDF-419C-A26F-FB1565C0347A}"/>
              </a:ext>
            </a:extLst>
          </p:cNvPr>
          <p:cNvSpPr/>
          <p:nvPr/>
        </p:nvSpPr>
        <p:spPr>
          <a:xfrm>
            <a:off x="0" y="0"/>
            <a:ext cx="158748" cy="158748"/>
          </a:xfrm>
          <a:prstGeom prst="rect">
            <a:avLst/>
          </a:prstGeom>
          <a:solidFill>
            <a:srgbClr val="082F3B"/>
          </a:solidFill>
          <a:ln cap="flat">
            <a:noFill/>
            <a:prstDash val="solid"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500" b="1" i="0" u="none" strike="noStrike" kern="1200" cap="none" spc="0" baseline="0">
              <a:solidFill>
                <a:srgbClr val="FFFFFF"/>
              </a:solidFill>
              <a:uFillTx/>
              <a:latin typeface="Arial" pitchFamily="34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7E883EB1-7A78-45DE-81C1-1A190D77C00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0A86B79A-FE1D-4223-A31A-8C23FE389B0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4739" y="663223"/>
            <a:ext cx="11082528" cy="246220"/>
          </a:xfrm>
        </p:spPr>
        <p:txBody>
          <a:bodyPr>
            <a:noAutofit/>
          </a:bodyPr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677FDAF-2A9E-4680-A51B-A19C6B982400}"/>
              </a:ext>
            </a:extLst>
          </p:cNvPr>
          <p:cNvSpPr/>
          <p:nvPr/>
        </p:nvSpPr>
        <p:spPr>
          <a:xfrm>
            <a:off x="11312527" y="6584813"/>
            <a:ext cx="325498" cy="13849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r" defTabSz="6107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5CDBA0C-6E2A-49D4-9E3C-B485683024BB}" type="slidenum">
              <a:t>‹#›</a:t>
            </a:fld>
            <a:endParaRPr lang="en-US" sz="900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 pitchFamily="34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05FEA42-68F9-4AE6-9FB6-AB2E00EB9458}"/>
              </a:ext>
            </a:extLst>
          </p:cNvPr>
          <p:cNvSpPr txBox="1"/>
          <p:nvPr/>
        </p:nvSpPr>
        <p:spPr>
          <a:xfrm>
            <a:off x="553970" y="6592513"/>
            <a:ext cx="9144000" cy="123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Segoe UI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 pitchFamily="34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DBCFDD8E-8FCB-478E-9FE9-625EED19C8A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739" y="41596"/>
            <a:ext cx="3843342" cy="123114"/>
          </a:xfrm>
        </p:spPr>
        <p:txBody>
          <a:bodyPr/>
          <a:lstStyle>
            <a:lvl1pPr>
              <a:buNone/>
              <a:defRPr sz="800"/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28032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1977F77-32BC-4F35-BFD8-71E7B4675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1C78227-FA1B-469D-B4C8-7CC4E23FF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7E95C77-B98A-4CBF-939E-9303FB130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245280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1B9A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21888999-9356-1B44-8BFC-C827CDB680CD}"/>
              </a:ext>
            </a:extLst>
          </p:cNvPr>
          <p:cNvSpPr/>
          <p:nvPr userDrawn="1"/>
        </p:nvSpPr>
        <p:spPr>
          <a:xfrm>
            <a:off x="-989523" y="967153"/>
            <a:ext cx="15380434" cy="6844346"/>
          </a:xfrm>
          <a:custGeom>
            <a:avLst/>
            <a:gdLst>
              <a:gd name="connsiteX0" fmla="*/ 738554 w 14894169"/>
              <a:gd name="connsiteY0" fmla="*/ 0 h 6822831"/>
              <a:gd name="connsiteX1" fmla="*/ 0 w 14894169"/>
              <a:gd name="connsiteY1" fmla="*/ 1002323 h 6822831"/>
              <a:gd name="connsiteX2" fmla="*/ 861646 w 14894169"/>
              <a:gd name="connsiteY2" fmla="*/ 5644662 h 6822831"/>
              <a:gd name="connsiteX3" fmla="*/ 2866292 w 14894169"/>
              <a:gd name="connsiteY3" fmla="*/ 6822831 h 6822831"/>
              <a:gd name="connsiteX4" fmla="*/ 14612815 w 14894169"/>
              <a:gd name="connsiteY4" fmla="*/ 4747846 h 6822831"/>
              <a:gd name="connsiteX5" fmla="*/ 14894169 w 14894169"/>
              <a:gd name="connsiteY5" fmla="*/ 3182815 h 6822831"/>
              <a:gd name="connsiteX6" fmla="*/ 10498015 w 14894169"/>
              <a:gd name="connsiteY6" fmla="*/ 703385 h 6822831"/>
              <a:gd name="connsiteX7" fmla="*/ 9020907 w 14894169"/>
              <a:gd name="connsiteY7" fmla="*/ 298939 h 6822831"/>
              <a:gd name="connsiteX8" fmla="*/ 738554 w 14894169"/>
              <a:gd name="connsiteY8" fmla="*/ 0 h 6822831"/>
              <a:gd name="connsiteX0" fmla="*/ 738554 w 14894169"/>
              <a:gd name="connsiteY0" fmla="*/ 0 h 6822831"/>
              <a:gd name="connsiteX1" fmla="*/ 0 w 14894169"/>
              <a:gd name="connsiteY1" fmla="*/ 1002323 h 6822831"/>
              <a:gd name="connsiteX2" fmla="*/ 861646 w 14894169"/>
              <a:gd name="connsiteY2" fmla="*/ 5644662 h 6822831"/>
              <a:gd name="connsiteX3" fmla="*/ 2866292 w 14894169"/>
              <a:gd name="connsiteY3" fmla="*/ 6822831 h 6822831"/>
              <a:gd name="connsiteX4" fmla="*/ 14612815 w 14894169"/>
              <a:gd name="connsiteY4" fmla="*/ 4747846 h 6822831"/>
              <a:gd name="connsiteX5" fmla="*/ 14894169 w 14894169"/>
              <a:gd name="connsiteY5" fmla="*/ 3182815 h 6822831"/>
              <a:gd name="connsiteX6" fmla="*/ 10585938 w 14894169"/>
              <a:gd name="connsiteY6" fmla="*/ 720969 h 6822831"/>
              <a:gd name="connsiteX7" fmla="*/ 9020907 w 14894169"/>
              <a:gd name="connsiteY7" fmla="*/ 298939 h 6822831"/>
              <a:gd name="connsiteX8" fmla="*/ 738554 w 14894169"/>
              <a:gd name="connsiteY8" fmla="*/ 0 h 6822831"/>
              <a:gd name="connsiteX0" fmla="*/ 738554 w 14894169"/>
              <a:gd name="connsiteY0" fmla="*/ 0 h 6822831"/>
              <a:gd name="connsiteX1" fmla="*/ 0 w 14894169"/>
              <a:gd name="connsiteY1" fmla="*/ 1002323 h 6822831"/>
              <a:gd name="connsiteX2" fmla="*/ 861646 w 14894169"/>
              <a:gd name="connsiteY2" fmla="*/ 5644662 h 6822831"/>
              <a:gd name="connsiteX3" fmla="*/ 2866292 w 14894169"/>
              <a:gd name="connsiteY3" fmla="*/ 6822831 h 6822831"/>
              <a:gd name="connsiteX4" fmla="*/ 14612815 w 14894169"/>
              <a:gd name="connsiteY4" fmla="*/ 4783015 h 6822831"/>
              <a:gd name="connsiteX5" fmla="*/ 14894169 w 14894169"/>
              <a:gd name="connsiteY5" fmla="*/ 3182815 h 6822831"/>
              <a:gd name="connsiteX6" fmla="*/ 10585938 w 14894169"/>
              <a:gd name="connsiteY6" fmla="*/ 720969 h 6822831"/>
              <a:gd name="connsiteX7" fmla="*/ 9020907 w 14894169"/>
              <a:gd name="connsiteY7" fmla="*/ 298939 h 6822831"/>
              <a:gd name="connsiteX8" fmla="*/ 738554 w 14894169"/>
              <a:gd name="connsiteY8" fmla="*/ 0 h 6822831"/>
              <a:gd name="connsiteX0" fmla="*/ 738554 w 15135965"/>
              <a:gd name="connsiteY0" fmla="*/ 0 h 6822831"/>
              <a:gd name="connsiteX1" fmla="*/ 0 w 15135965"/>
              <a:gd name="connsiteY1" fmla="*/ 1002323 h 6822831"/>
              <a:gd name="connsiteX2" fmla="*/ 861646 w 15135965"/>
              <a:gd name="connsiteY2" fmla="*/ 5644662 h 6822831"/>
              <a:gd name="connsiteX3" fmla="*/ 2866292 w 15135965"/>
              <a:gd name="connsiteY3" fmla="*/ 6822831 h 6822831"/>
              <a:gd name="connsiteX4" fmla="*/ 14612815 w 15135965"/>
              <a:gd name="connsiteY4" fmla="*/ 4783015 h 6822831"/>
              <a:gd name="connsiteX5" fmla="*/ 14894169 w 15135965"/>
              <a:gd name="connsiteY5" fmla="*/ 3182815 h 6822831"/>
              <a:gd name="connsiteX6" fmla="*/ 10585938 w 15135965"/>
              <a:gd name="connsiteY6" fmla="*/ 720969 h 6822831"/>
              <a:gd name="connsiteX7" fmla="*/ 9020907 w 15135965"/>
              <a:gd name="connsiteY7" fmla="*/ 298939 h 6822831"/>
              <a:gd name="connsiteX8" fmla="*/ 738554 w 15135965"/>
              <a:gd name="connsiteY8" fmla="*/ 0 h 6822831"/>
              <a:gd name="connsiteX0" fmla="*/ 738554 w 15307546"/>
              <a:gd name="connsiteY0" fmla="*/ 0 h 6822831"/>
              <a:gd name="connsiteX1" fmla="*/ 0 w 15307546"/>
              <a:gd name="connsiteY1" fmla="*/ 1002323 h 6822831"/>
              <a:gd name="connsiteX2" fmla="*/ 861646 w 15307546"/>
              <a:gd name="connsiteY2" fmla="*/ 5644662 h 6822831"/>
              <a:gd name="connsiteX3" fmla="*/ 2866292 w 15307546"/>
              <a:gd name="connsiteY3" fmla="*/ 6822831 h 6822831"/>
              <a:gd name="connsiteX4" fmla="*/ 14612815 w 15307546"/>
              <a:gd name="connsiteY4" fmla="*/ 4783015 h 6822831"/>
              <a:gd name="connsiteX5" fmla="*/ 14894169 w 15307546"/>
              <a:gd name="connsiteY5" fmla="*/ 3182815 h 6822831"/>
              <a:gd name="connsiteX6" fmla="*/ 10585938 w 15307546"/>
              <a:gd name="connsiteY6" fmla="*/ 720969 h 6822831"/>
              <a:gd name="connsiteX7" fmla="*/ 9020907 w 15307546"/>
              <a:gd name="connsiteY7" fmla="*/ 298939 h 6822831"/>
              <a:gd name="connsiteX8" fmla="*/ 738554 w 15307546"/>
              <a:gd name="connsiteY8" fmla="*/ 0 h 6822831"/>
              <a:gd name="connsiteX0" fmla="*/ 738554 w 15340479"/>
              <a:gd name="connsiteY0" fmla="*/ 0 h 6822831"/>
              <a:gd name="connsiteX1" fmla="*/ 0 w 15340479"/>
              <a:gd name="connsiteY1" fmla="*/ 1002323 h 6822831"/>
              <a:gd name="connsiteX2" fmla="*/ 861646 w 15340479"/>
              <a:gd name="connsiteY2" fmla="*/ 5644662 h 6822831"/>
              <a:gd name="connsiteX3" fmla="*/ 2866292 w 15340479"/>
              <a:gd name="connsiteY3" fmla="*/ 6822831 h 6822831"/>
              <a:gd name="connsiteX4" fmla="*/ 14612815 w 15340479"/>
              <a:gd name="connsiteY4" fmla="*/ 4783015 h 6822831"/>
              <a:gd name="connsiteX5" fmla="*/ 14894169 w 15340479"/>
              <a:gd name="connsiteY5" fmla="*/ 3182815 h 6822831"/>
              <a:gd name="connsiteX6" fmla="*/ 10585938 w 15340479"/>
              <a:gd name="connsiteY6" fmla="*/ 720969 h 6822831"/>
              <a:gd name="connsiteX7" fmla="*/ 9020907 w 15340479"/>
              <a:gd name="connsiteY7" fmla="*/ 298939 h 6822831"/>
              <a:gd name="connsiteX8" fmla="*/ 738554 w 15340479"/>
              <a:gd name="connsiteY8" fmla="*/ 0 h 6822831"/>
              <a:gd name="connsiteX0" fmla="*/ 738554 w 15340479"/>
              <a:gd name="connsiteY0" fmla="*/ 0 h 6822831"/>
              <a:gd name="connsiteX1" fmla="*/ 0 w 15340479"/>
              <a:gd name="connsiteY1" fmla="*/ 1002323 h 6822831"/>
              <a:gd name="connsiteX2" fmla="*/ 861646 w 15340479"/>
              <a:gd name="connsiteY2" fmla="*/ 5644662 h 6822831"/>
              <a:gd name="connsiteX3" fmla="*/ 2866292 w 15340479"/>
              <a:gd name="connsiteY3" fmla="*/ 6822831 h 6822831"/>
              <a:gd name="connsiteX4" fmla="*/ 14612815 w 15340479"/>
              <a:gd name="connsiteY4" fmla="*/ 4783015 h 6822831"/>
              <a:gd name="connsiteX5" fmla="*/ 14894169 w 15340479"/>
              <a:gd name="connsiteY5" fmla="*/ 3182815 h 6822831"/>
              <a:gd name="connsiteX6" fmla="*/ 10585938 w 15340479"/>
              <a:gd name="connsiteY6" fmla="*/ 720969 h 6822831"/>
              <a:gd name="connsiteX7" fmla="*/ 9020907 w 15340479"/>
              <a:gd name="connsiteY7" fmla="*/ 298939 h 6822831"/>
              <a:gd name="connsiteX8" fmla="*/ 738554 w 15340479"/>
              <a:gd name="connsiteY8" fmla="*/ 0 h 6822831"/>
              <a:gd name="connsiteX0" fmla="*/ 738554 w 15340479"/>
              <a:gd name="connsiteY0" fmla="*/ 0 h 6822831"/>
              <a:gd name="connsiteX1" fmla="*/ 0 w 15340479"/>
              <a:gd name="connsiteY1" fmla="*/ 1002323 h 6822831"/>
              <a:gd name="connsiteX2" fmla="*/ 861646 w 15340479"/>
              <a:gd name="connsiteY2" fmla="*/ 5644662 h 6822831"/>
              <a:gd name="connsiteX3" fmla="*/ 2866292 w 15340479"/>
              <a:gd name="connsiteY3" fmla="*/ 6822831 h 6822831"/>
              <a:gd name="connsiteX4" fmla="*/ 14612815 w 15340479"/>
              <a:gd name="connsiteY4" fmla="*/ 4783015 h 6822831"/>
              <a:gd name="connsiteX5" fmla="*/ 14894169 w 15340479"/>
              <a:gd name="connsiteY5" fmla="*/ 3182815 h 6822831"/>
              <a:gd name="connsiteX6" fmla="*/ 10585938 w 15340479"/>
              <a:gd name="connsiteY6" fmla="*/ 720969 h 6822831"/>
              <a:gd name="connsiteX7" fmla="*/ 9020907 w 15340479"/>
              <a:gd name="connsiteY7" fmla="*/ 298939 h 6822831"/>
              <a:gd name="connsiteX8" fmla="*/ 738554 w 15340479"/>
              <a:gd name="connsiteY8" fmla="*/ 0 h 6822831"/>
              <a:gd name="connsiteX0" fmla="*/ 738554 w 15340479"/>
              <a:gd name="connsiteY0" fmla="*/ 0 h 6822831"/>
              <a:gd name="connsiteX1" fmla="*/ 0 w 15340479"/>
              <a:gd name="connsiteY1" fmla="*/ 1002323 h 6822831"/>
              <a:gd name="connsiteX2" fmla="*/ 861646 w 15340479"/>
              <a:gd name="connsiteY2" fmla="*/ 5644662 h 6822831"/>
              <a:gd name="connsiteX3" fmla="*/ 2866292 w 15340479"/>
              <a:gd name="connsiteY3" fmla="*/ 6822831 h 6822831"/>
              <a:gd name="connsiteX4" fmla="*/ 14612815 w 15340479"/>
              <a:gd name="connsiteY4" fmla="*/ 4783015 h 6822831"/>
              <a:gd name="connsiteX5" fmla="*/ 14894169 w 15340479"/>
              <a:gd name="connsiteY5" fmla="*/ 3182815 h 6822831"/>
              <a:gd name="connsiteX6" fmla="*/ 10585938 w 15340479"/>
              <a:gd name="connsiteY6" fmla="*/ 720969 h 6822831"/>
              <a:gd name="connsiteX7" fmla="*/ 9020907 w 15340479"/>
              <a:gd name="connsiteY7" fmla="*/ 298939 h 6822831"/>
              <a:gd name="connsiteX8" fmla="*/ 738554 w 15340479"/>
              <a:gd name="connsiteY8" fmla="*/ 0 h 6822831"/>
              <a:gd name="connsiteX0" fmla="*/ 778509 w 15380434"/>
              <a:gd name="connsiteY0" fmla="*/ 0 h 6822831"/>
              <a:gd name="connsiteX1" fmla="*/ 39955 w 15380434"/>
              <a:gd name="connsiteY1" fmla="*/ 1002323 h 6822831"/>
              <a:gd name="connsiteX2" fmla="*/ 901601 w 15380434"/>
              <a:gd name="connsiteY2" fmla="*/ 5644662 h 6822831"/>
              <a:gd name="connsiteX3" fmla="*/ 2906247 w 15380434"/>
              <a:gd name="connsiteY3" fmla="*/ 6822831 h 6822831"/>
              <a:gd name="connsiteX4" fmla="*/ 14652770 w 15380434"/>
              <a:gd name="connsiteY4" fmla="*/ 4783015 h 6822831"/>
              <a:gd name="connsiteX5" fmla="*/ 14934124 w 15380434"/>
              <a:gd name="connsiteY5" fmla="*/ 3182815 h 6822831"/>
              <a:gd name="connsiteX6" fmla="*/ 10625893 w 15380434"/>
              <a:gd name="connsiteY6" fmla="*/ 720969 h 6822831"/>
              <a:gd name="connsiteX7" fmla="*/ 9060862 w 15380434"/>
              <a:gd name="connsiteY7" fmla="*/ 298939 h 6822831"/>
              <a:gd name="connsiteX8" fmla="*/ 778509 w 15380434"/>
              <a:gd name="connsiteY8" fmla="*/ 0 h 6822831"/>
              <a:gd name="connsiteX0" fmla="*/ 778509 w 15380434"/>
              <a:gd name="connsiteY0" fmla="*/ 0 h 6822831"/>
              <a:gd name="connsiteX1" fmla="*/ 39955 w 15380434"/>
              <a:gd name="connsiteY1" fmla="*/ 1002323 h 6822831"/>
              <a:gd name="connsiteX2" fmla="*/ 901601 w 15380434"/>
              <a:gd name="connsiteY2" fmla="*/ 5644662 h 6822831"/>
              <a:gd name="connsiteX3" fmla="*/ 2906247 w 15380434"/>
              <a:gd name="connsiteY3" fmla="*/ 6822831 h 6822831"/>
              <a:gd name="connsiteX4" fmla="*/ 14652770 w 15380434"/>
              <a:gd name="connsiteY4" fmla="*/ 4783015 h 6822831"/>
              <a:gd name="connsiteX5" fmla="*/ 14934124 w 15380434"/>
              <a:gd name="connsiteY5" fmla="*/ 3182815 h 6822831"/>
              <a:gd name="connsiteX6" fmla="*/ 10625893 w 15380434"/>
              <a:gd name="connsiteY6" fmla="*/ 720969 h 6822831"/>
              <a:gd name="connsiteX7" fmla="*/ 9060862 w 15380434"/>
              <a:gd name="connsiteY7" fmla="*/ 298939 h 6822831"/>
              <a:gd name="connsiteX8" fmla="*/ 778509 w 15380434"/>
              <a:gd name="connsiteY8" fmla="*/ 0 h 6822831"/>
              <a:gd name="connsiteX0" fmla="*/ 778509 w 15380434"/>
              <a:gd name="connsiteY0" fmla="*/ 0 h 6842691"/>
              <a:gd name="connsiteX1" fmla="*/ 39955 w 15380434"/>
              <a:gd name="connsiteY1" fmla="*/ 1002323 h 6842691"/>
              <a:gd name="connsiteX2" fmla="*/ 901601 w 15380434"/>
              <a:gd name="connsiteY2" fmla="*/ 5644662 h 6842691"/>
              <a:gd name="connsiteX3" fmla="*/ 2906247 w 15380434"/>
              <a:gd name="connsiteY3" fmla="*/ 6822831 h 6842691"/>
              <a:gd name="connsiteX4" fmla="*/ 14652770 w 15380434"/>
              <a:gd name="connsiteY4" fmla="*/ 4783015 h 6842691"/>
              <a:gd name="connsiteX5" fmla="*/ 14934124 w 15380434"/>
              <a:gd name="connsiteY5" fmla="*/ 3182815 h 6842691"/>
              <a:gd name="connsiteX6" fmla="*/ 10625893 w 15380434"/>
              <a:gd name="connsiteY6" fmla="*/ 720969 h 6842691"/>
              <a:gd name="connsiteX7" fmla="*/ 9060862 w 15380434"/>
              <a:gd name="connsiteY7" fmla="*/ 298939 h 6842691"/>
              <a:gd name="connsiteX8" fmla="*/ 778509 w 15380434"/>
              <a:gd name="connsiteY8" fmla="*/ 0 h 6842691"/>
              <a:gd name="connsiteX0" fmla="*/ 778509 w 15380434"/>
              <a:gd name="connsiteY0" fmla="*/ 0 h 6824944"/>
              <a:gd name="connsiteX1" fmla="*/ 39955 w 15380434"/>
              <a:gd name="connsiteY1" fmla="*/ 1002323 h 6824944"/>
              <a:gd name="connsiteX2" fmla="*/ 901601 w 15380434"/>
              <a:gd name="connsiteY2" fmla="*/ 5644662 h 6824944"/>
              <a:gd name="connsiteX3" fmla="*/ 2906247 w 15380434"/>
              <a:gd name="connsiteY3" fmla="*/ 6822831 h 6824944"/>
              <a:gd name="connsiteX4" fmla="*/ 14652770 w 15380434"/>
              <a:gd name="connsiteY4" fmla="*/ 4783015 h 6824944"/>
              <a:gd name="connsiteX5" fmla="*/ 14934124 w 15380434"/>
              <a:gd name="connsiteY5" fmla="*/ 3182815 h 6824944"/>
              <a:gd name="connsiteX6" fmla="*/ 10625893 w 15380434"/>
              <a:gd name="connsiteY6" fmla="*/ 720969 h 6824944"/>
              <a:gd name="connsiteX7" fmla="*/ 9060862 w 15380434"/>
              <a:gd name="connsiteY7" fmla="*/ 298939 h 6824944"/>
              <a:gd name="connsiteX8" fmla="*/ 778509 w 15380434"/>
              <a:gd name="connsiteY8" fmla="*/ 0 h 6824944"/>
              <a:gd name="connsiteX0" fmla="*/ 778509 w 15380434"/>
              <a:gd name="connsiteY0" fmla="*/ 0 h 6844346"/>
              <a:gd name="connsiteX1" fmla="*/ 39955 w 15380434"/>
              <a:gd name="connsiteY1" fmla="*/ 1002323 h 6844346"/>
              <a:gd name="connsiteX2" fmla="*/ 901601 w 15380434"/>
              <a:gd name="connsiteY2" fmla="*/ 5644662 h 6844346"/>
              <a:gd name="connsiteX3" fmla="*/ 2906247 w 15380434"/>
              <a:gd name="connsiteY3" fmla="*/ 6822831 h 6844346"/>
              <a:gd name="connsiteX4" fmla="*/ 14652770 w 15380434"/>
              <a:gd name="connsiteY4" fmla="*/ 4783015 h 6844346"/>
              <a:gd name="connsiteX5" fmla="*/ 14934124 w 15380434"/>
              <a:gd name="connsiteY5" fmla="*/ 3182815 h 6844346"/>
              <a:gd name="connsiteX6" fmla="*/ 10625893 w 15380434"/>
              <a:gd name="connsiteY6" fmla="*/ 720969 h 6844346"/>
              <a:gd name="connsiteX7" fmla="*/ 9060862 w 15380434"/>
              <a:gd name="connsiteY7" fmla="*/ 298939 h 6844346"/>
              <a:gd name="connsiteX8" fmla="*/ 778509 w 15380434"/>
              <a:gd name="connsiteY8" fmla="*/ 0 h 684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80434" h="6844346">
                <a:moveTo>
                  <a:pt x="778509" y="0"/>
                </a:moveTo>
                <a:cubicBezTo>
                  <a:pt x="-258984" y="87924"/>
                  <a:pt x="39955" y="756138"/>
                  <a:pt x="39955" y="1002323"/>
                </a:cubicBezTo>
                <a:lnTo>
                  <a:pt x="901601" y="5644662"/>
                </a:lnTo>
                <a:cubicBezTo>
                  <a:pt x="1130201" y="6582508"/>
                  <a:pt x="2062187" y="6940063"/>
                  <a:pt x="2906247" y="6822831"/>
                </a:cubicBezTo>
                <a:lnTo>
                  <a:pt x="14652770" y="4783015"/>
                </a:lnTo>
                <a:cubicBezTo>
                  <a:pt x="15696125" y="4478215"/>
                  <a:pt x="15455800" y="3487615"/>
                  <a:pt x="14934124" y="3182815"/>
                </a:cubicBezTo>
                <a:lnTo>
                  <a:pt x="10625893" y="720969"/>
                </a:lnTo>
                <a:cubicBezTo>
                  <a:pt x="10069047" y="422031"/>
                  <a:pt x="9758385" y="298939"/>
                  <a:pt x="9060862" y="298939"/>
                </a:cubicBezTo>
                <a:lnTo>
                  <a:pt x="778509" y="0"/>
                </a:lnTo>
                <a:close/>
              </a:path>
            </a:pathLst>
          </a:custGeom>
          <a:solidFill>
            <a:srgbClr val="FF67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59D049B5-344E-3946-9D92-0E6D3E9A7908}"/>
              </a:ext>
            </a:extLst>
          </p:cNvPr>
          <p:cNvSpPr/>
          <p:nvPr userDrawn="1"/>
        </p:nvSpPr>
        <p:spPr>
          <a:xfrm>
            <a:off x="-1529862" y="-2022230"/>
            <a:ext cx="15417507" cy="14420758"/>
          </a:xfrm>
          <a:custGeom>
            <a:avLst/>
            <a:gdLst>
              <a:gd name="connsiteX0" fmla="*/ 0 w 15351370"/>
              <a:gd name="connsiteY0" fmla="*/ 0 h 14313877"/>
              <a:gd name="connsiteX1" fmla="*/ 11465170 w 15351370"/>
              <a:gd name="connsiteY1" fmla="*/ 4185139 h 14313877"/>
              <a:gd name="connsiteX2" fmla="*/ 13065370 w 15351370"/>
              <a:gd name="connsiteY2" fmla="*/ 5574323 h 14313877"/>
              <a:gd name="connsiteX3" fmla="*/ 15351370 w 15351370"/>
              <a:gd name="connsiteY3" fmla="*/ 13663246 h 14313877"/>
              <a:gd name="connsiteX4" fmla="*/ 14683154 w 15351370"/>
              <a:gd name="connsiteY4" fmla="*/ 14313877 h 14313877"/>
              <a:gd name="connsiteX5" fmla="*/ 1318847 w 15351370"/>
              <a:gd name="connsiteY5" fmla="*/ 5416062 h 14313877"/>
              <a:gd name="connsiteX6" fmla="*/ 70339 w 15351370"/>
              <a:gd name="connsiteY6" fmla="*/ 3253154 h 14313877"/>
              <a:gd name="connsiteX7" fmla="*/ 0 w 15351370"/>
              <a:gd name="connsiteY7" fmla="*/ 0 h 14313877"/>
              <a:gd name="connsiteX0" fmla="*/ 0 w 15351370"/>
              <a:gd name="connsiteY0" fmla="*/ 0 h 14313877"/>
              <a:gd name="connsiteX1" fmla="*/ 11465170 w 15351370"/>
              <a:gd name="connsiteY1" fmla="*/ 4185139 h 14313877"/>
              <a:gd name="connsiteX2" fmla="*/ 13065370 w 15351370"/>
              <a:gd name="connsiteY2" fmla="*/ 5574323 h 14313877"/>
              <a:gd name="connsiteX3" fmla="*/ 15351370 w 15351370"/>
              <a:gd name="connsiteY3" fmla="*/ 13663246 h 14313877"/>
              <a:gd name="connsiteX4" fmla="*/ 14683154 w 15351370"/>
              <a:gd name="connsiteY4" fmla="*/ 14313877 h 14313877"/>
              <a:gd name="connsiteX5" fmla="*/ 1318847 w 15351370"/>
              <a:gd name="connsiteY5" fmla="*/ 5416062 h 14313877"/>
              <a:gd name="connsiteX6" fmla="*/ 70339 w 15351370"/>
              <a:gd name="connsiteY6" fmla="*/ 3253154 h 14313877"/>
              <a:gd name="connsiteX7" fmla="*/ 0 w 15351370"/>
              <a:gd name="connsiteY7" fmla="*/ 0 h 14313877"/>
              <a:gd name="connsiteX0" fmla="*/ 0 w 15351370"/>
              <a:gd name="connsiteY0" fmla="*/ 0 h 14313877"/>
              <a:gd name="connsiteX1" fmla="*/ 11465170 w 15351370"/>
              <a:gd name="connsiteY1" fmla="*/ 4185139 h 14313877"/>
              <a:gd name="connsiteX2" fmla="*/ 13065370 w 15351370"/>
              <a:gd name="connsiteY2" fmla="*/ 5574323 h 14313877"/>
              <a:gd name="connsiteX3" fmla="*/ 15351370 w 15351370"/>
              <a:gd name="connsiteY3" fmla="*/ 13663246 h 14313877"/>
              <a:gd name="connsiteX4" fmla="*/ 14683154 w 15351370"/>
              <a:gd name="connsiteY4" fmla="*/ 14313877 h 14313877"/>
              <a:gd name="connsiteX5" fmla="*/ 1318847 w 15351370"/>
              <a:gd name="connsiteY5" fmla="*/ 5416062 h 14313877"/>
              <a:gd name="connsiteX6" fmla="*/ 70339 w 15351370"/>
              <a:gd name="connsiteY6" fmla="*/ 3253154 h 14313877"/>
              <a:gd name="connsiteX7" fmla="*/ 0 w 15351370"/>
              <a:gd name="connsiteY7" fmla="*/ 0 h 14313877"/>
              <a:gd name="connsiteX0" fmla="*/ 0 w 15351370"/>
              <a:gd name="connsiteY0" fmla="*/ 0 h 14313877"/>
              <a:gd name="connsiteX1" fmla="*/ 11465170 w 15351370"/>
              <a:gd name="connsiteY1" fmla="*/ 4185139 h 14313877"/>
              <a:gd name="connsiteX2" fmla="*/ 13065370 w 15351370"/>
              <a:gd name="connsiteY2" fmla="*/ 5574323 h 14313877"/>
              <a:gd name="connsiteX3" fmla="*/ 15351370 w 15351370"/>
              <a:gd name="connsiteY3" fmla="*/ 13663246 h 14313877"/>
              <a:gd name="connsiteX4" fmla="*/ 14683154 w 15351370"/>
              <a:gd name="connsiteY4" fmla="*/ 14313877 h 14313877"/>
              <a:gd name="connsiteX5" fmla="*/ 1318847 w 15351370"/>
              <a:gd name="connsiteY5" fmla="*/ 5416062 h 14313877"/>
              <a:gd name="connsiteX6" fmla="*/ 70339 w 15351370"/>
              <a:gd name="connsiteY6" fmla="*/ 3253154 h 14313877"/>
              <a:gd name="connsiteX7" fmla="*/ 0 w 15351370"/>
              <a:gd name="connsiteY7" fmla="*/ 0 h 14313877"/>
              <a:gd name="connsiteX0" fmla="*/ 0 w 15351370"/>
              <a:gd name="connsiteY0" fmla="*/ 0 h 14313877"/>
              <a:gd name="connsiteX1" fmla="*/ 11465170 w 15351370"/>
              <a:gd name="connsiteY1" fmla="*/ 4185139 h 14313877"/>
              <a:gd name="connsiteX2" fmla="*/ 13065370 w 15351370"/>
              <a:gd name="connsiteY2" fmla="*/ 5574323 h 14313877"/>
              <a:gd name="connsiteX3" fmla="*/ 15351370 w 15351370"/>
              <a:gd name="connsiteY3" fmla="*/ 13663246 h 14313877"/>
              <a:gd name="connsiteX4" fmla="*/ 14683154 w 15351370"/>
              <a:gd name="connsiteY4" fmla="*/ 14313877 h 14313877"/>
              <a:gd name="connsiteX5" fmla="*/ 1318847 w 15351370"/>
              <a:gd name="connsiteY5" fmla="*/ 5416062 h 14313877"/>
              <a:gd name="connsiteX6" fmla="*/ 70339 w 15351370"/>
              <a:gd name="connsiteY6" fmla="*/ 3253154 h 14313877"/>
              <a:gd name="connsiteX7" fmla="*/ 0 w 15351370"/>
              <a:gd name="connsiteY7" fmla="*/ 0 h 14313877"/>
              <a:gd name="connsiteX0" fmla="*/ 0 w 15351370"/>
              <a:gd name="connsiteY0" fmla="*/ 0 h 14313877"/>
              <a:gd name="connsiteX1" fmla="*/ 11465170 w 15351370"/>
              <a:gd name="connsiteY1" fmla="*/ 4185139 h 14313877"/>
              <a:gd name="connsiteX2" fmla="*/ 13065370 w 15351370"/>
              <a:gd name="connsiteY2" fmla="*/ 5574323 h 14313877"/>
              <a:gd name="connsiteX3" fmla="*/ 15351370 w 15351370"/>
              <a:gd name="connsiteY3" fmla="*/ 13663246 h 14313877"/>
              <a:gd name="connsiteX4" fmla="*/ 14683154 w 15351370"/>
              <a:gd name="connsiteY4" fmla="*/ 14313877 h 14313877"/>
              <a:gd name="connsiteX5" fmla="*/ 1318847 w 15351370"/>
              <a:gd name="connsiteY5" fmla="*/ 5416062 h 14313877"/>
              <a:gd name="connsiteX6" fmla="*/ 70339 w 15351370"/>
              <a:gd name="connsiteY6" fmla="*/ 3253154 h 14313877"/>
              <a:gd name="connsiteX7" fmla="*/ 0 w 15351370"/>
              <a:gd name="connsiteY7" fmla="*/ 0 h 14313877"/>
              <a:gd name="connsiteX0" fmla="*/ 0 w 15405502"/>
              <a:gd name="connsiteY0" fmla="*/ 0 h 14313877"/>
              <a:gd name="connsiteX1" fmla="*/ 11465170 w 15405502"/>
              <a:gd name="connsiteY1" fmla="*/ 4185139 h 14313877"/>
              <a:gd name="connsiteX2" fmla="*/ 13065370 w 15405502"/>
              <a:gd name="connsiteY2" fmla="*/ 5574323 h 14313877"/>
              <a:gd name="connsiteX3" fmla="*/ 15351370 w 15405502"/>
              <a:gd name="connsiteY3" fmla="*/ 13663246 h 14313877"/>
              <a:gd name="connsiteX4" fmla="*/ 14683154 w 15405502"/>
              <a:gd name="connsiteY4" fmla="*/ 14313877 h 14313877"/>
              <a:gd name="connsiteX5" fmla="*/ 1318847 w 15405502"/>
              <a:gd name="connsiteY5" fmla="*/ 5416062 h 14313877"/>
              <a:gd name="connsiteX6" fmla="*/ 70339 w 15405502"/>
              <a:gd name="connsiteY6" fmla="*/ 3253154 h 14313877"/>
              <a:gd name="connsiteX7" fmla="*/ 0 w 15405502"/>
              <a:gd name="connsiteY7" fmla="*/ 0 h 14313877"/>
              <a:gd name="connsiteX0" fmla="*/ 0 w 15417507"/>
              <a:gd name="connsiteY0" fmla="*/ 0 h 14420758"/>
              <a:gd name="connsiteX1" fmla="*/ 11465170 w 15417507"/>
              <a:gd name="connsiteY1" fmla="*/ 4185139 h 14420758"/>
              <a:gd name="connsiteX2" fmla="*/ 13065370 w 15417507"/>
              <a:gd name="connsiteY2" fmla="*/ 5574323 h 14420758"/>
              <a:gd name="connsiteX3" fmla="*/ 15351370 w 15417507"/>
              <a:gd name="connsiteY3" fmla="*/ 13663246 h 14420758"/>
              <a:gd name="connsiteX4" fmla="*/ 14683154 w 15417507"/>
              <a:gd name="connsiteY4" fmla="*/ 14313877 h 14420758"/>
              <a:gd name="connsiteX5" fmla="*/ 1318847 w 15417507"/>
              <a:gd name="connsiteY5" fmla="*/ 5416062 h 14420758"/>
              <a:gd name="connsiteX6" fmla="*/ 70339 w 15417507"/>
              <a:gd name="connsiteY6" fmla="*/ 3253154 h 14420758"/>
              <a:gd name="connsiteX7" fmla="*/ 0 w 15417507"/>
              <a:gd name="connsiteY7" fmla="*/ 0 h 14420758"/>
              <a:gd name="connsiteX0" fmla="*/ 0 w 15417507"/>
              <a:gd name="connsiteY0" fmla="*/ 0 h 14420758"/>
              <a:gd name="connsiteX1" fmla="*/ 11465170 w 15417507"/>
              <a:gd name="connsiteY1" fmla="*/ 4185139 h 14420758"/>
              <a:gd name="connsiteX2" fmla="*/ 13065370 w 15417507"/>
              <a:gd name="connsiteY2" fmla="*/ 5574323 h 14420758"/>
              <a:gd name="connsiteX3" fmla="*/ 15351370 w 15417507"/>
              <a:gd name="connsiteY3" fmla="*/ 13663246 h 14420758"/>
              <a:gd name="connsiteX4" fmla="*/ 14683154 w 15417507"/>
              <a:gd name="connsiteY4" fmla="*/ 14313877 h 14420758"/>
              <a:gd name="connsiteX5" fmla="*/ 1318847 w 15417507"/>
              <a:gd name="connsiteY5" fmla="*/ 5416062 h 14420758"/>
              <a:gd name="connsiteX6" fmla="*/ 70339 w 15417507"/>
              <a:gd name="connsiteY6" fmla="*/ 3253154 h 14420758"/>
              <a:gd name="connsiteX7" fmla="*/ 0 w 15417507"/>
              <a:gd name="connsiteY7" fmla="*/ 0 h 14420758"/>
              <a:gd name="connsiteX0" fmla="*/ 0 w 15417507"/>
              <a:gd name="connsiteY0" fmla="*/ 0 h 14420758"/>
              <a:gd name="connsiteX1" fmla="*/ 11465170 w 15417507"/>
              <a:gd name="connsiteY1" fmla="*/ 4185139 h 14420758"/>
              <a:gd name="connsiteX2" fmla="*/ 13065370 w 15417507"/>
              <a:gd name="connsiteY2" fmla="*/ 5574323 h 14420758"/>
              <a:gd name="connsiteX3" fmla="*/ 15351370 w 15417507"/>
              <a:gd name="connsiteY3" fmla="*/ 13663246 h 14420758"/>
              <a:gd name="connsiteX4" fmla="*/ 14683154 w 15417507"/>
              <a:gd name="connsiteY4" fmla="*/ 14313877 h 14420758"/>
              <a:gd name="connsiteX5" fmla="*/ 1318847 w 15417507"/>
              <a:gd name="connsiteY5" fmla="*/ 5416062 h 14420758"/>
              <a:gd name="connsiteX6" fmla="*/ 70339 w 15417507"/>
              <a:gd name="connsiteY6" fmla="*/ 3253154 h 14420758"/>
              <a:gd name="connsiteX7" fmla="*/ 0 w 15417507"/>
              <a:gd name="connsiteY7" fmla="*/ 0 h 14420758"/>
              <a:gd name="connsiteX0" fmla="*/ 0 w 15417507"/>
              <a:gd name="connsiteY0" fmla="*/ 0 h 14420758"/>
              <a:gd name="connsiteX1" fmla="*/ 11465170 w 15417507"/>
              <a:gd name="connsiteY1" fmla="*/ 4185139 h 14420758"/>
              <a:gd name="connsiteX2" fmla="*/ 13065370 w 15417507"/>
              <a:gd name="connsiteY2" fmla="*/ 5574323 h 14420758"/>
              <a:gd name="connsiteX3" fmla="*/ 15351370 w 15417507"/>
              <a:gd name="connsiteY3" fmla="*/ 13663246 h 14420758"/>
              <a:gd name="connsiteX4" fmla="*/ 14683154 w 15417507"/>
              <a:gd name="connsiteY4" fmla="*/ 14313877 h 14420758"/>
              <a:gd name="connsiteX5" fmla="*/ 1318847 w 15417507"/>
              <a:gd name="connsiteY5" fmla="*/ 5416062 h 14420758"/>
              <a:gd name="connsiteX6" fmla="*/ 70339 w 15417507"/>
              <a:gd name="connsiteY6" fmla="*/ 3253154 h 14420758"/>
              <a:gd name="connsiteX7" fmla="*/ 0 w 15417507"/>
              <a:gd name="connsiteY7" fmla="*/ 0 h 14420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417507" h="14420758">
                <a:moveTo>
                  <a:pt x="0" y="0"/>
                </a:moveTo>
                <a:lnTo>
                  <a:pt x="11465170" y="4185139"/>
                </a:lnTo>
                <a:cubicBezTo>
                  <a:pt x="12438185" y="4489938"/>
                  <a:pt x="12883663" y="4988170"/>
                  <a:pt x="13065370" y="5574323"/>
                </a:cubicBezTo>
                <a:lnTo>
                  <a:pt x="15351370" y="13663246"/>
                </a:lnTo>
                <a:cubicBezTo>
                  <a:pt x="15603416" y="14266985"/>
                  <a:pt x="15081739" y="14606953"/>
                  <a:pt x="14683154" y="14313877"/>
                </a:cubicBezTo>
                <a:lnTo>
                  <a:pt x="1318847" y="5416062"/>
                </a:lnTo>
                <a:cubicBezTo>
                  <a:pt x="902677" y="5117123"/>
                  <a:pt x="99646" y="4976446"/>
                  <a:pt x="70339" y="3253154"/>
                </a:cubicBezTo>
                <a:cubicBezTo>
                  <a:pt x="41032" y="1529862"/>
                  <a:pt x="23446" y="1084385"/>
                  <a:pt x="0" y="0"/>
                </a:cubicBezTo>
                <a:close/>
              </a:path>
            </a:pathLst>
          </a:custGeom>
          <a:solidFill>
            <a:srgbClr val="1F6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18473F-A264-B745-B9EF-AED3661C3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60000"/>
          </a:blip>
          <a:stretch>
            <a:fillRect/>
          </a:stretch>
        </p:blipFill>
        <p:spPr>
          <a:xfrm>
            <a:off x="-3490244" y="-734383"/>
            <a:ext cx="14844044" cy="1075564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A7C0AC-C926-8A41-B335-961DBDD69E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60000"/>
          </a:blip>
          <a:stretch>
            <a:fillRect/>
          </a:stretch>
        </p:blipFill>
        <p:spPr>
          <a:xfrm>
            <a:off x="-7667761" y="-3548982"/>
            <a:ext cx="15522477" cy="119491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A230268-5583-6349-81C9-2F2F8DD0F2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1" y="0"/>
            <a:ext cx="12188389" cy="68580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046D452-F9C2-8344-8F72-8FC293550F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2481" y="3047430"/>
            <a:ext cx="10587038" cy="763139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4DA275-254E-6346-B053-A6E5F000FB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3990070"/>
            <a:ext cx="10552113" cy="798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A0BB99-BE1A-0D43-9492-CDDF98573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73508" y="6356350"/>
            <a:ext cx="5802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F48CEA-885D-5C4E-A5CD-C931F1E95D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8288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72229-3F69-425C-9A8D-BB8B9F4934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DA9723-76B7-44CC-A033-9F4C1FBE6C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B2977-901D-4B7F-9170-1C93D2DB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19CF0C-6B02-4C87-8871-8EF861411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2809A-0020-4A69-8DB1-8F0AE3B01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1240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6667F-C006-4262-9C60-E2BF27558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D38830-2217-4B0D-B2B7-E0F47F034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2247F-48A6-44E7-A1D7-613A72BC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0A253-0010-463F-9BD6-1A202F192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4673CE-AA0C-4A3C-981F-54032646F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9316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A22E0-01DE-43C3-94B2-311D07706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636508-D994-4F29-B6A4-04FE3F1E6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07E874-4259-4F82-BB57-54720098C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7914F-0475-4FA1-AB62-D8B32534F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F59E71-43A8-4737-9616-49471DA6E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7116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570E5-01FF-49D2-A54D-912900E9E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5C419-CA8E-4EB6-B697-E7F2D303B6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531690-E619-4EA9-A025-3B2495D67B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DBC335-A20D-4649-82BC-1B2C1FE64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B8C1CD-5FAE-4046-A3CF-F04C63DD1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1505CD-20CA-44D3-9128-6748D4ACA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8802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0A49F-937B-4CD9-8359-DD9F864AC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297455-4D70-49C8-8C74-29966FE75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9B339-B610-4B2D-8C1A-A19E69901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B4B178-1B53-4287-B8B8-FC835E5659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5E8CF5-8F2D-4727-B163-82DCD1EE58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05981D-FE38-4800-9985-11FCBA303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3033946-5E3A-4300-8A17-CBECB0EF0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34F968-20B4-4869-92AC-2D3CD3CB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3900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862D1-B468-459D-B31E-441FE3B04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3FD5FE-A082-4F83-8E5A-51A834796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D71FB-2651-4120-8626-4D7FB4C29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39F19-4805-4B10-B638-0577FE638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2611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900805-1E11-4E37-9430-4EEFD5679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B7D44E-8A6E-41BB-BBC5-E75E291E1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F17BA0-CBA1-4258-BA5C-586DB5BE9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85794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FE665-B908-417F-97B0-9CB89A527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2DD03-F254-4ED5-B2BD-9744B312B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457D84-F0D1-426F-AC3A-0CF974A5FA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5E410E-411E-4391-A68D-9DCC99964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45BC1F-F8E2-4F9F-8AF5-1CDFB00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004C2B-A9D0-409B-997D-73824EFC1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57374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4FD38-C472-455A-A98B-4DC1C686C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656C9A-A437-447F-8D6B-C372BCF782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156D4-84B2-4338-84B8-69F4E36B12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47E563-89B1-457A-AFBD-A7AB6A212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AD6684-0A92-4CEF-A019-E1F8DCCB7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D22F51-4EA0-4866-A865-89B984E01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314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4D461A-AC62-4798-94ED-A2AEF356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6786EB-E072-4938-A561-92C50F805E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8A5522-D87C-450F-9610-825B73B3C7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3458382-ED39-4FA0-BAD2-AAB5A058B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2378202-8DD0-45F3-9770-594C38C67B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034B8D6-CD47-4187-AF22-0C3BBDC5D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36045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B6C0-8258-47F3-831B-B40336B06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4BF5D2-0B4B-4979-A852-E41325C2FC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E0369-60F0-4C3F-958C-71660BB37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75F65-DC81-4998-A38B-0AC2940D6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DAF434-54AA-4AB8-BD3C-2B5901ECD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8872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5F03DFA-141C-4CAC-ACDA-D03D93AAF7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E89C7F-0F8A-4B96-A405-F3C2C47E86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72DBCA-FAC9-4F11-9750-318AFD00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52A70-73C3-4220-9C86-26C9EE9F1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7F12C-9BB4-4FEC-A720-A3EA098AC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210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208481" y="3783303"/>
            <a:ext cx="4564063" cy="863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399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075709" y="2348636"/>
            <a:ext cx="7537425" cy="1325563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878282" y="2296391"/>
            <a:ext cx="0" cy="27120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68024" y="5964383"/>
            <a:ext cx="2610357" cy="42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836199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925038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5053" y="6249204"/>
            <a:ext cx="1621441" cy="262553"/>
          </a:xfrm>
          <a:prstGeom prst="rect">
            <a:avLst/>
          </a:prstGeom>
        </p:spPr>
      </p:pic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9602470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ADE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7223355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9975451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8C3533-A438-4EF3-8D50-1244325AD3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955" y="6246346"/>
            <a:ext cx="1811918" cy="37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271407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4" name="Rectangle 2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59170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2497873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2497874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5703" y="1873406"/>
            <a:ext cx="5167879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56027" y="1873406"/>
            <a:ext cx="5136786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54897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theme" Target="../theme/theme6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theme" Target="../theme/theme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E016AF9-E3BE-49D4-8117-9E5115985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8160" y="6334760"/>
            <a:ext cx="3445558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42A3848-A6CD-4C98-B9CC-00E805EE6388}" type="datetime4">
              <a:rPr lang="es-PE" smtClean="0"/>
              <a:pPr/>
              <a:t>15 de Febrero de 2024</a:t>
            </a:fld>
            <a:endParaRPr lang="es-P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7BEEC34-7EE3-4C74-957A-3D566A3A51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3546" y="6334759"/>
            <a:ext cx="2647265" cy="365125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B7FF794-A1DC-4DD8-9B58-EF65865935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064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8BB47A-8808-4EE8-B119-28EDB861CE6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5F589F-4A08-4075-B4E8-3F18BFA06C26}"/>
              </a:ext>
            </a:extLst>
          </p:cNvPr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" y="152400"/>
            <a:ext cx="1662430" cy="464820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E682588B-2EF0-435D-9168-51E02DC6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980" y="22225"/>
            <a:ext cx="9166860" cy="5949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551EF95-24B8-448B-9B90-0B0CF4CBBA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60" y="1203960"/>
            <a:ext cx="11155680" cy="49730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266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A15156D-9632-48FB-BB69-F2B22ADAF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66468CB-D1C2-441F-A44B-0653C93F14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517C29D-FDDA-4582-AB3A-16D3C30636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F3B8B0C-6CD6-4B1E-B9BB-7348E1CADE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A9CD4A0-8EA2-4898-BF92-EE4EA3D5ED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4D56DF-373B-496F-A1B3-2C833FD0C7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/>
          <a:srcRect t="33268" b="32583"/>
          <a:stretch/>
        </p:blipFill>
        <p:spPr>
          <a:xfrm>
            <a:off x="9161403" y="6059733"/>
            <a:ext cx="2574969" cy="79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826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9" r:id="rId12"/>
    <p:sldLayoutId id="214748368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BCBD11-6EB1-254A-9665-5AAEAFDBA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94B1B9-756D-9740-8B53-7BA94376D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5E7FA-0818-1647-8BC3-E2C70BF1BB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2C861A-6675-F040-8408-4F88D0FB40BE}" type="datetimeFigureOut">
              <a:rPr lang="en-US" smtClean="0"/>
              <a:t>2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60A4A7-019B-B341-BE97-AD4DC34E27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DA3417-B80D-3E45-82F2-36401F9EA2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CD55E2-0462-B441-BC13-B9A2F7595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773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E016AF9-E3BE-49D4-8117-9E5115985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8160" y="6334760"/>
            <a:ext cx="3445558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42A3848-A6CD-4C98-B9CC-00E805EE6388}" type="datetime4">
              <a:rPr lang="es-PE" smtClean="0"/>
              <a:t>15 de Febrero de 2024</a:t>
            </a:fld>
            <a:endParaRPr lang="es-P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7BEEC34-7EE3-4C74-957A-3D566A3A51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3546" y="6334759"/>
            <a:ext cx="2647265" cy="365125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B7FF794-A1DC-4DD8-9B58-EF65865935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064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8BB47A-8808-4EE8-B119-28EDB861CE66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5F589F-4A08-4075-B4E8-3F18BFA06C26}"/>
              </a:ext>
            </a:extLst>
          </p:cNvPr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" y="152400"/>
            <a:ext cx="1662430" cy="464820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E682588B-2EF0-435D-9168-51E02DC6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980" y="22225"/>
            <a:ext cx="9166860" cy="594995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r>
              <a:t>Clique em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551EF95-24B8-448B-9B90-0B0CF4CBBA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60" y="1203960"/>
            <a:ext cx="11155680" cy="4973003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lvl="0"/>
            <a:r>
              <a:t>Edite os estilos de texto do padrão</a:t>
            </a:r>
          </a:p>
          <a:p>
            <a:pPr lvl="1"/>
            <a:r>
              <a:t>Segundo nível</a:t>
            </a:r>
          </a:p>
          <a:p>
            <a:pPr lvl="2"/>
            <a:r>
              <a:t>Terceiro nível</a:t>
            </a:r>
          </a:p>
          <a:p>
            <a:pPr lvl="3"/>
            <a:r>
              <a:t>Quarto nível</a:t>
            </a:r>
          </a:p>
          <a:p>
            <a:pPr lvl="4"/>
            <a:r>
              <a:t>Quinto nível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265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A15156D-9632-48FB-BB69-F2B22ADAF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66468CB-D1C2-441F-A44B-0653C93F14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517C29D-FDDA-4582-AB3A-16D3C30636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E8BE0E-F3F8-4894-A16C-A3A91E0F63A1}" type="datetimeFigureOut">
              <a:rPr lang="es-CO" smtClean="0"/>
              <a:t>15/02/24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F3B8B0C-6CD6-4B1E-B9BB-7348E1CADE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A9CD4A0-8EA2-4898-BF92-EE4EA3D5ED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727079-C76F-463F-A79A-F1EC1ECB088D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30926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0BFE8B-D038-4A09-9B16-3905E4136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99866-8F3B-43A4-9082-E6214BA60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3C192-2CCC-4C24-A69F-4E7BCE881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8AC7D1-FAF2-4BC8-A461-2390823423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CEA9B-265F-4B23-8EE4-C906AB889F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770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91" r:id="rId30"/>
    <p:sldLayoutId id="2147483792" r:id="rId31"/>
    <p:sldLayoutId id="2147483793" r:id="rId32"/>
    <p:sldLayoutId id="2147483794" r:id="rId33"/>
    <p:sldLayoutId id="2147483795" r:id="rId34"/>
    <p:sldLayoutId id="2147483796" r:id="rId35"/>
    <p:sldLayoutId id="2147483797" r:id="rId36"/>
    <p:sldLayoutId id="2147483799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0BFE8B-D038-4A09-9B16-3905E4136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99866-8F3B-43A4-9082-E6214BA60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3C192-2CCC-4C24-A69F-4E7BCE881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8AC7D1-FAF2-4BC8-A461-2390823423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CEA9B-265F-4B23-8EE4-C906AB889F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22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  <p:sldLayoutId id="2147483828" r:id="rId28"/>
    <p:sldLayoutId id="2147483829" r:id="rId29"/>
    <p:sldLayoutId id="2147483830" r:id="rId30"/>
    <p:sldLayoutId id="2147483831" r:id="rId31"/>
    <p:sldLayoutId id="2147483832" r:id="rId32"/>
    <p:sldLayoutId id="2147483833" r:id="rId33"/>
    <p:sldLayoutId id="2147483834" r:id="rId34"/>
    <p:sldLayoutId id="2147483835" r:id="rId35"/>
    <p:sldLayoutId id="2147483836" r:id="rId36"/>
    <p:sldLayoutId id="2147483837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hyperlink" Target="https://iris.paho.org/handle/10665.2/57456" TargetMode="Externa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2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5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48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49.png"/><Relationship Id="rId7" Type="http://schemas.openxmlformats.org/officeDocument/2006/relationships/diagramQuickStyle" Target="../diagrams/quickStyle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2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28.png"/><Relationship Id="rId4" Type="http://schemas.openxmlformats.org/officeDocument/2006/relationships/image" Target="../media/image50.svg"/><Relationship Id="rId9" Type="http://schemas.microsoft.com/office/2007/relationships/diagramDrawing" Target="../diagrams/drawing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28.png"/><Relationship Id="rId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64.emf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66.svg"/><Relationship Id="rId7" Type="http://schemas.openxmlformats.org/officeDocument/2006/relationships/diagramColors" Target="../diagrams/colors6.xml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2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73.svg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7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7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7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8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70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svg"/><Relationship Id="rId3" Type="http://schemas.openxmlformats.org/officeDocument/2006/relationships/image" Target="../media/image28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Relationship Id="rId9" Type="http://schemas.openxmlformats.org/officeDocument/2006/relationships/image" Target="../media/image9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28.png"/><Relationship Id="rId5" Type="http://schemas.openxmlformats.org/officeDocument/2006/relationships/image" Target="../media/image99.png"/><Relationship Id="rId4" Type="http://schemas.openxmlformats.org/officeDocument/2006/relationships/image" Target="../media/image98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7.jpeg"/><Relationship Id="rId5" Type="http://schemas.openxmlformats.org/officeDocument/2006/relationships/image" Target="../media/image98.jpeg"/><Relationship Id="rId4" Type="http://schemas.openxmlformats.org/officeDocument/2006/relationships/image" Target="../media/image10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8.jpeg"/><Relationship Id="rId5" Type="http://schemas.openxmlformats.org/officeDocument/2006/relationships/image" Target="../media/image102.png"/><Relationship Id="rId4" Type="http://schemas.openxmlformats.org/officeDocument/2006/relationships/image" Target="../media/image2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4" Type="http://schemas.openxmlformats.org/officeDocument/2006/relationships/image" Target="../media/image10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00.png"/><Relationship Id="rId4" Type="http://schemas.openxmlformats.org/officeDocument/2006/relationships/image" Target="../media/image10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4" Type="http://schemas.openxmlformats.org/officeDocument/2006/relationships/image" Target="../media/image2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0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1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3" Type="http://schemas.openxmlformats.org/officeDocument/2006/relationships/image" Target="../media/image113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15.svg"/><Relationship Id="rId5" Type="http://schemas.openxmlformats.org/officeDocument/2006/relationships/image" Target="../media/image114.png"/><Relationship Id="rId10" Type="http://schemas.openxmlformats.org/officeDocument/2006/relationships/image" Target="../media/image117.svg"/><Relationship Id="rId4" Type="http://schemas.openxmlformats.org/officeDocument/2006/relationships/image" Target="../media/image28.png"/><Relationship Id="rId9" Type="http://schemas.openxmlformats.org/officeDocument/2006/relationships/image" Target="../media/image11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11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8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8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hyperlink" Target="https://www.e-unwto.org/doi/epdf/10.18111/wtobarometereng.2023.21.1.2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2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4" Type="http://schemas.openxmlformats.org/officeDocument/2006/relationships/image" Target="../media/image123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28.png"/><Relationship Id="rId7" Type="http://schemas.openxmlformats.org/officeDocument/2006/relationships/image" Target="../media/image73.sv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72.png"/><Relationship Id="rId11" Type="http://schemas.openxmlformats.org/officeDocument/2006/relationships/image" Target="../media/image126.png"/><Relationship Id="rId5" Type="http://schemas.openxmlformats.org/officeDocument/2006/relationships/image" Target="../media/image71.svg"/><Relationship Id="rId10" Type="http://schemas.openxmlformats.org/officeDocument/2006/relationships/image" Target="../media/image125.png"/><Relationship Id="rId4" Type="http://schemas.openxmlformats.org/officeDocument/2006/relationships/image" Target="../media/image70.png"/><Relationship Id="rId9" Type="http://schemas.openxmlformats.org/officeDocument/2006/relationships/image" Target="../media/image12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28.png"/><Relationship Id="rId4" Type="http://schemas.openxmlformats.org/officeDocument/2006/relationships/image" Target="../media/image13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28.png"/><Relationship Id="rId4" Type="http://schemas.openxmlformats.org/officeDocument/2006/relationships/image" Target="../media/image13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35.svg"/><Relationship Id="rId5" Type="http://schemas.openxmlformats.org/officeDocument/2006/relationships/image" Target="../media/image134.png"/><Relationship Id="rId4" Type="http://schemas.openxmlformats.org/officeDocument/2006/relationships/image" Target="../media/image1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2.png"/><Relationship Id="rId3" Type="http://schemas.openxmlformats.org/officeDocument/2006/relationships/diagramLayout" Target="../diagrams/layout2.xml"/><Relationship Id="rId7" Type="http://schemas.openxmlformats.org/officeDocument/2006/relationships/chart" Target="../charts/chart1.xml"/><Relationship Id="rId12" Type="http://schemas.openxmlformats.org/officeDocument/2006/relationships/image" Target="../media/image41.sv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2.xml"/><Relationship Id="rId6" Type="http://schemas.microsoft.com/office/2007/relationships/diagramDrawing" Target="../diagrams/drawing2.xml"/><Relationship Id="rId11" Type="http://schemas.openxmlformats.org/officeDocument/2006/relationships/image" Target="../media/image40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39.sv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4" Type="http://schemas.openxmlformats.org/officeDocument/2006/relationships/image" Target="../media/image12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38.png"/><Relationship Id="rId5" Type="http://schemas.openxmlformats.org/officeDocument/2006/relationships/image" Target="../media/image28.png"/><Relationship Id="rId4" Type="http://schemas.openxmlformats.org/officeDocument/2006/relationships/image" Target="../media/image13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image" Target="../media/image28.png"/><Relationship Id="rId7" Type="http://schemas.openxmlformats.org/officeDocument/2006/relationships/diagramQuickStyle" Target="../diagrams/quickStyle7.xml"/><Relationship Id="rId12" Type="http://schemas.openxmlformats.org/officeDocument/2006/relationships/image" Target="../media/image149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86.xml"/><Relationship Id="rId6" Type="http://schemas.openxmlformats.org/officeDocument/2006/relationships/diagramLayout" Target="../diagrams/layout7.xml"/><Relationship Id="rId11" Type="http://schemas.openxmlformats.org/officeDocument/2006/relationships/image" Target="../media/image148.png"/><Relationship Id="rId5" Type="http://schemas.openxmlformats.org/officeDocument/2006/relationships/diagramData" Target="../diagrams/data7.xml"/><Relationship Id="rId10" Type="http://schemas.openxmlformats.org/officeDocument/2006/relationships/image" Target="../media/image147.png"/><Relationship Id="rId4" Type="http://schemas.openxmlformats.org/officeDocument/2006/relationships/image" Target="../media/image138.png"/><Relationship Id="rId9" Type="http://schemas.microsoft.com/office/2007/relationships/diagramDrawing" Target="../diagrams/drawing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5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hyperlink" Target="https://www.shinyapps.io/" TargetMode="Externa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53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55.png"/><Relationship Id="rId4" Type="http://schemas.openxmlformats.org/officeDocument/2006/relationships/image" Target="../media/image154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5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60.png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63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164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167.png"/><Relationship Id="rId5" Type="http://schemas.openxmlformats.org/officeDocument/2006/relationships/image" Target="../media/image166.png"/><Relationship Id="rId4" Type="http://schemas.openxmlformats.org/officeDocument/2006/relationships/image" Target="../media/image165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aho.org/immunization" TargetMode="Externa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8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hyperlink" Target="https://iris.paho.org/handle/10665.2/57456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F79C37-8CCA-9748-94BE-094C612DDF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F48CEA-885D-5C4E-A5CD-C931F1E95D6A}" type="slidenum">
              <a:rPr lang="en-US" smtClean="0"/>
              <a:pPr/>
              <a:t>1</a:t>
            </a:fld>
            <a:endParaRPr lang="en-US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417F64E7-5D26-8A4B-9938-A8DFEAC63E21}"/>
              </a:ext>
            </a:extLst>
          </p:cNvPr>
          <p:cNvGrpSpPr>
            <a:grpSpLocks/>
          </p:cNvGrpSpPr>
          <p:nvPr/>
        </p:nvGrpSpPr>
        <p:grpSpPr bwMode="auto">
          <a:xfrm>
            <a:off x="838200" y="5719990"/>
            <a:ext cx="4072898" cy="468937"/>
            <a:chOff x="2933700" y="4378325"/>
            <a:chExt cx="3681413" cy="423863"/>
          </a:xfrm>
          <a:solidFill>
            <a:schemeClr val="bg1"/>
          </a:solidFill>
        </p:grpSpPr>
        <p:sp>
          <p:nvSpPr>
            <p:cNvPr id="9" name="Freeform 140">
              <a:extLst>
                <a:ext uri="{FF2B5EF4-FFF2-40B4-BE49-F238E27FC236}">
                  <a16:creationId xmlns:a16="http://schemas.microsoft.com/office/drawing/2014/main" id="{5BA460BF-439D-9F43-9F6F-8DE80F2B4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8963" y="4395788"/>
              <a:ext cx="336550" cy="336550"/>
            </a:xfrm>
            <a:custGeom>
              <a:avLst/>
              <a:gdLst>
                <a:gd name="T0" fmla="*/ 0 w 935"/>
                <a:gd name="T1" fmla="*/ 168095 h 933"/>
                <a:gd name="T2" fmla="*/ 167735 w 935"/>
                <a:gd name="T3" fmla="*/ 0 h 933"/>
                <a:gd name="T4" fmla="*/ 335470 w 935"/>
                <a:gd name="T5" fmla="*/ 168095 h 933"/>
                <a:gd name="T6" fmla="*/ 167735 w 935"/>
                <a:gd name="T7" fmla="*/ 336189 h 933"/>
                <a:gd name="T8" fmla="*/ 0 w 935"/>
                <a:gd name="T9" fmla="*/ 168095 h 933"/>
                <a:gd name="T10" fmla="*/ 7559 w 935"/>
                <a:gd name="T11" fmla="*/ 168095 h 933"/>
                <a:gd name="T12" fmla="*/ 167735 w 935"/>
                <a:gd name="T13" fmla="*/ 328614 h 933"/>
                <a:gd name="T14" fmla="*/ 327911 w 935"/>
                <a:gd name="T15" fmla="*/ 168095 h 933"/>
                <a:gd name="T16" fmla="*/ 167735 w 935"/>
                <a:gd name="T17" fmla="*/ 7575 h 933"/>
                <a:gd name="T18" fmla="*/ 7559 w 935"/>
                <a:gd name="T19" fmla="*/ 168095 h 9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5" h="933">
                  <a:moveTo>
                    <a:pt x="0" y="466"/>
                  </a:moveTo>
                  <a:cubicBezTo>
                    <a:pt x="0" y="209"/>
                    <a:pt x="209" y="0"/>
                    <a:pt x="466" y="0"/>
                  </a:cubicBezTo>
                  <a:cubicBezTo>
                    <a:pt x="723" y="0"/>
                    <a:pt x="932" y="209"/>
                    <a:pt x="932" y="466"/>
                  </a:cubicBezTo>
                  <a:cubicBezTo>
                    <a:pt x="934" y="723"/>
                    <a:pt x="725" y="932"/>
                    <a:pt x="466" y="932"/>
                  </a:cubicBezTo>
                  <a:cubicBezTo>
                    <a:pt x="209" y="932"/>
                    <a:pt x="0" y="723"/>
                    <a:pt x="0" y="466"/>
                  </a:cubicBezTo>
                  <a:close/>
                  <a:moveTo>
                    <a:pt x="21" y="466"/>
                  </a:moveTo>
                  <a:cubicBezTo>
                    <a:pt x="21" y="713"/>
                    <a:pt x="219" y="911"/>
                    <a:pt x="466" y="911"/>
                  </a:cubicBezTo>
                  <a:cubicBezTo>
                    <a:pt x="712" y="911"/>
                    <a:pt x="911" y="713"/>
                    <a:pt x="911" y="466"/>
                  </a:cubicBezTo>
                  <a:cubicBezTo>
                    <a:pt x="913" y="220"/>
                    <a:pt x="712" y="21"/>
                    <a:pt x="466" y="21"/>
                  </a:cubicBezTo>
                  <a:cubicBezTo>
                    <a:pt x="219" y="21"/>
                    <a:pt x="21" y="220"/>
                    <a:pt x="21" y="46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Freeform 141">
              <a:extLst>
                <a:ext uri="{FF2B5EF4-FFF2-40B4-BE49-F238E27FC236}">
                  <a16:creationId xmlns:a16="http://schemas.microsoft.com/office/drawing/2014/main" id="{658DA8B2-0C52-C64E-9A2D-241AFBD602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825" y="4440238"/>
              <a:ext cx="250825" cy="244475"/>
            </a:xfrm>
            <a:custGeom>
              <a:avLst/>
              <a:gdLst>
                <a:gd name="T0" fmla="*/ 0 w 697"/>
                <a:gd name="T1" fmla="*/ 122057 h 679"/>
                <a:gd name="T2" fmla="*/ 124873 w 697"/>
                <a:gd name="T3" fmla="*/ 0 h 679"/>
                <a:gd name="T4" fmla="*/ 249745 w 697"/>
                <a:gd name="T5" fmla="*/ 122057 h 679"/>
                <a:gd name="T6" fmla="*/ 124873 w 697"/>
                <a:gd name="T7" fmla="*/ 244115 h 679"/>
                <a:gd name="T8" fmla="*/ 0 w 697"/>
                <a:gd name="T9" fmla="*/ 122057 h 679"/>
                <a:gd name="T10" fmla="*/ 8637 w 697"/>
                <a:gd name="T11" fmla="*/ 122778 h 679"/>
                <a:gd name="T12" fmla="*/ 124873 w 697"/>
                <a:gd name="T13" fmla="*/ 236194 h 679"/>
                <a:gd name="T14" fmla="*/ 241109 w 697"/>
                <a:gd name="T15" fmla="*/ 122778 h 679"/>
                <a:gd name="T16" fmla="*/ 124873 w 697"/>
                <a:gd name="T17" fmla="*/ 9361 h 679"/>
                <a:gd name="T18" fmla="*/ 8637 w 697"/>
                <a:gd name="T19" fmla="*/ 122778 h 67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97" h="679">
                  <a:moveTo>
                    <a:pt x="0" y="339"/>
                  </a:moveTo>
                  <a:cubicBezTo>
                    <a:pt x="0" y="153"/>
                    <a:pt x="156" y="0"/>
                    <a:pt x="347" y="0"/>
                  </a:cubicBezTo>
                  <a:cubicBezTo>
                    <a:pt x="537" y="0"/>
                    <a:pt x="694" y="151"/>
                    <a:pt x="694" y="339"/>
                  </a:cubicBezTo>
                  <a:cubicBezTo>
                    <a:pt x="696" y="527"/>
                    <a:pt x="540" y="678"/>
                    <a:pt x="347" y="678"/>
                  </a:cubicBezTo>
                  <a:cubicBezTo>
                    <a:pt x="156" y="678"/>
                    <a:pt x="0" y="527"/>
                    <a:pt x="0" y="339"/>
                  </a:cubicBezTo>
                  <a:close/>
                  <a:moveTo>
                    <a:pt x="24" y="341"/>
                  </a:moveTo>
                  <a:cubicBezTo>
                    <a:pt x="24" y="513"/>
                    <a:pt x="169" y="656"/>
                    <a:pt x="347" y="656"/>
                  </a:cubicBezTo>
                  <a:cubicBezTo>
                    <a:pt x="524" y="656"/>
                    <a:pt x="670" y="516"/>
                    <a:pt x="670" y="341"/>
                  </a:cubicBezTo>
                  <a:cubicBezTo>
                    <a:pt x="672" y="166"/>
                    <a:pt x="527" y="26"/>
                    <a:pt x="347" y="26"/>
                  </a:cubicBezTo>
                  <a:cubicBezTo>
                    <a:pt x="169" y="26"/>
                    <a:pt x="24" y="166"/>
                    <a:pt x="24" y="34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142">
              <a:extLst>
                <a:ext uri="{FF2B5EF4-FFF2-40B4-BE49-F238E27FC236}">
                  <a16:creationId xmlns:a16="http://schemas.microsoft.com/office/drawing/2014/main" id="{81C9849F-81FE-F149-A159-7E0A68884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775" y="4505325"/>
              <a:ext cx="20638" cy="20638"/>
            </a:xfrm>
            <a:custGeom>
              <a:avLst/>
              <a:gdLst>
                <a:gd name="T0" fmla="*/ 10144 w 59"/>
                <a:gd name="T1" fmla="*/ 0 h 56"/>
                <a:gd name="T2" fmla="*/ 12942 w 59"/>
                <a:gd name="T3" fmla="*/ 7739 h 56"/>
                <a:gd name="T4" fmla="*/ 20288 w 59"/>
                <a:gd name="T5" fmla="*/ 7739 h 56"/>
                <a:gd name="T6" fmla="*/ 14691 w 59"/>
                <a:gd name="T7" fmla="*/ 12530 h 56"/>
                <a:gd name="T8" fmla="*/ 16440 w 59"/>
                <a:gd name="T9" fmla="*/ 20269 h 56"/>
                <a:gd name="T10" fmla="*/ 10144 w 59"/>
                <a:gd name="T11" fmla="*/ 14373 h 56"/>
                <a:gd name="T12" fmla="*/ 3498 w 59"/>
                <a:gd name="T13" fmla="*/ 20269 h 56"/>
                <a:gd name="T14" fmla="*/ 6296 w 59"/>
                <a:gd name="T15" fmla="*/ 12530 h 56"/>
                <a:gd name="T16" fmla="*/ 0 w 59"/>
                <a:gd name="T17" fmla="*/ 7739 h 56"/>
                <a:gd name="T18" fmla="*/ 7346 w 59"/>
                <a:gd name="T19" fmla="*/ 7739 h 56"/>
                <a:gd name="T20" fmla="*/ 10144 w 59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56">
                  <a:moveTo>
                    <a:pt x="29" y="0"/>
                  </a:moveTo>
                  <a:lnTo>
                    <a:pt x="37" y="21"/>
                  </a:lnTo>
                  <a:lnTo>
                    <a:pt x="58" y="21"/>
                  </a:lnTo>
                  <a:lnTo>
                    <a:pt x="42" y="34"/>
                  </a:lnTo>
                  <a:lnTo>
                    <a:pt x="47" y="55"/>
                  </a:lnTo>
                  <a:lnTo>
                    <a:pt x="29" y="39"/>
                  </a:lnTo>
                  <a:lnTo>
                    <a:pt x="10" y="55"/>
                  </a:lnTo>
                  <a:lnTo>
                    <a:pt x="18" y="34"/>
                  </a:lnTo>
                  <a:lnTo>
                    <a:pt x="0" y="21"/>
                  </a:lnTo>
                  <a:lnTo>
                    <a:pt x="21" y="21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143">
              <a:extLst>
                <a:ext uri="{FF2B5EF4-FFF2-40B4-BE49-F238E27FC236}">
                  <a16:creationId xmlns:a16="http://schemas.microsoft.com/office/drawing/2014/main" id="{CC5BE919-834C-494B-8615-0E397ECB7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188" y="4502150"/>
              <a:ext cx="25400" cy="23813"/>
            </a:xfrm>
            <a:custGeom>
              <a:avLst/>
              <a:gdLst>
                <a:gd name="T0" fmla="*/ 20320 w 70"/>
                <a:gd name="T1" fmla="*/ 23447 h 65"/>
                <a:gd name="T2" fmla="*/ 12700 w 70"/>
                <a:gd name="T3" fmla="*/ 16486 h 65"/>
                <a:gd name="T4" fmla="*/ 5806 w 70"/>
                <a:gd name="T5" fmla="*/ 22348 h 65"/>
                <a:gd name="T6" fmla="*/ 4717 w 70"/>
                <a:gd name="T7" fmla="*/ 22348 h 65"/>
                <a:gd name="T8" fmla="*/ 7620 w 70"/>
                <a:gd name="T9" fmla="*/ 14654 h 65"/>
                <a:gd name="T10" fmla="*/ 0 w 70"/>
                <a:gd name="T11" fmla="*/ 9892 h 65"/>
                <a:gd name="T12" fmla="*/ 9797 w 70"/>
                <a:gd name="T13" fmla="*/ 9892 h 65"/>
                <a:gd name="T14" fmla="*/ 13426 w 70"/>
                <a:gd name="T15" fmla="*/ 0 h 65"/>
                <a:gd name="T16" fmla="*/ 16329 w 70"/>
                <a:gd name="T17" fmla="*/ 9892 h 65"/>
                <a:gd name="T18" fmla="*/ 25037 w 70"/>
                <a:gd name="T19" fmla="*/ 9892 h 65"/>
                <a:gd name="T20" fmla="*/ 18506 w 70"/>
                <a:gd name="T21" fmla="*/ 14654 h 65"/>
                <a:gd name="T22" fmla="*/ 20320 w 70"/>
                <a:gd name="T23" fmla="*/ 23447 h 65"/>
                <a:gd name="T24" fmla="*/ 2903 w 70"/>
                <a:gd name="T25" fmla="*/ 10991 h 65"/>
                <a:gd name="T26" fmla="*/ 8709 w 70"/>
                <a:gd name="T27" fmla="*/ 14654 h 65"/>
                <a:gd name="T28" fmla="*/ 6894 w 70"/>
                <a:gd name="T29" fmla="*/ 21615 h 65"/>
                <a:gd name="T30" fmla="*/ 12700 w 70"/>
                <a:gd name="T31" fmla="*/ 15753 h 65"/>
                <a:gd name="T32" fmla="*/ 18506 w 70"/>
                <a:gd name="T33" fmla="*/ 20516 h 65"/>
                <a:gd name="T34" fmla="*/ 16329 w 70"/>
                <a:gd name="T35" fmla="*/ 14654 h 65"/>
                <a:gd name="T36" fmla="*/ 21409 w 70"/>
                <a:gd name="T37" fmla="*/ 10991 h 65"/>
                <a:gd name="T38" fmla="*/ 14514 w 70"/>
                <a:gd name="T39" fmla="*/ 10991 h 65"/>
                <a:gd name="T40" fmla="*/ 12700 w 70"/>
                <a:gd name="T41" fmla="*/ 2931 h 65"/>
                <a:gd name="T42" fmla="*/ 9797 w 70"/>
                <a:gd name="T43" fmla="*/ 10991 h 65"/>
                <a:gd name="T44" fmla="*/ 2903 w 70"/>
                <a:gd name="T45" fmla="*/ 10991 h 6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0" h="65">
                  <a:moveTo>
                    <a:pt x="56" y="64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7" y="27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9" y="27"/>
                  </a:lnTo>
                  <a:lnTo>
                    <a:pt x="51" y="40"/>
                  </a:lnTo>
                  <a:lnTo>
                    <a:pt x="56" y="64"/>
                  </a:lnTo>
                  <a:close/>
                  <a:moveTo>
                    <a:pt x="8" y="30"/>
                  </a:moveTo>
                  <a:lnTo>
                    <a:pt x="24" y="40"/>
                  </a:lnTo>
                  <a:lnTo>
                    <a:pt x="19" y="59"/>
                  </a:lnTo>
                  <a:lnTo>
                    <a:pt x="35" y="43"/>
                  </a:lnTo>
                  <a:lnTo>
                    <a:pt x="51" y="56"/>
                  </a:lnTo>
                  <a:lnTo>
                    <a:pt x="45" y="40"/>
                  </a:lnTo>
                  <a:lnTo>
                    <a:pt x="59" y="30"/>
                  </a:lnTo>
                  <a:lnTo>
                    <a:pt x="40" y="30"/>
                  </a:lnTo>
                  <a:lnTo>
                    <a:pt x="35" y="8"/>
                  </a:lnTo>
                  <a:lnTo>
                    <a:pt x="27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144">
              <a:extLst>
                <a:ext uri="{FF2B5EF4-FFF2-40B4-BE49-F238E27FC236}">
                  <a16:creationId xmlns:a16="http://schemas.microsoft.com/office/drawing/2014/main" id="{55B6735D-69D0-CF4B-811D-087573E9E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63" y="4621213"/>
              <a:ext cx="22225" cy="20637"/>
            </a:xfrm>
            <a:custGeom>
              <a:avLst/>
              <a:gdLst>
                <a:gd name="T0" fmla="*/ 11471 w 62"/>
                <a:gd name="T1" fmla="*/ 0 h 56"/>
                <a:gd name="T2" fmla="*/ 13263 w 62"/>
                <a:gd name="T3" fmla="*/ 7739 h 56"/>
                <a:gd name="T4" fmla="*/ 21867 w 62"/>
                <a:gd name="T5" fmla="*/ 7739 h 56"/>
                <a:gd name="T6" fmla="*/ 16131 w 62"/>
                <a:gd name="T7" fmla="*/ 12530 h 56"/>
                <a:gd name="T8" fmla="*/ 18282 w 62"/>
                <a:gd name="T9" fmla="*/ 20268 h 56"/>
                <a:gd name="T10" fmla="*/ 11471 w 62"/>
                <a:gd name="T11" fmla="*/ 14741 h 56"/>
                <a:gd name="T12" fmla="*/ 4660 w 62"/>
                <a:gd name="T13" fmla="*/ 20268 h 56"/>
                <a:gd name="T14" fmla="*/ 6811 w 62"/>
                <a:gd name="T15" fmla="*/ 12530 h 56"/>
                <a:gd name="T16" fmla="*/ 0 w 62"/>
                <a:gd name="T17" fmla="*/ 7739 h 56"/>
                <a:gd name="T18" fmla="*/ 8603 w 62"/>
                <a:gd name="T19" fmla="*/ 7739 h 56"/>
                <a:gd name="T20" fmla="*/ 11471 w 62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2" h="56">
                  <a:moveTo>
                    <a:pt x="32" y="0"/>
                  </a:moveTo>
                  <a:lnTo>
                    <a:pt x="37" y="21"/>
                  </a:lnTo>
                  <a:lnTo>
                    <a:pt x="61" y="21"/>
                  </a:lnTo>
                  <a:lnTo>
                    <a:pt x="45" y="34"/>
                  </a:lnTo>
                  <a:lnTo>
                    <a:pt x="51" y="55"/>
                  </a:lnTo>
                  <a:lnTo>
                    <a:pt x="32" y="40"/>
                  </a:lnTo>
                  <a:lnTo>
                    <a:pt x="13" y="55"/>
                  </a:lnTo>
                  <a:lnTo>
                    <a:pt x="19" y="34"/>
                  </a:lnTo>
                  <a:lnTo>
                    <a:pt x="0" y="21"/>
                  </a:lnTo>
                  <a:lnTo>
                    <a:pt x="24" y="21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145">
              <a:extLst>
                <a:ext uri="{FF2B5EF4-FFF2-40B4-BE49-F238E27FC236}">
                  <a16:creationId xmlns:a16="http://schemas.microsoft.com/office/drawing/2014/main" id="{0D76A68A-6F57-7B48-85DD-ED7892609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63" y="4619625"/>
              <a:ext cx="25400" cy="23813"/>
            </a:xfrm>
            <a:custGeom>
              <a:avLst/>
              <a:gdLst>
                <a:gd name="T0" fmla="*/ 20246 w 69"/>
                <a:gd name="T1" fmla="*/ 23447 h 65"/>
                <a:gd name="T2" fmla="*/ 12516 w 69"/>
                <a:gd name="T3" fmla="*/ 16852 h 65"/>
                <a:gd name="T4" fmla="*/ 5522 w 69"/>
                <a:gd name="T5" fmla="*/ 22348 h 65"/>
                <a:gd name="T6" fmla="*/ 4786 w 69"/>
                <a:gd name="T7" fmla="*/ 22348 h 65"/>
                <a:gd name="T8" fmla="*/ 7730 w 69"/>
                <a:gd name="T9" fmla="*/ 14654 h 65"/>
                <a:gd name="T10" fmla="*/ 0 w 69"/>
                <a:gd name="T11" fmla="*/ 9892 h 65"/>
                <a:gd name="T12" fmla="*/ 9571 w 69"/>
                <a:gd name="T13" fmla="*/ 9892 h 65"/>
                <a:gd name="T14" fmla="*/ 13620 w 69"/>
                <a:gd name="T15" fmla="*/ 0 h 65"/>
                <a:gd name="T16" fmla="*/ 16565 w 69"/>
                <a:gd name="T17" fmla="*/ 9892 h 65"/>
                <a:gd name="T18" fmla="*/ 25032 w 69"/>
                <a:gd name="T19" fmla="*/ 9892 h 65"/>
                <a:gd name="T20" fmla="*/ 18406 w 69"/>
                <a:gd name="T21" fmla="*/ 14654 h 65"/>
                <a:gd name="T22" fmla="*/ 20246 w 69"/>
                <a:gd name="T23" fmla="*/ 23447 h 65"/>
                <a:gd name="T24" fmla="*/ 2945 w 69"/>
                <a:gd name="T25" fmla="*/ 10991 h 65"/>
                <a:gd name="T26" fmla="*/ 8467 w 69"/>
                <a:gd name="T27" fmla="*/ 14654 h 65"/>
                <a:gd name="T28" fmla="*/ 6626 w 69"/>
                <a:gd name="T29" fmla="*/ 21615 h 65"/>
                <a:gd name="T30" fmla="*/ 12516 w 69"/>
                <a:gd name="T31" fmla="*/ 15753 h 65"/>
                <a:gd name="T32" fmla="*/ 18406 w 69"/>
                <a:gd name="T33" fmla="*/ 20516 h 65"/>
                <a:gd name="T34" fmla="*/ 16565 w 69"/>
                <a:gd name="T35" fmla="*/ 14654 h 65"/>
                <a:gd name="T36" fmla="*/ 21351 w 69"/>
                <a:gd name="T37" fmla="*/ 10991 h 65"/>
                <a:gd name="T38" fmla="*/ 14357 w 69"/>
                <a:gd name="T39" fmla="*/ 10991 h 65"/>
                <a:gd name="T40" fmla="*/ 12516 w 69"/>
                <a:gd name="T41" fmla="*/ 2931 h 65"/>
                <a:gd name="T42" fmla="*/ 9571 w 69"/>
                <a:gd name="T43" fmla="*/ 10991 h 65"/>
                <a:gd name="T44" fmla="*/ 2945 w 69"/>
                <a:gd name="T45" fmla="*/ 10991 h 6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9" h="65">
                  <a:moveTo>
                    <a:pt x="55" y="64"/>
                  </a:moveTo>
                  <a:lnTo>
                    <a:pt x="34" y="46"/>
                  </a:lnTo>
                  <a:lnTo>
                    <a:pt x="15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6" y="27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8" y="27"/>
                  </a:lnTo>
                  <a:lnTo>
                    <a:pt x="50" y="40"/>
                  </a:lnTo>
                  <a:lnTo>
                    <a:pt x="55" y="64"/>
                  </a:lnTo>
                  <a:close/>
                  <a:moveTo>
                    <a:pt x="8" y="30"/>
                  </a:moveTo>
                  <a:lnTo>
                    <a:pt x="23" y="40"/>
                  </a:lnTo>
                  <a:lnTo>
                    <a:pt x="18" y="59"/>
                  </a:lnTo>
                  <a:lnTo>
                    <a:pt x="34" y="43"/>
                  </a:lnTo>
                  <a:lnTo>
                    <a:pt x="50" y="56"/>
                  </a:lnTo>
                  <a:lnTo>
                    <a:pt x="45" y="40"/>
                  </a:lnTo>
                  <a:lnTo>
                    <a:pt x="58" y="30"/>
                  </a:lnTo>
                  <a:lnTo>
                    <a:pt x="39" y="30"/>
                  </a:lnTo>
                  <a:lnTo>
                    <a:pt x="34" y="8"/>
                  </a:lnTo>
                  <a:lnTo>
                    <a:pt x="26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146">
              <a:extLst>
                <a:ext uri="{FF2B5EF4-FFF2-40B4-BE49-F238E27FC236}">
                  <a16:creationId xmlns:a16="http://schemas.microsoft.com/office/drawing/2014/main" id="{3A5810CB-8665-F647-AEB8-A896BC7E9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2300" y="4619625"/>
              <a:ext cx="22225" cy="20638"/>
            </a:xfrm>
            <a:custGeom>
              <a:avLst/>
              <a:gdLst>
                <a:gd name="T0" fmla="*/ 11113 w 60"/>
                <a:gd name="T1" fmla="*/ 0 h 57"/>
                <a:gd name="T2" fmla="*/ 13705 w 60"/>
                <a:gd name="T3" fmla="*/ 7966 h 57"/>
                <a:gd name="T4" fmla="*/ 21855 w 60"/>
                <a:gd name="T5" fmla="*/ 7966 h 57"/>
                <a:gd name="T6" fmla="*/ 15928 w 60"/>
                <a:gd name="T7" fmla="*/ 12672 h 57"/>
                <a:gd name="T8" fmla="*/ 17780 w 60"/>
                <a:gd name="T9" fmla="*/ 20276 h 57"/>
                <a:gd name="T10" fmla="*/ 11113 w 60"/>
                <a:gd name="T11" fmla="*/ 14483 h 57"/>
                <a:gd name="T12" fmla="*/ 4075 w 60"/>
                <a:gd name="T13" fmla="*/ 20276 h 57"/>
                <a:gd name="T14" fmla="*/ 7038 w 60"/>
                <a:gd name="T15" fmla="*/ 12672 h 57"/>
                <a:gd name="T16" fmla="*/ 0 w 60"/>
                <a:gd name="T17" fmla="*/ 7966 h 57"/>
                <a:gd name="T18" fmla="*/ 8149 w 60"/>
                <a:gd name="T19" fmla="*/ 8690 h 57"/>
                <a:gd name="T20" fmla="*/ 11113 w 60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7">
                  <a:moveTo>
                    <a:pt x="30" y="0"/>
                  </a:moveTo>
                  <a:lnTo>
                    <a:pt x="37" y="22"/>
                  </a:lnTo>
                  <a:lnTo>
                    <a:pt x="59" y="22"/>
                  </a:lnTo>
                  <a:lnTo>
                    <a:pt x="43" y="35"/>
                  </a:lnTo>
                  <a:lnTo>
                    <a:pt x="48" y="56"/>
                  </a:lnTo>
                  <a:lnTo>
                    <a:pt x="30" y="40"/>
                  </a:lnTo>
                  <a:lnTo>
                    <a:pt x="11" y="56"/>
                  </a:lnTo>
                  <a:lnTo>
                    <a:pt x="19" y="35"/>
                  </a:lnTo>
                  <a:lnTo>
                    <a:pt x="0" y="22"/>
                  </a:lnTo>
                  <a:lnTo>
                    <a:pt x="22" y="24"/>
                  </a:lnTo>
                  <a:lnTo>
                    <a:pt x="3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147">
              <a:extLst>
                <a:ext uri="{FF2B5EF4-FFF2-40B4-BE49-F238E27FC236}">
                  <a16:creationId xmlns:a16="http://schemas.microsoft.com/office/drawing/2014/main" id="{E9C0AFC6-2173-AA49-BF23-3BD76D276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125" y="4618038"/>
              <a:ext cx="25400" cy="23812"/>
            </a:xfrm>
            <a:custGeom>
              <a:avLst/>
              <a:gdLst>
                <a:gd name="T0" fmla="*/ 20320 w 70"/>
                <a:gd name="T1" fmla="*/ 23446 h 65"/>
                <a:gd name="T2" fmla="*/ 12700 w 70"/>
                <a:gd name="T3" fmla="*/ 16485 h 65"/>
                <a:gd name="T4" fmla="*/ 5806 w 70"/>
                <a:gd name="T5" fmla="*/ 22347 h 65"/>
                <a:gd name="T6" fmla="*/ 4717 w 70"/>
                <a:gd name="T7" fmla="*/ 22347 h 65"/>
                <a:gd name="T8" fmla="*/ 7620 w 70"/>
                <a:gd name="T9" fmla="*/ 14654 h 65"/>
                <a:gd name="T10" fmla="*/ 0 w 70"/>
                <a:gd name="T11" fmla="*/ 9891 h 65"/>
                <a:gd name="T12" fmla="*/ 9797 w 70"/>
                <a:gd name="T13" fmla="*/ 9891 h 65"/>
                <a:gd name="T14" fmla="*/ 13426 w 70"/>
                <a:gd name="T15" fmla="*/ 0 h 65"/>
                <a:gd name="T16" fmla="*/ 16329 w 70"/>
                <a:gd name="T17" fmla="*/ 9891 h 65"/>
                <a:gd name="T18" fmla="*/ 25037 w 70"/>
                <a:gd name="T19" fmla="*/ 9891 h 65"/>
                <a:gd name="T20" fmla="*/ 18143 w 70"/>
                <a:gd name="T21" fmla="*/ 14654 h 65"/>
                <a:gd name="T22" fmla="*/ 20320 w 70"/>
                <a:gd name="T23" fmla="*/ 23446 h 65"/>
                <a:gd name="T24" fmla="*/ 2903 w 70"/>
                <a:gd name="T25" fmla="*/ 10624 h 65"/>
                <a:gd name="T26" fmla="*/ 8709 w 70"/>
                <a:gd name="T27" fmla="*/ 14654 h 65"/>
                <a:gd name="T28" fmla="*/ 6894 w 70"/>
                <a:gd name="T29" fmla="*/ 21248 h 65"/>
                <a:gd name="T30" fmla="*/ 12700 w 70"/>
                <a:gd name="T31" fmla="*/ 15753 h 65"/>
                <a:gd name="T32" fmla="*/ 18143 w 70"/>
                <a:gd name="T33" fmla="*/ 20515 h 65"/>
                <a:gd name="T34" fmla="*/ 16329 w 70"/>
                <a:gd name="T35" fmla="*/ 14654 h 65"/>
                <a:gd name="T36" fmla="*/ 21046 w 70"/>
                <a:gd name="T37" fmla="*/ 10624 h 65"/>
                <a:gd name="T38" fmla="*/ 14514 w 70"/>
                <a:gd name="T39" fmla="*/ 10624 h 65"/>
                <a:gd name="T40" fmla="*/ 12700 w 70"/>
                <a:gd name="T41" fmla="*/ 2931 h 65"/>
                <a:gd name="T42" fmla="*/ 9797 w 70"/>
                <a:gd name="T43" fmla="*/ 10624 h 65"/>
                <a:gd name="T44" fmla="*/ 2903 w 70"/>
                <a:gd name="T45" fmla="*/ 10624 h 6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0" h="65">
                  <a:moveTo>
                    <a:pt x="56" y="64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7" y="27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9" y="27"/>
                  </a:lnTo>
                  <a:lnTo>
                    <a:pt x="50" y="40"/>
                  </a:lnTo>
                  <a:lnTo>
                    <a:pt x="56" y="64"/>
                  </a:lnTo>
                  <a:close/>
                  <a:moveTo>
                    <a:pt x="8" y="29"/>
                  </a:moveTo>
                  <a:lnTo>
                    <a:pt x="24" y="40"/>
                  </a:lnTo>
                  <a:lnTo>
                    <a:pt x="19" y="58"/>
                  </a:lnTo>
                  <a:lnTo>
                    <a:pt x="35" y="43"/>
                  </a:lnTo>
                  <a:lnTo>
                    <a:pt x="50" y="56"/>
                  </a:lnTo>
                  <a:lnTo>
                    <a:pt x="45" y="40"/>
                  </a:lnTo>
                  <a:lnTo>
                    <a:pt x="58" y="29"/>
                  </a:lnTo>
                  <a:lnTo>
                    <a:pt x="40" y="29"/>
                  </a:lnTo>
                  <a:lnTo>
                    <a:pt x="35" y="8"/>
                  </a:lnTo>
                  <a:lnTo>
                    <a:pt x="27" y="29"/>
                  </a:lnTo>
                  <a:lnTo>
                    <a:pt x="8" y="2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148">
              <a:extLst>
                <a:ext uri="{FF2B5EF4-FFF2-40B4-BE49-F238E27FC236}">
                  <a16:creationId xmlns:a16="http://schemas.microsoft.com/office/drawing/2014/main" id="{27370DFD-33D4-F94E-8A89-89F51DC77E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475" y="4498975"/>
              <a:ext cx="22225" cy="20638"/>
            </a:xfrm>
            <a:custGeom>
              <a:avLst/>
              <a:gdLst>
                <a:gd name="T0" fmla="*/ 10742 w 60"/>
                <a:gd name="T1" fmla="*/ 0 h 59"/>
                <a:gd name="T2" fmla="*/ 14817 w 60"/>
                <a:gd name="T3" fmla="*/ 8395 h 59"/>
                <a:gd name="T4" fmla="*/ 21855 w 60"/>
                <a:gd name="T5" fmla="*/ 8395 h 59"/>
                <a:gd name="T6" fmla="*/ 15928 w 60"/>
                <a:gd name="T7" fmla="*/ 12942 h 59"/>
                <a:gd name="T8" fmla="*/ 17780 w 60"/>
                <a:gd name="T9" fmla="*/ 19589 h 59"/>
                <a:gd name="T10" fmla="*/ 10742 w 60"/>
                <a:gd name="T11" fmla="*/ 13992 h 59"/>
                <a:gd name="T12" fmla="*/ 4075 w 60"/>
                <a:gd name="T13" fmla="*/ 20288 h 59"/>
                <a:gd name="T14" fmla="*/ 7038 w 60"/>
                <a:gd name="T15" fmla="*/ 12942 h 59"/>
                <a:gd name="T16" fmla="*/ 0 w 60"/>
                <a:gd name="T17" fmla="*/ 8395 h 59"/>
                <a:gd name="T18" fmla="*/ 8149 w 60"/>
                <a:gd name="T19" fmla="*/ 8395 h 59"/>
                <a:gd name="T20" fmla="*/ 10742 w 60"/>
                <a:gd name="T21" fmla="*/ 0 h 5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9">
                  <a:moveTo>
                    <a:pt x="29" y="0"/>
                  </a:moveTo>
                  <a:lnTo>
                    <a:pt x="40" y="24"/>
                  </a:lnTo>
                  <a:lnTo>
                    <a:pt x="59" y="24"/>
                  </a:lnTo>
                  <a:lnTo>
                    <a:pt x="43" y="37"/>
                  </a:lnTo>
                  <a:lnTo>
                    <a:pt x="48" y="56"/>
                  </a:lnTo>
                  <a:lnTo>
                    <a:pt x="29" y="40"/>
                  </a:lnTo>
                  <a:lnTo>
                    <a:pt x="11" y="58"/>
                  </a:lnTo>
                  <a:lnTo>
                    <a:pt x="19" y="37"/>
                  </a:lnTo>
                  <a:lnTo>
                    <a:pt x="0" y="24"/>
                  </a:lnTo>
                  <a:lnTo>
                    <a:pt x="22" y="24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149">
              <a:extLst>
                <a:ext uri="{FF2B5EF4-FFF2-40B4-BE49-F238E27FC236}">
                  <a16:creationId xmlns:a16="http://schemas.microsoft.com/office/drawing/2014/main" id="{114E5DCD-8DC1-E64A-9854-9AAB27731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888" y="4498975"/>
              <a:ext cx="25400" cy="22225"/>
            </a:xfrm>
            <a:custGeom>
              <a:avLst/>
              <a:gdLst>
                <a:gd name="T0" fmla="*/ 20320 w 70"/>
                <a:gd name="T1" fmla="*/ 21867 h 62"/>
                <a:gd name="T2" fmla="*/ 12337 w 70"/>
                <a:gd name="T3" fmla="*/ 15414 h 62"/>
                <a:gd name="T4" fmla="*/ 5806 w 70"/>
                <a:gd name="T5" fmla="*/ 21867 h 62"/>
                <a:gd name="T6" fmla="*/ 4717 w 70"/>
                <a:gd name="T7" fmla="*/ 21867 h 62"/>
                <a:gd name="T8" fmla="*/ 7620 w 70"/>
                <a:gd name="T9" fmla="*/ 14339 h 62"/>
                <a:gd name="T10" fmla="*/ 0 w 70"/>
                <a:gd name="T11" fmla="*/ 9679 h 62"/>
                <a:gd name="T12" fmla="*/ 2903 w 70"/>
                <a:gd name="T13" fmla="*/ 9679 h 62"/>
                <a:gd name="T14" fmla="*/ 9071 w 70"/>
                <a:gd name="T15" fmla="*/ 9679 h 62"/>
                <a:gd name="T16" fmla="*/ 8709 w 70"/>
                <a:gd name="T17" fmla="*/ 10396 h 62"/>
                <a:gd name="T18" fmla="*/ 2903 w 70"/>
                <a:gd name="T19" fmla="*/ 9679 h 62"/>
                <a:gd name="T20" fmla="*/ 8709 w 70"/>
                <a:gd name="T21" fmla="*/ 13263 h 62"/>
                <a:gd name="T22" fmla="*/ 6894 w 70"/>
                <a:gd name="T23" fmla="*/ 20074 h 62"/>
                <a:gd name="T24" fmla="*/ 12337 w 70"/>
                <a:gd name="T25" fmla="*/ 14339 h 62"/>
                <a:gd name="T26" fmla="*/ 18143 w 70"/>
                <a:gd name="T27" fmla="*/ 20074 h 62"/>
                <a:gd name="T28" fmla="*/ 16329 w 70"/>
                <a:gd name="T29" fmla="*/ 14339 h 62"/>
                <a:gd name="T30" fmla="*/ 21046 w 70"/>
                <a:gd name="T31" fmla="*/ 10396 h 62"/>
                <a:gd name="T32" fmla="*/ 14514 w 70"/>
                <a:gd name="T33" fmla="*/ 10396 h 62"/>
                <a:gd name="T34" fmla="*/ 11974 w 70"/>
                <a:gd name="T35" fmla="*/ 3943 h 62"/>
                <a:gd name="T36" fmla="*/ 13426 w 70"/>
                <a:gd name="T37" fmla="*/ 0 h 62"/>
                <a:gd name="T38" fmla="*/ 16329 w 70"/>
                <a:gd name="T39" fmla="*/ 8603 h 62"/>
                <a:gd name="T40" fmla="*/ 25037 w 70"/>
                <a:gd name="T41" fmla="*/ 8603 h 62"/>
                <a:gd name="T42" fmla="*/ 18143 w 70"/>
                <a:gd name="T43" fmla="*/ 13263 h 62"/>
                <a:gd name="T44" fmla="*/ 20320 w 70"/>
                <a:gd name="T45" fmla="*/ 21867 h 62"/>
                <a:gd name="T46" fmla="*/ 9797 w 70"/>
                <a:gd name="T47" fmla="*/ 9679 h 62"/>
                <a:gd name="T48" fmla="*/ 11974 w 70"/>
                <a:gd name="T49" fmla="*/ 3943 h 62"/>
                <a:gd name="T50" fmla="*/ 11611 w 70"/>
                <a:gd name="T51" fmla="*/ 2868 h 62"/>
                <a:gd name="T52" fmla="*/ 9071 w 70"/>
                <a:gd name="T53" fmla="*/ 9679 h 62"/>
                <a:gd name="T54" fmla="*/ 9797 w 70"/>
                <a:gd name="T55" fmla="*/ 9679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0" h="62">
                  <a:moveTo>
                    <a:pt x="56" y="61"/>
                  </a:moveTo>
                  <a:lnTo>
                    <a:pt x="34" y="43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8" y="27"/>
                  </a:lnTo>
                  <a:lnTo>
                    <a:pt x="25" y="27"/>
                  </a:lnTo>
                  <a:lnTo>
                    <a:pt x="24" y="29"/>
                  </a:lnTo>
                  <a:lnTo>
                    <a:pt x="8" y="27"/>
                  </a:lnTo>
                  <a:lnTo>
                    <a:pt x="24" y="37"/>
                  </a:lnTo>
                  <a:lnTo>
                    <a:pt x="19" y="56"/>
                  </a:lnTo>
                  <a:lnTo>
                    <a:pt x="34" y="40"/>
                  </a:lnTo>
                  <a:lnTo>
                    <a:pt x="50" y="56"/>
                  </a:lnTo>
                  <a:lnTo>
                    <a:pt x="45" y="40"/>
                  </a:lnTo>
                  <a:lnTo>
                    <a:pt x="58" y="29"/>
                  </a:lnTo>
                  <a:lnTo>
                    <a:pt x="40" y="29"/>
                  </a:lnTo>
                  <a:lnTo>
                    <a:pt x="33" y="11"/>
                  </a:lnTo>
                  <a:lnTo>
                    <a:pt x="37" y="0"/>
                  </a:lnTo>
                  <a:lnTo>
                    <a:pt x="45" y="24"/>
                  </a:lnTo>
                  <a:lnTo>
                    <a:pt x="69" y="24"/>
                  </a:lnTo>
                  <a:lnTo>
                    <a:pt x="50" y="37"/>
                  </a:lnTo>
                  <a:lnTo>
                    <a:pt x="56" y="61"/>
                  </a:lnTo>
                  <a:close/>
                  <a:moveTo>
                    <a:pt x="27" y="27"/>
                  </a:moveTo>
                  <a:lnTo>
                    <a:pt x="33" y="11"/>
                  </a:lnTo>
                  <a:lnTo>
                    <a:pt x="32" y="8"/>
                  </a:lnTo>
                  <a:lnTo>
                    <a:pt x="25" y="27"/>
                  </a:lnTo>
                  <a:lnTo>
                    <a:pt x="27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50">
              <a:extLst>
                <a:ext uri="{FF2B5EF4-FFF2-40B4-BE49-F238E27FC236}">
                  <a16:creationId xmlns:a16="http://schemas.microsoft.com/office/drawing/2014/main" id="{E6C08CDD-8CA5-FD47-986F-3778145D1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648200"/>
              <a:ext cx="31750" cy="31750"/>
            </a:xfrm>
            <a:custGeom>
              <a:avLst/>
              <a:gdLst>
                <a:gd name="T0" fmla="*/ 27469 w 89"/>
                <a:gd name="T1" fmla="*/ 10463 h 88"/>
                <a:gd name="T2" fmla="*/ 31393 w 89"/>
                <a:gd name="T3" fmla="*/ 13349 h 88"/>
                <a:gd name="T4" fmla="*/ 14270 w 89"/>
                <a:gd name="T5" fmla="*/ 31389 h 88"/>
                <a:gd name="T6" fmla="*/ 10346 w 89"/>
                <a:gd name="T7" fmla="*/ 27781 h 88"/>
                <a:gd name="T8" fmla="*/ 15340 w 89"/>
                <a:gd name="T9" fmla="*/ 8659 h 88"/>
                <a:gd name="T10" fmla="*/ 15340 w 89"/>
                <a:gd name="T11" fmla="*/ 8659 h 88"/>
                <a:gd name="T12" fmla="*/ 3924 w 89"/>
                <a:gd name="T13" fmla="*/ 20926 h 88"/>
                <a:gd name="T14" fmla="*/ 0 w 89"/>
                <a:gd name="T15" fmla="*/ 18040 h 88"/>
                <a:gd name="T16" fmla="*/ 17124 w 89"/>
                <a:gd name="T17" fmla="*/ 0 h 88"/>
                <a:gd name="T18" fmla="*/ 21048 w 89"/>
                <a:gd name="T19" fmla="*/ 3969 h 88"/>
                <a:gd name="T20" fmla="*/ 16053 w 89"/>
                <a:gd name="T21" fmla="*/ 22730 h 88"/>
                <a:gd name="T22" fmla="*/ 16053 w 89"/>
                <a:gd name="T23" fmla="*/ 22730 h 88"/>
                <a:gd name="T24" fmla="*/ 27469 w 89"/>
                <a:gd name="T25" fmla="*/ 10463 h 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9" h="88">
                  <a:moveTo>
                    <a:pt x="77" y="29"/>
                  </a:moveTo>
                  <a:lnTo>
                    <a:pt x="88" y="37"/>
                  </a:lnTo>
                  <a:lnTo>
                    <a:pt x="40" y="87"/>
                  </a:lnTo>
                  <a:lnTo>
                    <a:pt x="29" y="77"/>
                  </a:lnTo>
                  <a:lnTo>
                    <a:pt x="43" y="24"/>
                  </a:lnTo>
                  <a:lnTo>
                    <a:pt x="11" y="58"/>
                  </a:lnTo>
                  <a:lnTo>
                    <a:pt x="0" y="50"/>
                  </a:lnTo>
                  <a:lnTo>
                    <a:pt x="48" y="0"/>
                  </a:lnTo>
                  <a:lnTo>
                    <a:pt x="59" y="11"/>
                  </a:lnTo>
                  <a:lnTo>
                    <a:pt x="45" y="63"/>
                  </a:lnTo>
                  <a:lnTo>
                    <a:pt x="77" y="2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51">
              <a:extLst>
                <a:ext uri="{FF2B5EF4-FFF2-40B4-BE49-F238E27FC236}">
                  <a16:creationId xmlns:a16="http://schemas.microsoft.com/office/drawing/2014/main" id="{D6A87D3D-51D8-0745-AA58-8A6901E2A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4410075"/>
              <a:ext cx="23812" cy="25400"/>
            </a:xfrm>
            <a:custGeom>
              <a:avLst/>
              <a:gdLst>
                <a:gd name="T0" fmla="*/ 5603 w 68"/>
                <a:gd name="T1" fmla="*/ 23283 h 72"/>
                <a:gd name="T2" fmla="*/ 0 w 68"/>
                <a:gd name="T3" fmla="*/ 22225 h 72"/>
                <a:gd name="T4" fmla="*/ 11206 w 68"/>
                <a:gd name="T5" fmla="*/ 0 h 72"/>
                <a:gd name="T6" fmla="*/ 16808 w 68"/>
                <a:gd name="T7" fmla="*/ 706 h 72"/>
                <a:gd name="T8" fmla="*/ 23462 w 68"/>
                <a:gd name="T9" fmla="*/ 25047 h 72"/>
                <a:gd name="T10" fmla="*/ 17859 w 68"/>
                <a:gd name="T11" fmla="*/ 23989 h 72"/>
                <a:gd name="T12" fmla="*/ 16808 w 68"/>
                <a:gd name="T13" fmla="*/ 19403 h 72"/>
                <a:gd name="T14" fmla="*/ 7704 w 68"/>
                <a:gd name="T15" fmla="*/ 18697 h 72"/>
                <a:gd name="T16" fmla="*/ 5603 w 68"/>
                <a:gd name="T17" fmla="*/ 23283 h 72"/>
                <a:gd name="T18" fmla="*/ 9455 w 68"/>
                <a:gd name="T19" fmla="*/ 14817 h 72"/>
                <a:gd name="T20" fmla="*/ 15758 w 68"/>
                <a:gd name="T21" fmla="*/ 15875 h 72"/>
                <a:gd name="T22" fmla="*/ 14007 w 68"/>
                <a:gd name="T23" fmla="*/ 6350 h 72"/>
                <a:gd name="T24" fmla="*/ 14007 w 68"/>
                <a:gd name="T25" fmla="*/ 6350 h 72"/>
                <a:gd name="T26" fmla="*/ 9455 w 68"/>
                <a:gd name="T27" fmla="*/ 14817 h 7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8" h="72">
                  <a:moveTo>
                    <a:pt x="16" y="66"/>
                  </a:moveTo>
                  <a:lnTo>
                    <a:pt x="0" y="63"/>
                  </a:lnTo>
                  <a:lnTo>
                    <a:pt x="32" y="0"/>
                  </a:lnTo>
                  <a:lnTo>
                    <a:pt x="48" y="2"/>
                  </a:lnTo>
                  <a:lnTo>
                    <a:pt x="67" y="71"/>
                  </a:lnTo>
                  <a:lnTo>
                    <a:pt x="51" y="68"/>
                  </a:lnTo>
                  <a:lnTo>
                    <a:pt x="48" y="55"/>
                  </a:lnTo>
                  <a:lnTo>
                    <a:pt x="22" y="53"/>
                  </a:lnTo>
                  <a:lnTo>
                    <a:pt x="16" y="66"/>
                  </a:lnTo>
                  <a:close/>
                  <a:moveTo>
                    <a:pt x="27" y="42"/>
                  </a:moveTo>
                  <a:lnTo>
                    <a:pt x="45" y="45"/>
                  </a:lnTo>
                  <a:lnTo>
                    <a:pt x="40" y="18"/>
                  </a:lnTo>
                  <a:lnTo>
                    <a:pt x="27" y="4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52">
              <a:extLst>
                <a:ext uri="{FF2B5EF4-FFF2-40B4-BE49-F238E27FC236}">
                  <a16:creationId xmlns:a16="http://schemas.microsoft.com/office/drawing/2014/main" id="{D0E1C3D9-F22C-B945-8653-46C081B5DD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0575" y="4414838"/>
              <a:ext cx="19050" cy="28575"/>
            </a:xfrm>
            <a:custGeom>
              <a:avLst/>
              <a:gdLst>
                <a:gd name="T0" fmla="*/ 5976 w 51"/>
                <a:gd name="T1" fmla="*/ 19645 h 80"/>
                <a:gd name="T2" fmla="*/ 18676 w 51"/>
                <a:gd name="T3" fmla="*/ 23574 h 80"/>
                <a:gd name="T4" fmla="*/ 16809 w 51"/>
                <a:gd name="T5" fmla="*/ 28218 h 80"/>
                <a:gd name="T6" fmla="*/ 0 w 51"/>
                <a:gd name="T7" fmla="*/ 22503 h 80"/>
                <a:gd name="T8" fmla="*/ 7844 w 51"/>
                <a:gd name="T9" fmla="*/ 0 h 80"/>
                <a:gd name="T10" fmla="*/ 12700 w 51"/>
                <a:gd name="T11" fmla="*/ 1786 h 80"/>
                <a:gd name="T12" fmla="*/ 5976 w 51"/>
                <a:gd name="T13" fmla="*/ 19645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1" h="80">
                  <a:moveTo>
                    <a:pt x="16" y="55"/>
                  </a:moveTo>
                  <a:lnTo>
                    <a:pt x="50" y="66"/>
                  </a:lnTo>
                  <a:lnTo>
                    <a:pt x="45" y="79"/>
                  </a:lnTo>
                  <a:lnTo>
                    <a:pt x="0" y="63"/>
                  </a:lnTo>
                  <a:lnTo>
                    <a:pt x="21" y="0"/>
                  </a:lnTo>
                  <a:lnTo>
                    <a:pt x="34" y="5"/>
                  </a:lnTo>
                  <a:lnTo>
                    <a:pt x="16" y="5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153">
              <a:extLst>
                <a:ext uri="{FF2B5EF4-FFF2-40B4-BE49-F238E27FC236}">
                  <a16:creationId xmlns:a16="http://schemas.microsoft.com/office/drawing/2014/main" id="{0A6ECF28-5561-AC46-8B86-5705A8E64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5975" y="4427538"/>
              <a:ext cx="26988" cy="30162"/>
            </a:xfrm>
            <a:custGeom>
              <a:avLst/>
              <a:gdLst>
                <a:gd name="T0" fmla="*/ 17525 w 77"/>
                <a:gd name="T1" fmla="*/ 23984 h 83"/>
                <a:gd name="T2" fmla="*/ 4556 w 77"/>
                <a:gd name="T3" fmla="*/ 25801 h 83"/>
                <a:gd name="T4" fmla="*/ 0 w 77"/>
                <a:gd name="T5" fmla="*/ 19260 h 83"/>
                <a:gd name="T6" fmla="*/ 1752 w 77"/>
                <a:gd name="T7" fmla="*/ 13446 h 83"/>
                <a:gd name="T8" fmla="*/ 10164 w 77"/>
                <a:gd name="T9" fmla="*/ 0 h 83"/>
                <a:gd name="T10" fmla="*/ 14721 w 77"/>
                <a:gd name="T11" fmla="*/ 2907 h 83"/>
                <a:gd name="T12" fmla="*/ 6309 w 77"/>
                <a:gd name="T13" fmla="*/ 16353 h 83"/>
                <a:gd name="T14" fmla="*/ 7360 w 77"/>
                <a:gd name="T15" fmla="*/ 22894 h 83"/>
                <a:gd name="T16" fmla="*/ 13669 w 77"/>
                <a:gd name="T17" fmla="*/ 21804 h 83"/>
                <a:gd name="T18" fmla="*/ 22081 w 77"/>
                <a:gd name="T19" fmla="*/ 8358 h 83"/>
                <a:gd name="T20" fmla="*/ 26638 w 77"/>
                <a:gd name="T21" fmla="*/ 11265 h 83"/>
                <a:gd name="T22" fmla="*/ 17525 w 77"/>
                <a:gd name="T23" fmla="*/ 23984 h 8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7" h="83">
                  <a:moveTo>
                    <a:pt x="50" y="66"/>
                  </a:moveTo>
                  <a:cubicBezTo>
                    <a:pt x="39" y="82"/>
                    <a:pt x="26" y="82"/>
                    <a:pt x="13" y="71"/>
                  </a:cubicBezTo>
                  <a:cubicBezTo>
                    <a:pt x="8" y="68"/>
                    <a:pt x="0" y="60"/>
                    <a:pt x="0" y="53"/>
                  </a:cubicBezTo>
                  <a:cubicBezTo>
                    <a:pt x="0" y="47"/>
                    <a:pt x="0" y="42"/>
                    <a:pt x="5" y="37"/>
                  </a:cubicBezTo>
                  <a:lnTo>
                    <a:pt x="29" y="0"/>
                  </a:lnTo>
                  <a:lnTo>
                    <a:pt x="42" y="8"/>
                  </a:lnTo>
                  <a:lnTo>
                    <a:pt x="18" y="45"/>
                  </a:lnTo>
                  <a:cubicBezTo>
                    <a:pt x="13" y="53"/>
                    <a:pt x="15" y="58"/>
                    <a:pt x="21" y="63"/>
                  </a:cubicBezTo>
                  <a:cubicBezTo>
                    <a:pt x="29" y="68"/>
                    <a:pt x="34" y="66"/>
                    <a:pt x="39" y="60"/>
                  </a:cubicBezTo>
                  <a:lnTo>
                    <a:pt x="63" y="23"/>
                  </a:lnTo>
                  <a:lnTo>
                    <a:pt x="76" y="31"/>
                  </a:lnTo>
                  <a:lnTo>
                    <a:pt x="50" y="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Freeform 154">
              <a:extLst>
                <a:ext uri="{FF2B5EF4-FFF2-40B4-BE49-F238E27FC236}">
                  <a16:creationId xmlns:a16="http://schemas.microsoft.com/office/drawing/2014/main" id="{D61348C4-9D40-5A47-BB28-90C2A2B10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1375" y="4443413"/>
              <a:ext cx="26988" cy="26987"/>
            </a:xfrm>
            <a:custGeom>
              <a:avLst/>
              <a:gdLst>
                <a:gd name="T0" fmla="*/ 4067 w 73"/>
                <a:gd name="T1" fmla="*/ 26627 h 75"/>
                <a:gd name="T2" fmla="*/ 0 w 73"/>
                <a:gd name="T3" fmla="*/ 23749 h 75"/>
                <a:gd name="T4" fmla="*/ 12570 w 73"/>
                <a:gd name="T5" fmla="*/ 8276 h 75"/>
                <a:gd name="T6" fmla="*/ 7024 w 73"/>
                <a:gd name="T7" fmla="*/ 3598 h 75"/>
                <a:gd name="T8" fmla="*/ 9982 w 73"/>
                <a:gd name="T9" fmla="*/ 0 h 75"/>
                <a:gd name="T10" fmla="*/ 26618 w 73"/>
                <a:gd name="T11" fmla="*/ 13314 h 75"/>
                <a:gd name="T12" fmla="*/ 23661 w 73"/>
                <a:gd name="T13" fmla="*/ 16192 h 75"/>
                <a:gd name="T14" fmla="*/ 17746 w 73"/>
                <a:gd name="T15" fmla="*/ 11155 h 75"/>
                <a:gd name="T16" fmla="*/ 4067 w 73"/>
                <a:gd name="T17" fmla="*/ 26627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3" h="75">
                  <a:moveTo>
                    <a:pt x="11" y="74"/>
                  </a:moveTo>
                  <a:lnTo>
                    <a:pt x="0" y="66"/>
                  </a:lnTo>
                  <a:lnTo>
                    <a:pt x="34" y="23"/>
                  </a:lnTo>
                  <a:lnTo>
                    <a:pt x="19" y="10"/>
                  </a:lnTo>
                  <a:lnTo>
                    <a:pt x="27" y="0"/>
                  </a:lnTo>
                  <a:lnTo>
                    <a:pt x="72" y="37"/>
                  </a:lnTo>
                  <a:lnTo>
                    <a:pt x="64" y="45"/>
                  </a:lnTo>
                  <a:lnTo>
                    <a:pt x="48" y="31"/>
                  </a:lnTo>
                  <a:lnTo>
                    <a:pt x="11" y="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Freeform 155">
              <a:extLst>
                <a:ext uri="{FF2B5EF4-FFF2-40B4-BE49-F238E27FC236}">
                  <a16:creationId xmlns:a16="http://schemas.microsoft.com/office/drawing/2014/main" id="{55634FBB-B077-1D4B-B145-01E96F8D9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250" y="4410075"/>
              <a:ext cx="23813" cy="28575"/>
            </a:xfrm>
            <a:custGeom>
              <a:avLst/>
              <a:gdLst>
                <a:gd name="T0" fmla="*/ 5581 w 64"/>
                <a:gd name="T1" fmla="*/ 17859 h 80"/>
                <a:gd name="T2" fmla="*/ 11534 w 64"/>
                <a:gd name="T3" fmla="*/ 20717 h 80"/>
                <a:gd name="T4" fmla="*/ 16744 w 64"/>
                <a:gd name="T5" fmla="*/ 16788 h 80"/>
                <a:gd name="T6" fmla="*/ 11534 w 64"/>
                <a:gd name="T7" fmla="*/ 15002 h 80"/>
                <a:gd name="T8" fmla="*/ 8558 w 64"/>
                <a:gd name="T9" fmla="*/ 15002 h 80"/>
                <a:gd name="T10" fmla="*/ 0 w 64"/>
                <a:gd name="T11" fmla="*/ 9287 h 80"/>
                <a:gd name="T12" fmla="*/ 8558 w 64"/>
                <a:gd name="T13" fmla="*/ 714 h 80"/>
                <a:gd name="T14" fmla="*/ 19720 w 64"/>
                <a:gd name="T15" fmla="*/ 7501 h 80"/>
                <a:gd name="T16" fmla="*/ 14511 w 64"/>
                <a:gd name="T17" fmla="*/ 8215 h 80"/>
                <a:gd name="T18" fmla="*/ 8558 w 64"/>
                <a:gd name="T19" fmla="*/ 5358 h 80"/>
                <a:gd name="T20" fmla="*/ 4837 w 64"/>
                <a:gd name="T21" fmla="*/ 9287 h 80"/>
                <a:gd name="T22" fmla="*/ 7814 w 64"/>
                <a:gd name="T23" fmla="*/ 11073 h 80"/>
                <a:gd name="T24" fmla="*/ 14511 w 64"/>
                <a:gd name="T25" fmla="*/ 12144 h 80"/>
                <a:gd name="T26" fmla="*/ 22697 w 64"/>
                <a:gd name="T27" fmla="*/ 17859 h 80"/>
                <a:gd name="T28" fmla="*/ 13767 w 64"/>
                <a:gd name="T29" fmla="*/ 27146 h 80"/>
                <a:gd name="T30" fmla="*/ 1860 w 64"/>
                <a:gd name="T31" fmla="*/ 20717 h 80"/>
                <a:gd name="T32" fmla="*/ 5581 w 64"/>
                <a:gd name="T33" fmla="*/ 17859 h 8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4" h="80">
                  <a:moveTo>
                    <a:pt x="15" y="50"/>
                  </a:moveTo>
                  <a:cubicBezTo>
                    <a:pt x="15" y="53"/>
                    <a:pt x="18" y="60"/>
                    <a:pt x="31" y="58"/>
                  </a:cubicBezTo>
                  <a:cubicBezTo>
                    <a:pt x="39" y="58"/>
                    <a:pt x="45" y="55"/>
                    <a:pt x="45" y="47"/>
                  </a:cubicBezTo>
                  <a:cubicBezTo>
                    <a:pt x="45" y="42"/>
                    <a:pt x="39" y="42"/>
                    <a:pt x="31" y="42"/>
                  </a:cubicBezTo>
                  <a:lnTo>
                    <a:pt x="23" y="42"/>
                  </a:lnTo>
                  <a:cubicBezTo>
                    <a:pt x="13" y="42"/>
                    <a:pt x="2" y="39"/>
                    <a:pt x="0" y="26"/>
                  </a:cubicBezTo>
                  <a:cubicBezTo>
                    <a:pt x="0" y="18"/>
                    <a:pt x="0" y="5"/>
                    <a:pt x="23" y="2"/>
                  </a:cubicBezTo>
                  <a:cubicBezTo>
                    <a:pt x="45" y="0"/>
                    <a:pt x="53" y="13"/>
                    <a:pt x="53" y="21"/>
                  </a:cubicBezTo>
                  <a:lnTo>
                    <a:pt x="39" y="23"/>
                  </a:lnTo>
                  <a:cubicBezTo>
                    <a:pt x="39" y="21"/>
                    <a:pt x="37" y="13"/>
                    <a:pt x="23" y="15"/>
                  </a:cubicBezTo>
                  <a:cubicBezTo>
                    <a:pt x="18" y="15"/>
                    <a:pt x="13" y="18"/>
                    <a:pt x="13" y="26"/>
                  </a:cubicBezTo>
                  <a:cubicBezTo>
                    <a:pt x="13" y="31"/>
                    <a:pt x="18" y="31"/>
                    <a:pt x="21" y="31"/>
                  </a:cubicBezTo>
                  <a:lnTo>
                    <a:pt x="39" y="34"/>
                  </a:lnTo>
                  <a:cubicBezTo>
                    <a:pt x="50" y="34"/>
                    <a:pt x="58" y="37"/>
                    <a:pt x="61" y="50"/>
                  </a:cubicBezTo>
                  <a:cubicBezTo>
                    <a:pt x="63" y="71"/>
                    <a:pt x="42" y="74"/>
                    <a:pt x="37" y="76"/>
                  </a:cubicBezTo>
                  <a:cubicBezTo>
                    <a:pt x="13" y="79"/>
                    <a:pt x="5" y="66"/>
                    <a:pt x="5" y="58"/>
                  </a:cubicBezTo>
                  <a:lnTo>
                    <a:pt x="15" y="5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Freeform 156">
              <a:extLst>
                <a:ext uri="{FF2B5EF4-FFF2-40B4-BE49-F238E27FC236}">
                  <a16:creationId xmlns:a16="http://schemas.microsoft.com/office/drawing/2014/main" id="{76110C54-BF0F-6E4C-A78A-CE94B33706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9925" y="4425950"/>
              <a:ext cx="31750" cy="31750"/>
            </a:xfrm>
            <a:custGeom>
              <a:avLst/>
              <a:gdLst>
                <a:gd name="T0" fmla="*/ 25616 w 88"/>
                <a:gd name="T1" fmla="*/ 9599 h 86"/>
                <a:gd name="T2" fmla="*/ 20926 w 88"/>
                <a:gd name="T3" fmla="*/ 27320 h 86"/>
                <a:gd name="T4" fmla="*/ 4690 w 88"/>
                <a:gd name="T5" fmla="*/ 21413 h 86"/>
                <a:gd name="T6" fmla="*/ 9381 w 88"/>
                <a:gd name="T7" fmla="*/ 4061 h 86"/>
                <a:gd name="T8" fmla="*/ 25616 w 88"/>
                <a:gd name="T9" fmla="*/ 9599 h 86"/>
                <a:gd name="T10" fmla="*/ 22009 w 88"/>
                <a:gd name="T11" fmla="*/ 12552 h 86"/>
                <a:gd name="T12" fmla="*/ 12267 w 88"/>
                <a:gd name="T13" fmla="*/ 7753 h 86"/>
                <a:gd name="T14" fmla="*/ 10463 w 88"/>
                <a:gd name="T15" fmla="*/ 18459 h 86"/>
                <a:gd name="T16" fmla="*/ 19844 w 88"/>
                <a:gd name="T17" fmla="*/ 23259 h 86"/>
                <a:gd name="T18" fmla="*/ 22009 w 88"/>
                <a:gd name="T19" fmla="*/ 12552 h 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8" h="86">
                  <a:moveTo>
                    <a:pt x="71" y="26"/>
                  </a:moveTo>
                  <a:cubicBezTo>
                    <a:pt x="87" y="56"/>
                    <a:pt x="66" y="69"/>
                    <a:pt x="58" y="74"/>
                  </a:cubicBezTo>
                  <a:cubicBezTo>
                    <a:pt x="50" y="79"/>
                    <a:pt x="26" y="85"/>
                    <a:pt x="13" y="58"/>
                  </a:cubicBezTo>
                  <a:cubicBezTo>
                    <a:pt x="0" y="29"/>
                    <a:pt x="18" y="13"/>
                    <a:pt x="26" y="11"/>
                  </a:cubicBezTo>
                  <a:cubicBezTo>
                    <a:pt x="34" y="5"/>
                    <a:pt x="58" y="0"/>
                    <a:pt x="71" y="26"/>
                  </a:cubicBezTo>
                  <a:close/>
                  <a:moveTo>
                    <a:pt x="61" y="34"/>
                  </a:moveTo>
                  <a:cubicBezTo>
                    <a:pt x="53" y="18"/>
                    <a:pt x="40" y="18"/>
                    <a:pt x="34" y="21"/>
                  </a:cubicBezTo>
                  <a:cubicBezTo>
                    <a:pt x="26" y="24"/>
                    <a:pt x="21" y="34"/>
                    <a:pt x="29" y="50"/>
                  </a:cubicBezTo>
                  <a:cubicBezTo>
                    <a:pt x="37" y="66"/>
                    <a:pt x="47" y="66"/>
                    <a:pt x="55" y="63"/>
                  </a:cubicBezTo>
                  <a:cubicBezTo>
                    <a:pt x="63" y="61"/>
                    <a:pt x="69" y="50"/>
                    <a:pt x="61" y="3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Freeform 157">
              <a:extLst>
                <a:ext uri="{FF2B5EF4-FFF2-40B4-BE49-F238E27FC236}">
                  <a16:creationId xmlns:a16="http://schemas.microsoft.com/office/drawing/2014/main" id="{B7E73EBD-6422-8649-B88C-A0FFC4A6E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446588"/>
              <a:ext cx="31750" cy="30162"/>
            </a:xfrm>
            <a:custGeom>
              <a:avLst/>
              <a:gdLst>
                <a:gd name="T0" fmla="*/ 0 w 89"/>
                <a:gd name="T1" fmla="*/ 13129 h 85"/>
                <a:gd name="T2" fmla="*/ 8562 w 89"/>
                <a:gd name="T3" fmla="*/ 4613 h 85"/>
                <a:gd name="T4" fmla="*/ 18907 w 89"/>
                <a:gd name="T5" fmla="*/ 3548 h 85"/>
                <a:gd name="T6" fmla="*/ 21048 w 89"/>
                <a:gd name="T7" fmla="*/ 10291 h 85"/>
                <a:gd name="T8" fmla="*/ 27469 w 89"/>
                <a:gd name="T9" fmla="*/ 12065 h 85"/>
                <a:gd name="T10" fmla="*/ 31393 w 89"/>
                <a:gd name="T11" fmla="*/ 14904 h 85"/>
                <a:gd name="T12" fmla="*/ 31393 w 89"/>
                <a:gd name="T13" fmla="*/ 14904 h 85"/>
                <a:gd name="T14" fmla="*/ 27469 w 89"/>
                <a:gd name="T15" fmla="*/ 18807 h 85"/>
                <a:gd name="T16" fmla="*/ 23545 w 89"/>
                <a:gd name="T17" fmla="*/ 15968 h 85"/>
                <a:gd name="T18" fmla="*/ 18194 w 89"/>
                <a:gd name="T19" fmla="*/ 15968 h 85"/>
                <a:gd name="T20" fmla="*/ 14270 w 89"/>
                <a:gd name="T21" fmla="*/ 19517 h 85"/>
                <a:gd name="T22" fmla="*/ 21048 w 89"/>
                <a:gd name="T23" fmla="*/ 26259 h 85"/>
                <a:gd name="T24" fmla="*/ 17124 w 89"/>
                <a:gd name="T25" fmla="*/ 29807 h 85"/>
                <a:gd name="T26" fmla="*/ 0 w 89"/>
                <a:gd name="T27" fmla="*/ 13129 h 85"/>
                <a:gd name="T28" fmla="*/ 15340 w 89"/>
                <a:gd name="T29" fmla="*/ 12065 h 85"/>
                <a:gd name="T30" fmla="*/ 15340 w 89"/>
                <a:gd name="T31" fmla="*/ 7452 h 85"/>
                <a:gd name="T32" fmla="*/ 10346 w 89"/>
                <a:gd name="T33" fmla="*/ 7452 h 85"/>
                <a:gd name="T34" fmla="*/ 5708 w 89"/>
                <a:gd name="T35" fmla="*/ 12065 h 85"/>
                <a:gd name="T36" fmla="*/ 10346 w 89"/>
                <a:gd name="T37" fmla="*/ 16678 h 85"/>
                <a:gd name="T38" fmla="*/ 15340 w 89"/>
                <a:gd name="T39" fmla="*/ 12065 h 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9" h="85">
                  <a:moveTo>
                    <a:pt x="0" y="37"/>
                  </a:moveTo>
                  <a:lnTo>
                    <a:pt x="24" y="13"/>
                  </a:lnTo>
                  <a:cubicBezTo>
                    <a:pt x="37" y="0"/>
                    <a:pt x="48" y="7"/>
                    <a:pt x="53" y="10"/>
                  </a:cubicBezTo>
                  <a:cubicBezTo>
                    <a:pt x="59" y="15"/>
                    <a:pt x="61" y="23"/>
                    <a:pt x="59" y="29"/>
                  </a:cubicBezTo>
                  <a:cubicBezTo>
                    <a:pt x="64" y="26"/>
                    <a:pt x="69" y="26"/>
                    <a:pt x="77" y="34"/>
                  </a:cubicBezTo>
                  <a:cubicBezTo>
                    <a:pt x="85" y="42"/>
                    <a:pt x="85" y="42"/>
                    <a:pt x="88" y="42"/>
                  </a:cubicBezTo>
                  <a:lnTo>
                    <a:pt x="77" y="53"/>
                  </a:lnTo>
                  <a:cubicBezTo>
                    <a:pt x="74" y="50"/>
                    <a:pt x="72" y="50"/>
                    <a:pt x="66" y="45"/>
                  </a:cubicBezTo>
                  <a:cubicBezTo>
                    <a:pt x="59" y="39"/>
                    <a:pt x="56" y="37"/>
                    <a:pt x="51" y="45"/>
                  </a:cubicBezTo>
                  <a:lnTo>
                    <a:pt x="40" y="55"/>
                  </a:lnTo>
                  <a:lnTo>
                    <a:pt x="59" y="74"/>
                  </a:lnTo>
                  <a:lnTo>
                    <a:pt x="48" y="84"/>
                  </a:lnTo>
                  <a:lnTo>
                    <a:pt x="0" y="37"/>
                  </a:lnTo>
                  <a:close/>
                  <a:moveTo>
                    <a:pt x="43" y="34"/>
                  </a:moveTo>
                  <a:cubicBezTo>
                    <a:pt x="48" y="29"/>
                    <a:pt x="48" y="23"/>
                    <a:pt x="43" y="21"/>
                  </a:cubicBezTo>
                  <a:cubicBezTo>
                    <a:pt x="40" y="18"/>
                    <a:pt x="35" y="15"/>
                    <a:pt x="29" y="21"/>
                  </a:cubicBezTo>
                  <a:lnTo>
                    <a:pt x="16" y="34"/>
                  </a:lnTo>
                  <a:lnTo>
                    <a:pt x="29" y="47"/>
                  </a:lnTo>
                  <a:lnTo>
                    <a:pt x="43" y="3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158">
              <a:extLst>
                <a:ext uri="{FF2B5EF4-FFF2-40B4-BE49-F238E27FC236}">
                  <a16:creationId xmlns:a16="http://schemas.microsoft.com/office/drawing/2014/main" id="{7522329A-9423-5C49-9399-B8A0D5FC2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1213" y="4670425"/>
              <a:ext cx="30162" cy="31750"/>
            </a:xfrm>
            <a:custGeom>
              <a:avLst/>
              <a:gdLst>
                <a:gd name="T0" fmla="*/ 13446 w 83"/>
                <a:gd name="T1" fmla="*/ 2886 h 88"/>
                <a:gd name="T2" fmla="*/ 18170 w 83"/>
                <a:gd name="T3" fmla="*/ 0 h 88"/>
                <a:gd name="T4" fmla="*/ 29799 w 83"/>
                <a:gd name="T5" fmla="*/ 20926 h 88"/>
                <a:gd name="T6" fmla="*/ 25074 w 83"/>
                <a:gd name="T7" fmla="*/ 23813 h 88"/>
                <a:gd name="T8" fmla="*/ 7631 w 83"/>
                <a:gd name="T9" fmla="*/ 13349 h 88"/>
                <a:gd name="T10" fmla="*/ 7631 w 83"/>
                <a:gd name="T11" fmla="*/ 13349 h 88"/>
                <a:gd name="T12" fmla="*/ 16353 w 83"/>
                <a:gd name="T13" fmla="*/ 28503 h 88"/>
                <a:gd name="T14" fmla="*/ 12356 w 83"/>
                <a:gd name="T15" fmla="*/ 31389 h 88"/>
                <a:gd name="T16" fmla="*/ 0 w 83"/>
                <a:gd name="T17" fmla="*/ 9381 h 88"/>
                <a:gd name="T18" fmla="*/ 4724 w 83"/>
                <a:gd name="T19" fmla="*/ 7577 h 88"/>
                <a:gd name="T20" fmla="*/ 22167 w 83"/>
                <a:gd name="T21" fmla="*/ 17318 h 88"/>
                <a:gd name="T22" fmla="*/ 22167 w 83"/>
                <a:gd name="T23" fmla="*/ 17318 h 88"/>
                <a:gd name="T24" fmla="*/ 13446 w 83"/>
                <a:gd name="T25" fmla="*/ 2886 h 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3" h="88">
                  <a:moveTo>
                    <a:pt x="37" y="8"/>
                  </a:moveTo>
                  <a:lnTo>
                    <a:pt x="50" y="0"/>
                  </a:lnTo>
                  <a:lnTo>
                    <a:pt x="82" y="58"/>
                  </a:lnTo>
                  <a:lnTo>
                    <a:pt x="69" y="66"/>
                  </a:lnTo>
                  <a:lnTo>
                    <a:pt x="21" y="37"/>
                  </a:lnTo>
                  <a:lnTo>
                    <a:pt x="45" y="79"/>
                  </a:lnTo>
                  <a:lnTo>
                    <a:pt x="34" y="87"/>
                  </a:lnTo>
                  <a:lnTo>
                    <a:pt x="0" y="26"/>
                  </a:lnTo>
                  <a:lnTo>
                    <a:pt x="13" y="21"/>
                  </a:lnTo>
                  <a:lnTo>
                    <a:pt x="61" y="48"/>
                  </a:lnTo>
                  <a:lnTo>
                    <a:pt x="37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159">
              <a:extLst>
                <a:ext uri="{FF2B5EF4-FFF2-40B4-BE49-F238E27FC236}">
                  <a16:creationId xmlns:a16="http://schemas.microsoft.com/office/drawing/2014/main" id="{D06BD539-0BD5-A644-80EB-5A51D5007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3438" y="4654550"/>
              <a:ext cx="31750" cy="31750"/>
            </a:xfrm>
            <a:custGeom>
              <a:avLst/>
              <a:gdLst>
                <a:gd name="T0" fmla="*/ 0 w 86"/>
                <a:gd name="T1" fmla="*/ 11814 h 86"/>
                <a:gd name="T2" fmla="*/ 8860 w 86"/>
                <a:gd name="T3" fmla="*/ 5169 h 86"/>
                <a:gd name="T4" fmla="*/ 24366 w 86"/>
                <a:gd name="T5" fmla="*/ 8122 h 86"/>
                <a:gd name="T6" fmla="*/ 24366 w 86"/>
                <a:gd name="T7" fmla="*/ 24735 h 86"/>
                <a:gd name="T8" fmla="*/ 15875 w 86"/>
                <a:gd name="T9" fmla="*/ 31381 h 86"/>
                <a:gd name="T10" fmla="*/ 0 w 86"/>
                <a:gd name="T11" fmla="*/ 11814 h 86"/>
                <a:gd name="T12" fmla="*/ 16613 w 86"/>
                <a:gd name="T13" fmla="*/ 24735 h 86"/>
                <a:gd name="T14" fmla="*/ 20674 w 86"/>
                <a:gd name="T15" fmla="*/ 21782 h 86"/>
                <a:gd name="T16" fmla="*/ 19567 w 86"/>
                <a:gd name="T17" fmla="*/ 11814 h 86"/>
                <a:gd name="T18" fmla="*/ 9968 w 86"/>
                <a:gd name="T19" fmla="*/ 8860 h 86"/>
                <a:gd name="T20" fmla="*/ 5907 w 86"/>
                <a:gd name="T21" fmla="*/ 11814 h 86"/>
                <a:gd name="T22" fmla="*/ 16613 w 86"/>
                <a:gd name="T23" fmla="*/ 24735 h 8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6" h="86">
                  <a:moveTo>
                    <a:pt x="0" y="32"/>
                  </a:moveTo>
                  <a:lnTo>
                    <a:pt x="24" y="14"/>
                  </a:lnTo>
                  <a:cubicBezTo>
                    <a:pt x="43" y="0"/>
                    <a:pt x="58" y="11"/>
                    <a:pt x="66" y="22"/>
                  </a:cubicBezTo>
                  <a:cubicBezTo>
                    <a:pt x="74" y="32"/>
                    <a:pt x="85" y="53"/>
                    <a:pt x="66" y="67"/>
                  </a:cubicBezTo>
                  <a:lnTo>
                    <a:pt x="43" y="85"/>
                  </a:lnTo>
                  <a:lnTo>
                    <a:pt x="0" y="32"/>
                  </a:lnTo>
                  <a:close/>
                  <a:moveTo>
                    <a:pt x="45" y="67"/>
                  </a:moveTo>
                  <a:lnTo>
                    <a:pt x="56" y="59"/>
                  </a:lnTo>
                  <a:cubicBezTo>
                    <a:pt x="64" y="51"/>
                    <a:pt x="61" y="40"/>
                    <a:pt x="53" y="32"/>
                  </a:cubicBezTo>
                  <a:cubicBezTo>
                    <a:pt x="40" y="16"/>
                    <a:pt x="32" y="22"/>
                    <a:pt x="27" y="24"/>
                  </a:cubicBezTo>
                  <a:lnTo>
                    <a:pt x="16" y="32"/>
                  </a:lnTo>
                  <a:lnTo>
                    <a:pt x="45" y="6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160">
              <a:extLst>
                <a:ext uri="{FF2B5EF4-FFF2-40B4-BE49-F238E27FC236}">
                  <a16:creationId xmlns:a16="http://schemas.microsoft.com/office/drawing/2014/main" id="{51F6F8B4-BC7A-C14D-B8EE-71EDEC9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2488" y="4646613"/>
              <a:ext cx="22225" cy="20637"/>
            </a:xfrm>
            <a:custGeom>
              <a:avLst/>
              <a:gdLst>
                <a:gd name="T0" fmla="*/ 21867 w 62"/>
                <a:gd name="T1" fmla="*/ 16583 h 56"/>
                <a:gd name="T2" fmla="*/ 18282 w 62"/>
                <a:gd name="T3" fmla="*/ 20268 h 56"/>
                <a:gd name="T4" fmla="*/ 0 w 62"/>
                <a:gd name="T5" fmla="*/ 3685 h 56"/>
                <a:gd name="T6" fmla="*/ 2868 w 62"/>
                <a:gd name="T7" fmla="*/ 0 h 56"/>
                <a:gd name="T8" fmla="*/ 21867 w 62"/>
                <a:gd name="T9" fmla="*/ 16583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2" h="56">
                  <a:moveTo>
                    <a:pt x="61" y="45"/>
                  </a:moveTo>
                  <a:lnTo>
                    <a:pt x="51" y="55"/>
                  </a:lnTo>
                  <a:lnTo>
                    <a:pt x="0" y="10"/>
                  </a:lnTo>
                  <a:lnTo>
                    <a:pt x="8" y="0"/>
                  </a:lnTo>
                  <a:lnTo>
                    <a:pt x="61" y="4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161">
              <a:extLst>
                <a:ext uri="{FF2B5EF4-FFF2-40B4-BE49-F238E27FC236}">
                  <a16:creationId xmlns:a16="http://schemas.microsoft.com/office/drawing/2014/main" id="{FF055FA2-1BDD-114C-8286-0472B8B55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3" y="4465638"/>
              <a:ext cx="31750" cy="30162"/>
            </a:xfrm>
            <a:custGeom>
              <a:avLst/>
              <a:gdLst>
                <a:gd name="T0" fmla="*/ 27320 w 86"/>
                <a:gd name="T1" fmla="*/ 17080 h 83"/>
                <a:gd name="T2" fmla="*/ 19567 w 86"/>
                <a:gd name="T3" fmla="*/ 6541 h 83"/>
                <a:gd name="T4" fmla="*/ 15875 w 86"/>
                <a:gd name="T5" fmla="*/ 9448 h 83"/>
                <a:gd name="T6" fmla="*/ 22520 w 86"/>
                <a:gd name="T7" fmla="*/ 18897 h 83"/>
                <a:gd name="T8" fmla="*/ 19567 w 86"/>
                <a:gd name="T9" fmla="*/ 21804 h 83"/>
                <a:gd name="T10" fmla="*/ 11814 w 86"/>
                <a:gd name="T11" fmla="*/ 12356 h 83"/>
                <a:gd name="T12" fmla="*/ 7015 w 86"/>
                <a:gd name="T13" fmla="*/ 16353 h 83"/>
                <a:gd name="T14" fmla="*/ 14767 w 86"/>
                <a:gd name="T15" fmla="*/ 26891 h 83"/>
                <a:gd name="T16" fmla="*/ 11814 w 86"/>
                <a:gd name="T17" fmla="*/ 29799 h 83"/>
                <a:gd name="T18" fmla="*/ 0 w 86"/>
                <a:gd name="T19" fmla="*/ 15263 h 83"/>
                <a:gd name="T20" fmla="*/ 19567 w 86"/>
                <a:gd name="T21" fmla="*/ 0 h 83"/>
                <a:gd name="T22" fmla="*/ 31381 w 86"/>
                <a:gd name="T23" fmla="*/ 14173 h 83"/>
                <a:gd name="T24" fmla="*/ 27320 w 86"/>
                <a:gd name="T25" fmla="*/ 17080 h 8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83">
                  <a:moveTo>
                    <a:pt x="74" y="47"/>
                  </a:moveTo>
                  <a:lnTo>
                    <a:pt x="53" y="18"/>
                  </a:lnTo>
                  <a:lnTo>
                    <a:pt x="43" y="26"/>
                  </a:lnTo>
                  <a:lnTo>
                    <a:pt x="61" y="52"/>
                  </a:lnTo>
                  <a:lnTo>
                    <a:pt x="53" y="60"/>
                  </a:lnTo>
                  <a:lnTo>
                    <a:pt x="32" y="34"/>
                  </a:lnTo>
                  <a:lnTo>
                    <a:pt x="19" y="45"/>
                  </a:lnTo>
                  <a:lnTo>
                    <a:pt x="40" y="74"/>
                  </a:lnTo>
                  <a:lnTo>
                    <a:pt x="32" y="82"/>
                  </a:lnTo>
                  <a:lnTo>
                    <a:pt x="0" y="42"/>
                  </a:lnTo>
                  <a:lnTo>
                    <a:pt x="53" y="0"/>
                  </a:lnTo>
                  <a:lnTo>
                    <a:pt x="85" y="39"/>
                  </a:lnTo>
                  <a:lnTo>
                    <a:pt x="74" y="4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162">
              <a:extLst>
                <a:ext uri="{FF2B5EF4-FFF2-40B4-BE49-F238E27FC236}">
                  <a16:creationId xmlns:a16="http://schemas.microsoft.com/office/drawing/2014/main" id="{EF023832-7494-8B42-8504-9F8209CE2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5163" y="4665663"/>
              <a:ext cx="33337" cy="33337"/>
            </a:xfrm>
            <a:custGeom>
              <a:avLst/>
              <a:gdLst>
                <a:gd name="T0" fmla="*/ 26010 w 91"/>
                <a:gd name="T1" fmla="*/ 23079 h 91"/>
                <a:gd name="T2" fmla="*/ 8426 w 91"/>
                <a:gd name="T3" fmla="*/ 27109 h 91"/>
                <a:gd name="T4" fmla="*/ 6594 w 91"/>
                <a:gd name="T5" fmla="*/ 9525 h 91"/>
                <a:gd name="T6" fmla="*/ 24178 w 91"/>
                <a:gd name="T7" fmla="*/ 5495 h 91"/>
                <a:gd name="T8" fmla="*/ 26010 w 91"/>
                <a:gd name="T9" fmla="*/ 23079 h 91"/>
                <a:gd name="T10" fmla="*/ 21980 w 91"/>
                <a:gd name="T11" fmla="*/ 20149 h 91"/>
                <a:gd name="T12" fmla="*/ 21248 w 91"/>
                <a:gd name="T13" fmla="*/ 9525 h 91"/>
                <a:gd name="T14" fmla="*/ 10624 w 91"/>
                <a:gd name="T15" fmla="*/ 12456 h 91"/>
                <a:gd name="T16" fmla="*/ 11357 w 91"/>
                <a:gd name="T17" fmla="*/ 23079 h 91"/>
                <a:gd name="T18" fmla="*/ 21980 w 91"/>
                <a:gd name="T19" fmla="*/ 20149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" h="91">
                  <a:moveTo>
                    <a:pt x="71" y="63"/>
                  </a:moveTo>
                  <a:cubicBezTo>
                    <a:pt x="53" y="90"/>
                    <a:pt x="31" y="79"/>
                    <a:pt x="23" y="74"/>
                  </a:cubicBezTo>
                  <a:cubicBezTo>
                    <a:pt x="15" y="68"/>
                    <a:pt x="0" y="53"/>
                    <a:pt x="18" y="26"/>
                  </a:cubicBezTo>
                  <a:cubicBezTo>
                    <a:pt x="34" y="0"/>
                    <a:pt x="58" y="10"/>
                    <a:pt x="66" y="15"/>
                  </a:cubicBezTo>
                  <a:cubicBezTo>
                    <a:pt x="74" y="21"/>
                    <a:pt x="90" y="37"/>
                    <a:pt x="71" y="63"/>
                  </a:cubicBezTo>
                  <a:close/>
                  <a:moveTo>
                    <a:pt x="60" y="55"/>
                  </a:moveTo>
                  <a:cubicBezTo>
                    <a:pt x="70" y="39"/>
                    <a:pt x="66" y="29"/>
                    <a:pt x="58" y="26"/>
                  </a:cubicBezTo>
                  <a:cubicBezTo>
                    <a:pt x="53" y="21"/>
                    <a:pt x="39" y="18"/>
                    <a:pt x="29" y="34"/>
                  </a:cubicBezTo>
                  <a:cubicBezTo>
                    <a:pt x="18" y="50"/>
                    <a:pt x="23" y="61"/>
                    <a:pt x="31" y="63"/>
                  </a:cubicBezTo>
                  <a:cubicBezTo>
                    <a:pt x="37" y="68"/>
                    <a:pt x="49" y="71"/>
                    <a:pt x="60" y="5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163">
              <a:extLst>
                <a:ext uri="{FF2B5EF4-FFF2-40B4-BE49-F238E27FC236}">
                  <a16:creationId xmlns:a16="http://schemas.microsoft.com/office/drawing/2014/main" id="{4B5838A1-3903-C244-8D73-B1E2C8A7A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8500" y="4678363"/>
              <a:ext cx="20638" cy="26987"/>
            </a:xfrm>
            <a:custGeom>
              <a:avLst/>
              <a:gdLst>
                <a:gd name="T0" fmla="*/ 15741 w 59"/>
                <a:gd name="T1" fmla="*/ 5757 h 75"/>
                <a:gd name="T2" fmla="*/ 20288 w 59"/>
                <a:gd name="T3" fmla="*/ 7556 h 75"/>
                <a:gd name="T4" fmla="*/ 4547 w 59"/>
                <a:gd name="T5" fmla="*/ 26627 h 75"/>
                <a:gd name="T6" fmla="*/ 0 w 59"/>
                <a:gd name="T7" fmla="*/ 25548 h 75"/>
                <a:gd name="T8" fmla="*/ 1049 w 59"/>
                <a:gd name="T9" fmla="*/ 0 h 75"/>
                <a:gd name="T10" fmla="*/ 6646 w 59"/>
                <a:gd name="T11" fmla="*/ 1799 h 75"/>
                <a:gd name="T12" fmla="*/ 4547 w 59"/>
                <a:gd name="T13" fmla="*/ 20870 h 75"/>
                <a:gd name="T14" fmla="*/ 4547 w 59"/>
                <a:gd name="T15" fmla="*/ 20870 h 75"/>
                <a:gd name="T16" fmla="*/ 15741 w 59"/>
                <a:gd name="T17" fmla="*/ 5757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75">
                  <a:moveTo>
                    <a:pt x="45" y="16"/>
                  </a:moveTo>
                  <a:lnTo>
                    <a:pt x="58" y="21"/>
                  </a:lnTo>
                  <a:lnTo>
                    <a:pt x="13" y="74"/>
                  </a:lnTo>
                  <a:lnTo>
                    <a:pt x="0" y="71"/>
                  </a:lnTo>
                  <a:lnTo>
                    <a:pt x="3" y="0"/>
                  </a:lnTo>
                  <a:lnTo>
                    <a:pt x="19" y="5"/>
                  </a:lnTo>
                  <a:lnTo>
                    <a:pt x="13" y="58"/>
                  </a:lnTo>
                  <a:lnTo>
                    <a:pt x="45" y="1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164">
              <a:extLst>
                <a:ext uri="{FF2B5EF4-FFF2-40B4-BE49-F238E27FC236}">
                  <a16:creationId xmlns:a16="http://schemas.microsoft.com/office/drawing/2014/main" id="{76C610EB-51AA-994E-B8F1-198C97322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7550" y="4687888"/>
              <a:ext cx="11113" cy="25400"/>
            </a:xfrm>
            <a:custGeom>
              <a:avLst/>
              <a:gdLst>
                <a:gd name="T0" fmla="*/ 4378 w 33"/>
                <a:gd name="T1" fmla="*/ 25032 h 69"/>
                <a:gd name="T2" fmla="*/ 0 w 33"/>
                <a:gd name="T3" fmla="*/ 23191 h 69"/>
                <a:gd name="T4" fmla="*/ 5388 w 33"/>
                <a:gd name="T5" fmla="*/ 0 h 69"/>
                <a:gd name="T6" fmla="*/ 10776 w 33"/>
                <a:gd name="T7" fmla="*/ 736 h 69"/>
                <a:gd name="T8" fmla="*/ 4378 w 33"/>
                <a:gd name="T9" fmla="*/ 25032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9">
                  <a:moveTo>
                    <a:pt x="13" y="68"/>
                  </a:moveTo>
                  <a:lnTo>
                    <a:pt x="0" y="63"/>
                  </a:lnTo>
                  <a:lnTo>
                    <a:pt x="16" y="0"/>
                  </a:lnTo>
                  <a:lnTo>
                    <a:pt x="32" y="2"/>
                  </a:lnTo>
                  <a:lnTo>
                    <a:pt x="13" y="6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165">
              <a:extLst>
                <a:ext uri="{FF2B5EF4-FFF2-40B4-BE49-F238E27FC236}">
                  <a16:creationId xmlns:a16="http://schemas.microsoft.com/office/drawing/2014/main" id="{A5C7B447-F3A1-9245-8DA9-CC2E24060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4689475"/>
              <a:ext cx="26988" cy="25400"/>
            </a:xfrm>
            <a:custGeom>
              <a:avLst/>
              <a:gdLst>
                <a:gd name="T0" fmla="*/ 26618 w 73"/>
                <a:gd name="T1" fmla="*/ 24342 h 72"/>
                <a:gd name="T2" fmla="*/ 21443 w 73"/>
                <a:gd name="T3" fmla="*/ 24342 h 72"/>
                <a:gd name="T4" fmla="*/ 20703 w 73"/>
                <a:gd name="T5" fmla="*/ 4586 h 72"/>
                <a:gd name="T6" fmla="*/ 20703 w 73"/>
                <a:gd name="T7" fmla="*/ 4586 h 72"/>
                <a:gd name="T8" fmla="*/ 16636 w 73"/>
                <a:gd name="T9" fmla="*/ 24342 h 72"/>
                <a:gd name="T10" fmla="*/ 11830 w 73"/>
                <a:gd name="T11" fmla="*/ 25047 h 72"/>
                <a:gd name="T12" fmla="*/ 5915 w 73"/>
                <a:gd name="T13" fmla="*/ 5644 h 72"/>
                <a:gd name="T14" fmla="*/ 5915 w 73"/>
                <a:gd name="T15" fmla="*/ 5644 h 72"/>
                <a:gd name="T16" fmla="*/ 7024 w 73"/>
                <a:gd name="T17" fmla="*/ 25047 h 72"/>
                <a:gd name="T18" fmla="*/ 1848 w 73"/>
                <a:gd name="T19" fmla="*/ 25047 h 72"/>
                <a:gd name="T20" fmla="*/ 0 w 73"/>
                <a:gd name="T21" fmla="*/ 1764 h 72"/>
                <a:gd name="T22" fmla="*/ 7764 w 73"/>
                <a:gd name="T23" fmla="*/ 706 h 72"/>
                <a:gd name="T24" fmla="*/ 13679 w 73"/>
                <a:gd name="T25" fmla="*/ 19403 h 72"/>
                <a:gd name="T26" fmla="*/ 14788 w 73"/>
                <a:gd name="T27" fmla="*/ 19403 h 72"/>
                <a:gd name="T28" fmla="*/ 17746 w 73"/>
                <a:gd name="T29" fmla="*/ 706 h 72"/>
                <a:gd name="T30" fmla="*/ 25509 w 73"/>
                <a:gd name="T31" fmla="*/ 0 h 72"/>
                <a:gd name="T32" fmla="*/ 26618 w 73"/>
                <a:gd name="T33" fmla="*/ 24342 h 7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3" h="72">
                  <a:moveTo>
                    <a:pt x="72" y="69"/>
                  </a:moveTo>
                  <a:lnTo>
                    <a:pt x="58" y="69"/>
                  </a:lnTo>
                  <a:lnTo>
                    <a:pt x="56" y="13"/>
                  </a:lnTo>
                  <a:lnTo>
                    <a:pt x="45" y="69"/>
                  </a:lnTo>
                  <a:lnTo>
                    <a:pt x="32" y="71"/>
                  </a:lnTo>
                  <a:lnTo>
                    <a:pt x="16" y="16"/>
                  </a:lnTo>
                  <a:lnTo>
                    <a:pt x="19" y="71"/>
                  </a:lnTo>
                  <a:lnTo>
                    <a:pt x="5" y="71"/>
                  </a:lnTo>
                  <a:lnTo>
                    <a:pt x="0" y="5"/>
                  </a:lnTo>
                  <a:lnTo>
                    <a:pt x="21" y="2"/>
                  </a:lnTo>
                  <a:lnTo>
                    <a:pt x="37" y="55"/>
                  </a:lnTo>
                  <a:lnTo>
                    <a:pt x="40" y="55"/>
                  </a:lnTo>
                  <a:lnTo>
                    <a:pt x="48" y="2"/>
                  </a:lnTo>
                  <a:lnTo>
                    <a:pt x="69" y="0"/>
                  </a:lnTo>
                  <a:lnTo>
                    <a:pt x="72" y="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166">
              <a:extLst>
                <a:ext uri="{FF2B5EF4-FFF2-40B4-BE49-F238E27FC236}">
                  <a16:creationId xmlns:a16="http://schemas.microsoft.com/office/drawing/2014/main" id="{744E597C-AF54-FA4F-B717-A81A6B2F0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4684713"/>
              <a:ext cx="26987" cy="26987"/>
            </a:xfrm>
            <a:custGeom>
              <a:avLst/>
              <a:gdLst>
                <a:gd name="T0" fmla="*/ 24769 w 73"/>
                <a:gd name="T1" fmla="*/ 14033 h 75"/>
                <a:gd name="T2" fmla="*/ 16636 w 73"/>
                <a:gd name="T3" fmla="*/ 25548 h 75"/>
                <a:gd name="T4" fmla="*/ 8133 w 73"/>
                <a:gd name="T5" fmla="*/ 24468 h 75"/>
                <a:gd name="T6" fmla="*/ 4067 w 73"/>
                <a:gd name="T7" fmla="*/ 19071 h 75"/>
                <a:gd name="T8" fmla="*/ 0 w 73"/>
                <a:gd name="T9" fmla="*/ 3598 h 75"/>
                <a:gd name="T10" fmla="*/ 5176 w 73"/>
                <a:gd name="T11" fmla="*/ 2879 h 75"/>
                <a:gd name="T12" fmla="*/ 8872 w 73"/>
                <a:gd name="T13" fmla="*/ 17991 h 75"/>
                <a:gd name="T14" fmla="*/ 14787 w 73"/>
                <a:gd name="T15" fmla="*/ 21590 h 75"/>
                <a:gd name="T16" fmla="*/ 18854 w 73"/>
                <a:gd name="T17" fmla="*/ 16192 h 75"/>
                <a:gd name="T18" fmla="*/ 14787 w 73"/>
                <a:gd name="T19" fmla="*/ 720 h 75"/>
                <a:gd name="T20" fmla="*/ 19593 w 73"/>
                <a:gd name="T21" fmla="*/ 0 h 75"/>
                <a:gd name="T22" fmla="*/ 24769 w 73"/>
                <a:gd name="T23" fmla="*/ 14033 h 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3" h="75">
                  <a:moveTo>
                    <a:pt x="67" y="39"/>
                  </a:moveTo>
                  <a:cubicBezTo>
                    <a:pt x="72" y="58"/>
                    <a:pt x="61" y="66"/>
                    <a:pt x="45" y="71"/>
                  </a:cubicBezTo>
                  <a:cubicBezTo>
                    <a:pt x="40" y="74"/>
                    <a:pt x="30" y="74"/>
                    <a:pt x="22" y="68"/>
                  </a:cubicBezTo>
                  <a:cubicBezTo>
                    <a:pt x="16" y="66"/>
                    <a:pt x="14" y="60"/>
                    <a:pt x="11" y="53"/>
                  </a:cubicBezTo>
                  <a:lnTo>
                    <a:pt x="0" y="10"/>
                  </a:lnTo>
                  <a:lnTo>
                    <a:pt x="14" y="8"/>
                  </a:lnTo>
                  <a:lnTo>
                    <a:pt x="24" y="50"/>
                  </a:lnTo>
                  <a:cubicBezTo>
                    <a:pt x="27" y="58"/>
                    <a:pt x="32" y="60"/>
                    <a:pt x="40" y="60"/>
                  </a:cubicBezTo>
                  <a:cubicBezTo>
                    <a:pt x="51" y="58"/>
                    <a:pt x="53" y="53"/>
                    <a:pt x="51" y="45"/>
                  </a:cubicBezTo>
                  <a:lnTo>
                    <a:pt x="40" y="2"/>
                  </a:lnTo>
                  <a:lnTo>
                    <a:pt x="53" y="0"/>
                  </a:lnTo>
                  <a:lnTo>
                    <a:pt x="67" y="3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167">
              <a:extLst>
                <a:ext uri="{FF2B5EF4-FFF2-40B4-BE49-F238E27FC236}">
                  <a16:creationId xmlns:a16="http://schemas.microsoft.com/office/drawing/2014/main" id="{D7B3AEFA-E728-194C-8B7F-9C56215B1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2300" y="4470400"/>
              <a:ext cx="23813" cy="28575"/>
            </a:xfrm>
            <a:custGeom>
              <a:avLst/>
              <a:gdLst>
                <a:gd name="T0" fmla="*/ 23447 w 65"/>
                <a:gd name="T1" fmla="*/ 24545 h 78"/>
                <a:gd name="T2" fmla="*/ 20516 w 65"/>
                <a:gd name="T3" fmla="*/ 28209 h 78"/>
                <a:gd name="T4" fmla="*/ 0 w 65"/>
                <a:gd name="T5" fmla="*/ 14654 h 78"/>
                <a:gd name="T6" fmla="*/ 6961 w 65"/>
                <a:gd name="T7" fmla="*/ 5129 h 78"/>
                <a:gd name="T8" fmla="*/ 17585 w 65"/>
                <a:gd name="T9" fmla="*/ 2931 h 78"/>
                <a:gd name="T10" fmla="*/ 19417 w 65"/>
                <a:gd name="T11" fmla="*/ 13555 h 78"/>
                <a:gd name="T12" fmla="*/ 16486 w 65"/>
                <a:gd name="T13" fmla="*/ 18684 h 78"/>
                <a:gd name="T14" fmla="*/ 23447 w 65"/>
                <a:gd name="T15" fmla="*/ 24545 h 78"/>
                <a:gd name="T16" fmla="*/ 15387 w 65"/>
                <a:gd name="T17" fmla="*/ 12822 h 78"/>
                <a:gd name="T18" fmla="*/ 14654 w 65"/>
                <a:gd name="T19" fmla="*/ 6961 h 78"/>
                <a:gd name="T20" fmla="*/ 8792 w 65"/>
                <a:gd name="T21" fmla="*/ 8792 h 78"/>
                <a:gd name="T22" fmla="*/ 6961 w 65"/>
                <a:gd name="T23" fmla="*/ 12822 h 78"/>
                <a:gd name="T24" fmla="*/ 12456 w 65"/>
                <a:gd name="T25" fmla="*/ 16486 h 78"/>
                <a:gd name="T26" fmla="*/ 15387 w 65"/>
                <a:gd name="T27" fmla="*/ 12822 h 7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5" h="78">
                  <a:moveTo>
                    <a:pt x="64" y="67"/>
                  </a:moveTo>
                  <a:lnTo>
                    <a:pt x="56" y="77"/>
                  </a:lnTo>
                  <a:lnTo>
                    <a:pt x="0" y="40"/>
                  </a:lnTo>
                  <a:lnTo>
                    <a:pt x="19" y="14"/>
                  </a:lnTo>
                  <a:cubicBezTo>
                    <a:pt x="27" y="3"/>
                    <a:pt x="37" y="0"/>
                    <a:pt x="48" y="8"/>
                  </a:cubicBezTo>
                  <a:cubicBezTo>
                    <a:pt x="53" y="11"/>
                    <a:pt x="64" y="24"/>
                    <a:pt x="53" y="37"/>
                  </a:cubicBezTo>
                  <a:lnTo>
                    <a:pt x="45" y="51"/>
                  </a:lnTo>
                  <a:lnTo>
                    <a:pt x="64" y="67"/>
                  </a:lnTo>
                  <a:close/>
                  <a:moveTo>
                    <a:pt x="42" y="35"/>
                  </a:moveTo>
                  <a:cubicBezTo>
                    <a:pt x="48" y="27"/>
                    <a:pt x="42" y="22"/>
                    <a:pt x="40" y="19"/>
                  </a:cubicBezTo>
                  <a:cubicBezTo>
                    <a:pt x="34" y="16"/>
                    <a:pt x="29" y="16"/>
                    <a:pt x="24" y="24"/>
                  </a:cubicBezTo>
                  <a:lnTo>
                    <a:pt x="19" y="35"/>
                  </a:lnTo>
                  <a:lnTo>
                    <a:pt x="34" y="45"/>
                  </a:lnTo>
                  <a:lnTo>
                    <a:pt x="42" y="3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168">
              <a:extLst>
                <a:ext uri="{FF2B5EF4-FFF2-40B4-BE49-F238E27FC236}">
                  <a16:creationId xmlns:a16="http://schemas.microsoft.com/office/drawing/2014/main" id="{E96959D5-AA56-BD4C-8860-FB733CD26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4700" y="4656138"/>
              <a:ext cx="9525" cy="6350"/>
            </a:xfrm>
            <a:custGeom>
              <a:avLst/>
              <a:gdLst>
                <a:gd name="T0" fmla="*/ 1905 w 25"/>
                <a:gd name="T1" fmla="*/ 6016 h 19"/>
                <a:gd name="T2" fmla="*/ 0 w 25"/>
                <a:gd name="T3" fmla="*/ 6016 h 19"/>
                <a:gd name="T4" fmla="*/ 7239 w 25"/>
                <a:gd name="T5" fmla="*/ 1671 h 19"/>
                <a:gd name="T6" fmla="*/ 1905 w 25"/>
                <a:gd name="T7" fmla="*/ 6016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19">
                  <a:moveTo>
                    <a:pt x="5" y="18"/>
                  </a:moveTo>
                  <a:lnTo>
                    <a:pt x="0" y="18"/>
                  </a:lnTo>
                  <a:cubicBezTo>
                    <a:pt x="3" y="10"/>
                    <a:pt x="11" y="0"/>
                    <a:pt x="19" y="5"/>
                  </a:cubicBezTo>
                  <a:cubicBezTo>
                    <a:pt x="24" y="16"/>
                    <a:pt x="11" y="13"/>
                    <a:pt x="5" y="1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169">
              <a:extLst>
                <a:ext uri="{FF2B5EF4-FFF2-40B4-BE49-F238E27FC236}">
                  <a16:creationId xmlns:a16="http://schemas.microsoft.com/office/drawing/2014/main" id="{F0FA61BA-7452-EA45-AF5C-FB61E7D5B8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713" y="4581525"/>
              <a:ext cx="6350" cy="4763"/>
            </a:xfrm>
            <a:custGeom>
              <a:avLst/>
              <a:gdLst>
                <a:gd name="T0" fmla="*/ 6016 w 19"/>
                <a:gd name="T1" fmla="*/ 4366 h 12"/>
                <a:gd name="T2" fmla="*/ 0 w 19"/>
                <a:gd name="T3" fmla="*/ 4366 h 12"/>
                <a:gd name="T4" fmla="*/ 6016 w 19"/>
                <a:gd name="T5" fmla="*/ 2382 h 12"/>
                <a:gd name="T6" fmla="*/ 6016 w 19"/>
                <a:gd name="T7" fmla="*/ 4366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8" y="11"/>
                  </a:moveTo>
                  <a:lnTo>
                    <a:pt x="0" y="11"/>
                  </a:lnTo>
                  <a:cubicBezTo>
                    <a:pt x="0" y="0"/>
                    <a:pt x="16" y="0"/>
                    <a:pt x="18" y="6"/>
                  </a:cubicBezTo>
                  <a:lnTo>
                    <a:pt x="18" y="1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170">
              <a:extLst>
                <a:ext uri="{FF2B5EF4-FFF2-40B4-BE49-F238E27FC236}">
                  <a16:creationId xmlns:a16="http://schemas.microsoft.com/office/drawing/2014/main" id="{6246A585-2FB0-5445-9315-EA9974CA9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175" y="4537075"/>
              <a:ext cx="15875" cy="6350"/>
            </a:xfrm>
            <a:custGeom>
              <a:avLst/>
              <a:gdLst>
                <a:gd name="T0" fmla="*/ 0 w 44"/>
                <a:gd name="T1" fmla="*/ 5976 h 17"/>
                <a:gd name="T2" fmla="*/ 2886 w 44"/>
                <a:gd name="T3" fmla="*/ 1868 h 17"/>
                <a:gd name="T4" fmla="*/ 11545 w 44"/>
                <a:gd name="T5" fmla="*/ 1121 h 17"/>
                <a:gd name="T6" fmla="*/ 15514 w 44"/>
                <a:gd name="T7" fmla="*/ 0 h 17"/>
                <a:gd name="T8" fmla="*/ 13349 w 44"/>
                <a:gd name="T9" fmla="*/ 4109 h 17"/>
                <a:gd name="T10" fmla="*/ 8659 w 44"/>
                <a:gd name="T11" fmla="*/ 5976 h 17"/>
                <a:gd name="T12" fmla="*/ 9741 w 44"/>
                <a:gd name="T13" fmla="*/ 4109 h 17"/>
                <a:gd name="T14" fmla="*/ 3969 w 44"/>
                <a:gd name="T15" fmla="*/ 4109 h 17"/>
                <a:gd name="T16" fmla="*/ 2165 w 44"/>
                <a:gd name="T17" fmla="*/ 5976 h 17"/>
                <a:gd name="T18" fmla="*/ 0 w 44"/>
                <a:gd name="T19" fmla="*/ 5976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17">
                  <a:moveTo>
                    <a:pt x="0" y="16"/>
                  </a:moveTo>
                  <a:lnTo>
                    <a:pt x="8" y="5"/>
                  </a:lnTo>
                  <a:lnTo>
                    <a:pt x="32" y="3"/>
                  </a:lnTo>
                  <a:lnTo>
                    <a:pt x="43" y="0"/>
                  </a:lnTo>
                  <a:lnTo>
                    <a:pt x="37" y="11"/>
                  </a:lnTo>
                  <a:lnTo>
                    <a:pt x="24" y="16"/>
                  </a:lnTo>
                  <a:lnTo>
                    <a:pt x="27" y="11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0" y="1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Freeform 171">
              <a:extLst>
                <a:ext uri="{FF2B5EF4-FFF2-40B4-BE49-F238E27FC236}">
                  <a16:creationId xmlns:a16="http://schemas.microsoft.com/office/drawing/2014/main" id="{8B2D8F7D-0514-E84D-B3F4-A0F8B9D97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1050" y="4537075"/>
              <a:ext cx="11113" cy="7938"/>
            </a:xfrm>
            <a:custGeom>
              <a:avLst/>
              <a:gdLst>
                <a:gd name="T0" fmla="*/ 4816 w 30"/>
                <a:gd name="T1" fmla="*/ 1191 h 20"/>
                <a:gd name="T2" fmla="*/ 7779 w 30"/>
                <a:gd name="T3" fmla="*/ 0 h 20"/>
                <a:gd name="T4" fmla="*/ 10743 w 30"/>
                <a:gd name="T5" fmla="*/ 1985 h 20"/>
                <a:gd name="T6" fmla="*/ 8520 w 30"/>
                <a:gd name="T7" fmla="*/ 4366 h 20"/>
                <a:gd name="T8" fmla="*/ 5557 w 30"/>
                <a:gd name="T9" fmla="*/ 5160 h 20"/>
                <a:gd name="T10" fmla="*/ 4816 w 30"/>
                <a:gd name="T11" fmla="*/ 7541 h 20"/>
                <a:gd name="T12" fmla="*/ 2963 w 30"/>
                <a:gd name="T13" fmla="*/ 5160 h 20"/>
                <a:gd name="T14" fmla="*/ 0 w 30"/>
                <a:gd name="T15" fmla="*/ 6350 h 20"/>
                <a:gd name="T16" fmla="*/ 0 w 30"/>
                <a:gd name="T17" fmla="*/ 4366 h 20"/>
                <a:gd name="T18" fmla="*/ 1852 w 30"/>
                <a:gd name="T19" fmla="*/ 4366 h 20"/>
                <a:gd name="T20" fmla="*/ 741 w 30"/>
                <a:gd name="T21" fmla="*/ 1985 h 20"/>
                <a:gd name="T22" fmla="*/ 1852 w 30"/>
                <a:gd name="T23" fmla="*/ 1191 h 20"/>
                <a:gd name="T24" fmla="*/ 4816 w 30"/>
                <a:gd name="T25" fmla="*/ 1191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20">
                  <a:moveTo>
                    <a:pt x="13" y="3"/>
                  </a:moveTo>
                  <a:lnTo>
                    <a:pt x="21" y="0"/>
                  </a:lnTo>
                  <a:lnTo>
                    <a:pt x="29" y="5"/>
                  </a:lnTo>
                  <a:lnTo>
                    <a:pt x="23" y="11"/>
                  </a:lnTo>
                  <a:lnTo>
                    <a:pt x="15" y="13"/>
                  </a:lnTo>
                  <a:lnTo>
                    <a:pt x="13" y="19"/>
                  </a:lnTo>
                  <a:lnTo>
                    <a:pt x="8" y="13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5" y="11"/>
                  </a:lnTo>
                  <a:lnTo>
                    <a:pt x="2" y="5"/>
                  </a:lnTo>
                  <a:lnTo>
                    <a:pt x="5" y="3"/>
                  </a:lnTo>
                  <a:lnTo>
                    <a:pt x="13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Freeform 172">
              <a:extLst>
                <a:ext uri="{FF2B5EF4-FFF2-40B4-BE49-F238E27FC236}">
                  <a16:creationId xmlns:a16="http://schemas.microsoft.com/office/drawing/2014/main" id="{FC460269-983B-3343-9A81-2C2A4DC58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750" y="4538663"/>
              <a:ext cx="6350" cy="3175"/>
            </a:xfrm>
            <a:custGeom>
              <a:avLst/>
              <a:gdLst>
                <a:gd name="T0" fmla="*/ 1121 w 17"/>
                <a:gd name="T1" fmla="*/ 1058 h 9"/>
                <a:gd name="T2" fmla="*/ 2988 w 17"/>
                <a:gd name="T3" fmla="*/ 0 h 9"/>
                <a:gd name="T4" fmla="*/ 5976 w 17"/>
                <a:gd name="T5" fmla="*/ 0 h 9"/>
                <a:gd name="T6" fmla="*/ 4856 w 17"/>
                <a:gd name="T7" fmla="*/ 1764 h 9"/>
                <a:gd name="T8" fmla="*/ 0 w 17"/>
                <a:gd name="T9" fmla="*/ 2822 h 9"/>
                <a:gd name="T10" fmla="*/ 1121 w 17"/>
                <a:gd name="T11" fmla="*/ 105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9">
                  <a:moveTo>
                    <a:pt x="3" y="3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13" y="5"/>
                  </a:lnTo>
                  <a:lnTo>
                    <a:pt x="0" y="8"/>
                  </a:lnTo>
                  <a:lnTo>
                    <a:pt x="3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173">
              <a:extLst>
                <a:ext uri="{FF2B5EF4-FFF2-40B4-BE49-F238E27FC236}">
                  <a16:creationId xmlns:a16="http://schemas.microsoft.com/office/drawing/2014/main" id="{357F66F5-4C5C-FB4E-B3D1-0485D8CB6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9938" y="4543425"/>
              <a:ext cx="3175" cy="3175"/>
            </a:xfrm>
            <a:custGeom>
              <a:avLst/>
              <a:gdLst>
                <a:gd name="T0" fmla="*/ 0 w 11"/>
                <a:gd name="T1" fmla="*/ 0 h 7"/>
                <a:gd name="T2" fmla="*/ 2886 w 11"/>
                <a:gd name="T3" fmla="*/ 0 h 7"/>
                <a:gd name="T4" fmla="*/ 2309 w 11"/>
                <a:gd name="T5" fmla="*/ 2721 h 7"/>
                <a:gd name="T6" fmla="*/ 0 w 11"/>
                <a:gd name="T7" fmla="*/ 2721 h 7"/>
                <a:gd name="T8" fmla="*/ 0 w 11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lnTo>
                    <a:pt x="10" y="0"/>
                  </a:lnTo>
                  <a:lnTo>
                    <a:pt x="8" y="6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174">
              <a:extLst>
                <a:ext uri="{FF2B5EF4-FFF2-40B4-BE49-F238E27FC236}">
                  <a16:creationId xmlns:a16="http://schemas.microsoft.com/office/drawing/2014/main" id="{3512D160-735A-5E47-933F-C7087CC41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750" y="4541838"/>
              <a:ext cx="3175" cy="3175"/>
            </a:xfrm>
            <a:custGeom>
              <a:avLst/>
              <a:gdLst>
                <a:gd name="T0" fmla="*/ 0 w 9"/>
                <a:gd name="T1" fmla="*/ 1764 h 9"/>
                <a:gd name="T2" fmla="*/ 1764 w 9"/>
                <a:gd name="T3" fmla="*/ 0 h 9"/>
                <a:gd name="T4" fmla="*/ 2822 w 9"/>
                <a:gd name="T5" fmla="*/ 1058 h 9"/>
                <a:gd name="T6" fmla="*/ 1764 w 9"/>
                <a:gd name="T7" fmla="*/ 2822 h 9"/>
                <a:gd name="T8" fmla="*/ 0 w 9"/>
                <a:gd name="T9" fmla="*/ 1764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8"/>
                  </a:lnTo>
                  <a:lnTo>
                    <a:pt x="0" y="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Freeform 175">
              <a:extLst>
                <a:ext uri="{FF2B5EF4-FFF2-40B4-BE49-F238E27FC236}">
                  <a16:creationId xmlns:a16="http://schemas.microsoft.com/office/drawing/2014/main" id="{6F5977CF-1CA5-614A-BB7B-F8B9D7DB5A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2163" y="4545013"/>
              <a:ext cx="3175" cy="4762"/>
            </a:xfrm>
            <a:custGeom>
              <a:avLst/>
              <a:gdLst>
                <a:gd name="T0" fmla="*/ 0 w 9"/>
                <a:gd name="T1" fmla="*/ 1984 h 12"/>
                <a:gd name="T2" fmla="*/ 1764 w 9"/>
                <a:gd name="T3" fmla="*/ 4365 h 12"/>
                <a:gd name="T4" fmla="*/ 2822 w 9"/>
                <a:gd name="T5" fmla="*/ 4365 h 12"/>
                <a:gd name="T6" fmla="*/ 1764 w 9"/>
                <a:gd name="T7" fmla="*/ 0 h 12"/>
                <a:gd name="T8" fmla="*/ 0 w 9"/>
                <a:gd name="T9" fmla="*/ 1984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lnTo>
                    <a:pt x="5" y="11"/>
                  </a:lnTo>
                  <a:lnTo>
                    <a:pt x="8" y="11"/>
                  </a:lnTo>
                  <a:lnTo>
                    <a:pt x="5" y="0"/>
                  </a:lnTo>
                  <a:lnTo>
                    <a:pt x="0" y="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Freeform 176">
              <a:extLst>
                <a:ext uri="{FF2B5EF4-FFF2-40B4-BE49-F238E27FC236}">
                  <a16:creationId xmlns:a16="http://schemas.microsoft.com/office/drawing/2014/main" id="{655B9106-DAE2-6E41-BBB4-A31E0E4C9F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5338" y="4545013"/>
              <a:ext cx="3175" cy="4762"/>
            </a:xfrm>
            <a:custGeom>
              <a:avLst/>
              <a:gdLst>
                <a:gd name="T0" fmla="*/ 2117 w 9"/>
                <a:gd name="T1" fmla="*/ 4365 h 12"/>
                <a:gd name="T2" fmla="*/ 2822 w 9"/>
                <a:gd name="T3" fmla="*/ 1984 h 12"/>
                <a:gd name="T4" fmla="*/ 0 w 9"/>
                <a:gd name="T5" fmla="*/ 0 h 12"/>
                <a:gd name="T6" fmla="*/ 2117 w 9"/>
                <a:gd name="T7" fmla="*/ 4365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" h="12">
                  <a:moveTo>
                    <a:pt x="6" y="11"/>
                  </a:moveTo>
                  <a:lnTo>
                    <a:pt x="8" y="5"/>
                  </a:lnTo>
                  <a:lnTo>
                    <a:pt x="0" y="0"/>
                  </a:lnTo>
                  <a:lnTo>
                    <a:pt x="6" y="1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Freeform 177">
              <a:extLst>
                <a:ext uri="{FF2B5EF4-FFF2-40B4-BE49-F238E27FC236}">
                  <a16:creationId xmlns:a16="http://schemas.microsoft.com/office/drawing/2014/main" id="{92E0EB9D-8AEE-784D-9EB5-8AA452982E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100" y="4546600"/>
              <a:ext cx="1588" cy="6350"/>
            </a:xfrm>
            <a:custGeom>
              <a:avLst/>
              <a:gdLst>
                <a:gd name="T0" fmla="*/ 529 w 6"/>
                <a:gd name="T1" fmla="*/ 0 h 17"/>
                <a:gd name="T2" fmla="*/ 1323 w 6"/>
                <a:gd name="T3" fmla="*/ 1121 h 17"/>
                <a:gd name="T4" fmla="*/ 1323 w 6"/>
                <a:gd name="T5" fmla="*/ 5976 h 17"/>
                <a:gd name="T6" fmla="*/ 0 w 6"/>
                <a:gd name="T7" fmla="*/ 1121 h 17"/>
                <a:gd name="T8" fmla="*/ 529 w 6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17">
                  <a:moveTo>
                    <a:pt x="2" y="0"/>
                  </a:moveTo>
                  <a:lnTo>
                    <a:pt x="5" y="3"/>
                  </a:lnTo>
                  <a:lnTo>
                    <a:pt x="5" y="16"/>
                  </a:lnTo>
                  <a:lnTo>
                    <a:pt x="0" y="3"/>
                  </a:lnTo>
                  <a:lnTo>
                    <a:pt x="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Freeform 178">
              <a:extLst>
                <a:ext uri="{FF2B5EF4-FFF2-40B4-BE49-F238E27FC236}">
                  <a16:creationId xmlns:a16="http://schemas.microsoft.com/office/drawing/2014/main" id="{C9210584-F62E-7742-8D55-4E4E79B2A4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3100" y="4456113"/>
              <a:ext cx="171450" cy="211137"/>
            </a:xfrm>
            <a:custGeom>
              <a:avLst/>
              <a:gdLst>
                <a:gd name="T0" fmla="*/ 71829 w 475"/>
                <a:gd name="T1" fmla="*/ 6485 h 586"/>
                <a:gd name="T2" fmla="*/ 73633 w 475"/>
                <a:gd name="T3" fmla="*/ 14052 h 586"/>
                <a:gd name="T4" fmla="*/ 78687 w 475"/>
                <a:gd name="T5" fmla="*/ 25581 h 586"/>
                <a:gd name="T6" fmla="*/ 74716 w 475"/>
                <a:gd name="T7" fmla="*/ 22699 h 586"/>
                <a:gd name="T8" fmla="*/ 76521 w 475"/>
                <a:gd name="T9" fmla="*/ 24861 h 586"/>
                <a:gd name="T10" fmla="*/ 71829 w 475"/>
                <a:gd name="T11" fmla="*/ 31346 h 586"/>
                <a:gd name="T12" fmla="*/ 76521 w 475"/>
                <a:gd name="T13" fmla="*/ 34229 h 586"/>
                <a:gd name="T14" fmla="*/ 84101 w 475"/>
                <a:gd name="T15" fmla="*/ 32427 h 586"/>
                <a:gd name="T16" fmla="*/ 86266 w 475"/>
                <a:gd name="T17" fmla="*/ 19817 h 586"/>
                <a:gd name="T18" fmla="*/ 86266 w 475"/>
                <a:gd name="T19" fmla="*/ 19817 h 586"/>
                <a:gd name="T20" fmla="*/ 85184 w 475"/>
                <a:gd name="T21" fmla="*/ 15133 h 586"/>
                <a:gd name="T22" fmla="*/ 84462 w 475"/>
                <a:gd name="T23" fmla="*/ 23780 h 586"/>
                <a:gd name="T24" fmla="*/ 111894 w 475"/>
                <a:gd name="T25" fmla="*/ 101965 h 586"/>
                <a:gd name="T26" fmla="*/ 122361 w 475"/>
                <a:gd name="T27" fmla="*/ 106649 h 586"/>
                <a:gd name="T28" fmla="*/ 128136 w 475"/>
                <a:gd name="T29" fmla="*/ 106649 h 586"/>
                <a:gd name="T30" fmla="*/ 142574 w 475"/>
                <a:gd name="T31" fmla="*/ 122142 h 586"/>
                <a:gd name="T32" fmla="*/ 150154 w 475"/>
                <a:gd name="T33" fmla="*/ 157452 h 586"/>
                <a:gd name="T34" fmla="*/ 121639 w 475"/>
                <a:gd name="T35" fmla="*/ 180151 h 586"/>
                <a:gd name="T36" fmla="*/ 93846 w 475"/>
                <a:gd name="T37" fmla="*/ 206093 h 586"/>
                <a:gd name="T38" fmla="*/ 86266 w 475"/>
                <a:gd name="T39" fmla="*/ 201049 h 586"/>
                <a:gd name="T40" fmla="*/ 92763 w 475"/>
                <a:gd name="T41" fmla="*/ 123944 h 586"/>
                <a:gd name="T42" fmla="*/ 96734 w 475"/>
                <a:gd name="T43" fmla="*/ 108811 h 586"/>
                <a:gd name="T44" fmla="*/ 85184 w 475"/>
                <a:gd name="T45" fmla="*/ 105929 h 586"/>
                <a:gd name="T46" fmla="*/ 59556 w 475"/>
                <a:gd name="T47" fmla="*/ 93318 h 586"/>
                <a:gd name="T48" fmla="*/ 48006 w 475"/>
                <a:gd name="T49" fmla="*/ 85752 h 586"/>
                <a:gd name="T50" fmla="*/ 37539 w 475"/>
                <a:gd name="T51" fmla="*/ 53325 h 586"/>
                <a:gd name="T52" fmla="*/ 0 w 475"/>
                <a:gd name="T53" fmla="*/ 47560 h 586"/>
                <a:gd name="T54" fmla="*/ 7941 w 475"/>
                <a:gd name="T55" fmla="*/ 37111 h 586"/>
                <a:gd name="T56" fmla="*/ 7941 w 475"/>
                <a:gd name="T57" fmla="*/ 33148 h 586"/>
                <a:gd name="T58" fmla="*/ 7941 w 475"/>
                <a:gd name="T59" fmla="*/ 28464 h 586"/>
                <a:gd name="T60" fmla="*/ 55586 w 475"/>
                <a:gd name="T61" fmla="*/ 15133 h 586"/>
                <a:gd name="T62" fmla="*/ 59556 w 475"/>
                <a:gd name="T63" fmla="*/ 7566 h 586"/>
                <a:gd name="T64" fmla="*/ 73633 w 475"/>
                <a:gd name="T65" fmla="*/ 721 h 586"/>
                <a:gd name="T66" fmla="*/ 78687 w 475"/>
                <a:gd name="T67" fmla="*/ 3603 h 586"/>
                <a:gd name="T68" fmla="*/ 82296 w 475"/>
                <a:gd name="T69" fmla="*/ 3603 h 586"/>
                <a:gd name="T70" fmla="*/ 102509 w 475"/>
                <a:gd name="T71" fmla="*/ 19817 h 586"/>
                <a:gd name="T72" fmla="*/ 104314 w 475"/>
                <a:gd name="T73" fmla="*/ 28464 h 586"/>
                <a:gd name="T74" fmla="*/ 122361 w 475"/>
                <a:gd name="T75" fmla="*/ 41795 h 586"/>
                <a:gd name="T76" fmla="*/ 95651 w 475"/>
                <a:gd name="T77" fmla="*/ 78906 h 586"/>
                <a:gd name="T78" fmla="*/ 89876 w 475"/>
                <a:gd name="T79" fmla="*/ 74222 h 586"/>
                <a:gd name="T80" fmla="*/ 74716 w 475"/>
                <a:gd name="T81" fmla="*/ 90436 h 586"/>
                <a:gd name="T82" fmla="*/ 82296 w 475"/>
                <a:gd name="T83" fmla="*/ 83950 h 586"/>
                <a:gd name="T84" fmla="*/ 92042 w 475"/>
                <a:gd name="T85" fmla="*/ 97282 h 586"/>
                <a:gd name="T86" fmla="*/ 93846 w 475"/>
                <a:gd name="T87" fmla="*/ 104848 h 586"/>
                <a:gd name="T88" fmla="*/ 99621 w 475"/>
                <a:gd name="T89" fmla="*/ 104848 h 586"/>
                <a:gd name="T90" fmla="*/ 111894 w 475"/>
                <a:gd name="T91" fmla="*/ 101965 h 5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5" h="586">
                  <a:moveTo>
                    <a:pt x="204" y="39"/>
                  </a:moveTo>
                  <a:cubicBezTo>
                    <a:pt x="207" y="37"/>
                    <a:pt x="204" y="21"/>
                    <a:pt x="199" y="18"/>
                  </a:cubicBezTo>
                  <a:cubicBezTo>
                    <a:pt x="194" y="29"/>
                    <a:pt x="212" y="31"/>
                    <a:pt x="199" y="39"/>
                  </a:cubicBezTo>
                  <a:lnTo>
                    <a:pt x="204" y="39"/>
                  </a:lnTo>
                  <a:close/>
                  <a:moveTo>
                    <a:pt x="234" y="66"/>
                  </a:moveTo>
                  <a:cubicBezTo>
                    <a:pt x="233" y="69"/>
                    <a:pt x="229" y="71"/>
                    <a:pt x="218" y="71"/>
                  </a:cubicBezTo>
                  <a:cubicBezTo>
                    <a:pt x="215" y="69"/>
                    <a:pt x="212" y="66"/>
                    <a:pt x="212" y="63"/>
                  </a:cubicBezTo>
                  <a:lnTo>
                    <a:pt x="207" y="63"/>
                  </a:lnTo>
                  <a:lnTo>
                    <a:pt x="207" y="69"/>
                  </a:lnTo>
                  <a:lnTo>
                    <a:pt x="212" y="69"/>
                  </a:lnTo>
                  <a:cubicBezTo>
                    <a:pt x="210" y="71"/>
                    <a:pt x="207" y="74"/>
                    <a:pt x="204" y="74"/>
                  </a:cubicBezTo>
                  <a:cubicBezTo>
                    <a:pt x="204" y="79"/>
                    <a:pt x="204" y="84"/>
                    <a:pt x="199" y="87"/>
                  </a:cubicBezTo>
                  <a:lnTo>
                    <a:pt x="207" y="87"/>
                  </a:lnTo>
                  <a:cubicBezTo>
                    <a:pt x="210" y="90"/>
                    <a:pt x="212" y="92"/>
                    <a:pt x="212" y="95"/>
                  </a:cubicBezTo>
                  <a:cubicBezTo>
                    <a:pt x="217" y="98"/>
                    <a:pt x="227" y="93"/>
                    <a:pt x="230" y="99"/>
                  </a:cubicBezTo>
                  <a:cubicBezTo>
                    <a:pt x="229" y="95"/>
                    <a:pt x="233" y="92"/>
                    <a:pt x="233" y="90"/>
                  </a:cubicBezTo>
                  <a:cubicBezTo>
                    <a:pt x="233" y="84"/>
                    <a:pt x="232" y="75"/>
                    <a:pt x="234" y="66"/>
                  </a:cubicBezTo>
                  <a:close/>
                  <a:moveTo>
                    <a:pt x="239" y="55"/>
                  </a:moveTo>
                  <a:lnTo>
                    <a:pt x="244" y="50"/>
                  </a:lnTo>
                  <a:cubicBezTo>
                    <a:pt x="241" y="50"/>
                    <a:pt x="241" y="53"/>
                    <a:pt x="239" y="55"/>
                  </a:cubicBezTo>
                  <a:lnTo>
                    <a:pt x="231" y="47"/>
                  </a:lnTo>
                  <a:lnTo>
                    <a:pt x="236" y="42"/>
                  </a:lnTo>
                  <a:cubicBezTo>
                    <a:pt x="231" y="45"/>
                    <a:pt x="228" y="37"/>
                    <a:pt x="223" y="34"/>
                  </a:cubicBezTo>
                  <a:cubicBezTo>
                    <a:pt x="219" y="45"/>
                    <a:pt x="235" y="58"/>
                    <a:pt x="234" y="66"/>
                  </a:cubicBezTo>
                  <a:cubicBezTo>
                    <a:pt x="235" y="62"/>
                    <a:pt x="236" y="58"/>
                    <a:pt x="239" y="55"/>
                  </a:cubicBezTo>
                  <a:close/>
                  <a:moveTo>
                    <a:pt x="310" y="283"/>
                  </a:moveTo>
                  <a:cubicBezTo>
                    <a:pt x="310" y="288"/>
                    <a:pt x="313" y="288"/>
                    <a:pt x="315" y="291"/>
                  </a:cubicBezTo>
                  <a:cubicBezTo>
                    <a:pt x="326" y="280"/>
                    <a:pt x="331" y="288"/>
                    <a:pt x="339" y="296"/>
                  </a:cubicBezTo>
                  <a:cubicBezTo>
                    <a:pt x="342" y="299"/>
                    <a:pt x="347" y="302"/>
                    <a:pt x="353" y="302"/>
                  </a:cubicBezTo>
                  <a:cubicBezTo>
                    <a:pt x="353" y="299"/>
                    <a:pt x="353" y="299"/>
                    <a:pt x="355" y="296"/>
                  </a:cubicBezTo>
                  <a:lnTo>
                    <a:pt x="360" y="296"/>
                  </a:lnTo>
                  <a:cubicBezTo>
                    <a:pt x="366" y="312"/>
                    <a:pt x="392" y="323"/>
                    <a:pt x="395" y="339"/>
                  </a:cubicBezTo>
                  <a:cubicBezTo>
                    <a:pt x="411" y="347"/>
                    <a:pt x="432" y="339"/>
                    <a:pt x="443" y="355"/>
                  </a:cubicBezTo>
                  <a:cubicBezTo>
                    <a:pt x="474" y="389"/>
                    <a:pt x="406" y="402"/>
                    <a:pt x="416" y="437"/>
                  </a:cubicBezTo>
                  <a:cubicBezTo>
                    <a:pt x="411" y="460"/>
                    <a:pt x="392" y="463"/>
                    <a:pt x="371" y="466"/>
                  </a:cubicBezTo>
                  <a:cubicBezTo>
                    <a:pt x="363" y="484"/>
                    <a:pt x="350" y="490"/>
                    <a:pt x="337" y="500"/>
                  </a:cubicBezTo>
                  <a:cubicBezTo>
                    <a:pt x="315" y="500"/>
                    <a:pt x="313" y="516"/>
                    <a:pt x="292" y="521"/>
                  </a:cubicBezTo>
                  <a:cubicBezTo>
                    <a:pt x="284" y="543"/>
                    <a:pt x="265" y="550"/>
                    <a:pt x="260" y="572"/>
                  </a:cubicBezTo>
                  <a:cubicBezTo>
                    <a:pt x="263" y="580"/>
                    <a:pt x="276" y="574"/>
                    <a:pt x="273" y="585"/>
                  </a:cubicBezTo>
                  <a:cubicBezTo>
                    <a:pt x="257" y="585"/>
                    <a:pt x="239" y="577"/>
                    <a:pt x="239" y="558"/>
                  </a:cubicBezTo>
                  <a:cubicBezTo>
                    <a:pt x="244" y="511"/>
                    <a:pt x="278" y="474"/>
                    <a:pt x="284" y="426"/>
                  </a:cubicBezTo>
                  <a:cubicBezTo>
                    <a:pt x="260" y="407"/>
                    <a:pt x="257" y="376"/>
                    <a:pt x="257" y="344"/>
                  </a:cubicBezTo>
                  <a:cubicBezTo>
                    <a:pt x="273" y="336"/>
                    <a:pt x="268" y="320"/>
                    <a:pt x="276" y="309"/>
                  </a:cubicBezTo>
                  <a:lnTo>
                    <a:pt x="268" y="302"/>
                  </a:lnTo>
                  <a:cubicBezTo>
                    <a:pt x="260" y="315"/>
                    <a:pt x="252" y="296"/>
                    <a:pt x="241" y="302"/>
                  </a:cubicBezTo>
                  <a:cubicBezTo>
                    <a:pt x="241" y="299"/>
                    <a:pt x="239" y="296"/>
                    <a:pt x="236" y="294"/>
                  </a:cubicBezTo>
                  <a:cubicBezTo>
                    <a:pt x="231" y="288"/>
                    <a:pt x="223" y="283"/>
                    <a:pt x="218" y="275"/>
                  </a:cubicBezTo>
                  <a:cubicBezTo>
                    <a:pt x="199" y="270"/>
                    <a:pt x="180" y="270"/>
                    <a:pt x="165" y="259"/>
                  </a:cubicBezTo>
                  <a:cubicBezTo>
                    <a:pt x="146" y="257"/>
                    <a:pt x="157" y="235"/>
                    <a:pt x="138" y="230"/>
                  </a:cubicBezTo>
                  <a:cubicBezTo>
                    <a:pt x="135" y="233"/>
                    <a:pt x="133" y="235"/>
                    <a:pt x="133" y="238"/>
                  </a:cubicBezTo>
                  <a:cubicBezTo>
                    <a:pt x="104" y="230"/>
                    <a:pt x="117" y="201"/>
                    <a:pt x="104" y="182"/>
                  </a:cubicBezTo>
                  <a:cubicBezTo>
                    <a:pt x="106" y="169"/>
                    <a:pt x="106" y="159"/>
                    <a:pt x="104" y="148"/>
                  </a:cubicBezTo>
                  <a:cubicBezTo>
                    <a:pt x="101" y="140"/>
                    <a:pt x="98" y="135"/>
                    <a:pt x="93" y="127"/>
                  </a:cubicBezTo>
                  <a:cubicBezTo>
                    <a:pt x="67" y="95"/>
                    <a:pt x="35" y="148"/>
                    <a:pt x="0" y="132"/>
                  </a:cubicBezTo>
                  <a:cubicBezTo>
                    <a:pt x="14" y="132"/>
                    <a:pt x="22" y="124"/>
                    <a:pt x="30" y="116"/>
                  </a:cubicBezTo>
                  <a:cubicBezTo>
                    <a:pt x="27" y="111"/>
                    <a:pt x="19" y="108"/>
                    <a:pt x="22" y="103"/>
                  </a:cubicBezTo>
                  <a:lnTo>
                    <a:pt x="27" y="98"/>
                  </a:lnTo>
                  <a:lnTo>
                    <a:pt x="22" y="92"/>
                  </a:lnTo>
                  <a:lnTo>
                    <a:pt x="27" y="87"/>
                  </a:lnTo>
                  <a:cubicBezTo>
                    <a:pt x="24" y="84"/>
                    <a:pt x="22" y="82"/>
                    <a:pt x="22" y="79"/>
                  </a:cubicBezTo>
                  <a:cubicBezTo>
                    <a:pt x="37" y="66"/>
                    <a:pt x="61" y="47"/>
                    <a:pt x="88" y="50"/>
                  </a:cubicBezTo>
                  <a:cubicBezTo>
                    <a:pt x="109" y="42"/>
                    <a:pt x="135" y="66"/>
                    <a:pt x="154" y="42"/>
                  </a:cubicBezTo>
                  <a:cubicBezTo>
                    <a:pt x="146" y="42"/>
                    <a:pt x="135" y="29"/>
                    <a:pt x="146" y="21"/>
                  </a:cubicBezTo>
                  <a:cubicBezTo>
                    <a:pt x="151" y="21"/>
                    <a:pt x="159" y="10"/>
                    <a:pt x="165" y="21"/>
                  </a:cubicBezTo>
                  <a:cubicBezTo>
                    <a:pt x="170" y="18"/>
                    <a:pt x="170" y="13"/>
                    <a:pt x="170" y="8"/>
                  </a:cubicBezTo>
                  <a:cubicBezTo>
                    <a:pt x="183" y="0"/>
                    <a:pt x="199" y="24"/>
                    <a:pt x="204" y="2"/>
                  </a:cubicBezTo>
                  <a:lnTo>
                    <a:pt x="212" y="2"/>
                  </a:lnTo>
                  <a:cubicBezTo>
                    <a:pt x="212" y="8"/>
                    <a:pt x="215" y="8"/>
                    <a:pt x="218" y="10"/>
                  </a:cubicBezTo>
                  <a:lnTo>
                    <a:pt x="223" y="5"/>
                  </a:lnTo>
                  <a:lnTo>
                    <a:pt x="228" y="10"/>
                  </a:lnTo>
                  <a:cubicBezTo>
                    <a:pt x="239" y="0"/>
                    <a:pt x="247" y="24"/>
                    <a:pt x="263" y="16"/>
                  </a:cubicBezTo>
                  <a:cubicBezTo>
                    <a:pt x="273" y="24"/>
                    <a:pt x="281" y="39"/>
                    <a:pt x="284" y="55"/>
                  </a:cubicBezTo>
                  <a:cubicBezTo>
                    <a:pt x="278" y="55"/>
                    <a:pt x="273" y="55"/>
                    <a:pt x="270" y="61"/>
                  </a:cubicBezTo>
                  <a:lnTo>
                    <a:pt x="289" y="79"/>
                  </a:lnTo>
                  <a:cubicBezTo>
                    <a:pt x="294" y="76"/>
                    <a:pt x="294" y="71"/>
                    <a:pt x="294" y="66"/>
                  </a:cubicBezTo>
                  <a:cubicBezTo>
                    <a:pt x="315" y="76"/>
                    <a:pt x="329" y="98"/>
                    <a:pt x="339" y="116"/>
                  </a:cubicBezTo>
                  <a:cubicBezTo>
                    <a:pt x="315" y="119"/>
                    <a:pt x="297" y="129"/>
                    <a:pt x="284" y="151"/>
                  </a:cubicBezTo>
                  <a:cubicBezTo>
                    <a:pt x="297" y="185"/>
                    <a:pt x="239" y="185"/>
                    <a:pt x="265" y="219"/>
                  </a:cubicBezTo>
                  <a:lnTo>
                    <a:pt x="257" y="227"/>
                  </a:lnTo>
                  <a:cubicBezTo>
                    <a:pt x="257" y="219"/>
                    <a:pt x="255" y="212"/>
                    <a:pt x="249" y="206"/>
                  </a:cubicBezTo>
                  <a:cubicBezTo>
                    <a:pt x="225" y="219"/>
                    <a:pt x="186" y="193"/>
                    <a:pt x="194" y="235"/>
                  </a:cubicBezTo>
                  <a:cubicBezTo>
                    <a:pt x="199" y="241"/>
                    <a:pt x="199" y="249"/>
                    <a:pt x="207" y="251"/>
                  </a:cubicBezTo>
                  <a:cubicBezTo>
                    <a:pt x="218" y="257"/>
                    <a:pt x="223" y="243"/>
                    <a:pt x="228" y="238"/>
                  </a:cubicBezTo>
                  <a:lnTo>
                    <a:pt x="228" y="233"/>
                  </a:lnTo>
                  <a:lnTo>
                    <a:pt x="247" y="233"/>
                  </a:lnTo>
                  <a:cubicBezTo>
                    <a:pt x="255" y="249"/>
                    <a:pt x="228" y="267"/>
                    <a:pt x="255" y="270"/>
                  </a:cubicBezTo>
                  <a:cubicBezTo>
                    <a:pt x="255" y="275"/>
                    <a:pt x="255" y="280"/>
                    <a:pt x="249" y="283"/>
                  </a:cubicBezTo>
                  <a:cubicBezTo>
                    <a:pt x="252" y="288"/>
                    <a:pt x="255" y="291"/>
                    <a:pt x="260" y="291"/>
                  </a:cubicBezTo>
                  <a:lnTo>
                    <a:pt x="270" y="291"/>
                  </a:lnTo>
                  <a:lnTo>
                    <a:pt x="276" y="291"/>
                  </a:lnTo>
                  <a:cubicBezTo>
                    <a:pt x="278" y="291"/>
                    <a:pt x="281" y="291"/>
                    <a:pt x="283" y="295"/>
                  </a:cubicBezTo>
                  <a:cubicBezTo>
                    <a:pt x="292" y="290"/>
                    <a:pt x="298" y="285"/>
                    <a:pt x="310" y="2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Freeform 179">
              <a:extLst>
                <a:ext uri="{FF2B5EF4-FFF2-40B4-BE49-F238E27FC236}">
                  <a16:creationId xmlns:a16="http://schemas.microsoft.com/office/drawing/2014/main" id="{C764B093-D4DE-AC46-A0E1-0F7F70F0F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000" y="4532313"/>
              <a:ext cx="14288" cy="15875"/>
            </a:xfrm>
            <a:custGeom>
              <a:avLst/>
              <a:gdLst>
                <a:gd name="T0" fmla="*/ 1099 w 39"/>
                <a:gd name="T1" fmla="*/ 0 h 46"/>
                <a:gd name="T2" fmla="*/ 6961 w 39"/>
                <a:gd name="T3" fmla="*/ 0 h 46"/>
                <a:gd name="T4" fmla="*/ 11723 w 39"/>
                <a:gd name="T5" fmla="*/ 690 h 46"/>
                <a:gd name="T6" fmla="*/ 13922 w 39"/>
                <a:gd name="T7" fmla="*/ 4486 h 46"/>
                <a:gd name="T8" fmla="*/ 11723 w 39"/>
                <a:gd name="T9" fmla="*/ 7938 h 46"/>
                <a:gd name="T10" fmla="*/ 5862 w 39"/>
                <a:gd name="T11" fmla="*/ 10008 h 46"/>
                <a:gd name="T12" fmla="*/ 5129 w 39"/>
                <a:gd name="T13" fmla="*/ 10008 h 46"/>
                <a:gd name="T14" fmla="*/ 5129 w 39"/>
                <a:gd name="T15" fmla="*/ 15530 h 46"/>
                <a:gd name="T16" fmla="*/ 0 w 39"/>
                <a:gd name="T17" fmla="*/ 15530 h 46"/>
                <a:gd name="T18" fmla="*/ 0 w 39"/>
                <a:gd name="T19" fmla="*/ 0 h 46"/>
                <a:gd name="T20" fmla="*/ 1099 w 39"/>
                <a:gd name="T21" fmla="*/ 0 h 46"/>
                <a:gd name="T22" fmla="*/ 5129 w 39"/>
                <a:gd name="T23" fmla="*/ 6212 h 46"/>
                <a:gd name="T24" fmla="*/ 5862 w 39"/>
                <a:gd name="T25" fmla="*/ 6212 h 46"/>
                <a:gd name="T26" fmla="*/ 8793 w 39"/>
                <a:gd name="T27" fmla="*/ 4486 h 46"/>
                <a:gd name="T28" fmla="*/ 5862 w 39"/>
                <a:gd name="T29" fmla="*/ 2416 h 46"/>
                <a:gd name="T30" fmla="*/ 5129 w 39"/>
                <a:gd name="T31" fmla="*/ 2416 h 46"/>
                <a:gd name="T32" fmla="*/ 5129 w 39"/>
                <a:gd name="T33" fmla="*/ 6212 h 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46">
                  <a:moveTo>
                    <a:pt x="3" y="0"/>
                  </a:moveTo>
                  <a:cubicBezTo>
                    <a:pt x="6" y="0"/>
                    <a:pt x="11" y="0"/>
                    <a:pt x="19" y="0"/>
                  </a:cubicBezTo>
                  <a:cubicBezTo>
                    <a:pt x="24" y="0"/>
                    <a:pt x="29" y="0"/>
                    <a:pt x="32" y="2"/>
                  </a:cubicBezTo>
                  <a:cubicBezTo>
                    <a:pt x="34" y="5"/>
                    <a:pt x="38" y="8"/>
                    <a:pt x="38" y="13"/>
                  </a:cubicBezTo>
                  <a:cubicBezTo>
                    <a:pt x="38" y="19"/>
                    <a:pt x="34" y="21"/>
                    <a:pt x="32" y="23"/>
                  </a:cubicBezTo>
                  <a:cubicBezTo>
                    <a:pt x="29" y="26"/>
                    <a:pt x="24" y="29"/>
                    <a:pt x="16" y="29"/>
                  </a:cubicBezTo>
                  <a:lnTo>
                    <a:pt x="14" y="29"/>
                  </a:lnTo>
                  <a:lnTo>
                    <a:pt x="14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14" y="18"/>
                  </a:moveTo>
                  <a:lnTo>
                    <a:pt x="16" y="18"/>
                  </a:lnTo>
                  <a:cubicBezTo>
                    <a:pt x="22" y="18"/>
                    <a:pt x="24" y="15"/>
                    <a:pt x="24" y="13"/>
                  </a:cubicBezTo>
                  <a:cubicBezTo>
                    <a:pt x="24" y="10"/>
                    <a:pt x="22" y="7"/>
                    <a:pt x="16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1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180">
              <a:extLst>
                <a:ext uri="{FF2B5EF4-FFF2-40B4-BE49-F238E27FC236}">
                  <a16:creationId xmlns:a16="http://schemas.microsoft.com/office/drawing/2014/main" id="{0F335CFE-1643-CE43-BF78-D3C1622FB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2175" y="4554538"/>
              <a:ext cx="15875" cy="15875"/>
            </a:xfrm>
            <a:custGeom>
              <a:avLst/>
              <a:gdLst>
                <a:gd name="T0" fmla="*/ 5907 w 43"/>
                <a:gd name="T1" fmla="*/ 12079 h 46"/>
                <a:gd name="T2" fmla="*/ 4799 w 43"/>
                <a:gd name="T3" fmla="*/ 15530 h 46"/>
                <a:gd name="T4" fmla="*/ 0 w 43"/>
                <a:gd name="T5" fmla="*/ 15530 h 46"/>
                <a:gd name="T6" fmla="*/ 4799 w 43"/>
                <a:gd name="T7" fmla="*/ 0 h 46"/>
                <a:gd name="T8" fmla="*/ 10706 w 43"/>
                <a:gd name="T9" fmla="*/ 0 h 46"/>
                <a:gd name="T10" fmla="*/ 15506 w 43"/>
                <a:gd name="T11" fmla="*/ 15530 h 46"/>
                <a:gd name="T12" fmla="*/ 10706 w 43"/>
                <a:gd name="T13" fmla="*/ 15530 h 46"/>
                <a:gd name="T14" fmla="*/ 9599 w 43"/>
                <a:gd name="T15" fmla="*/ 12079 h 46"/>
                <a:gd name="T16" fmla="*/ 5907 w 43"/>
                <a:gd name="T17" fmla="*/ 12079 h 46"/>
                <a:gd name="T18" fmla="*/ 9599 w 43"/>
                <a:gd name="T19" fmla="*/ 9318 h 46"/>
                <a:gd name="T20" fmla="*/ 8860 w 43"/>
                <a:gd name="T21" fmla="*/ 6557 h 46"/>
                <a:gd name="T22" fmla="*/ 7753 w 43"/>
                <a:gd name="T23" fmla="*/ 3796 h 46"/>
                <a:gd name="T24" fmla="*/ 7753 w 43"/>
                <a:gd name="T25" fmla="*/ 3796 h 46"/>
                <a:gd name="T26" fmla="*/ 6645 w 43"/>
                <a:gd name="T27" fmla="*/ 6557 h 46"/>
                <a:gd name="T28" fmla="*/ 5907 w 43"/>
                <a:gd name="T29" fmla="*/ 9318 h 46"/>
                <a:gd name="T30" fmla="*/ 9599 w 43"/>
                <a:gd name="T31" fmla="*/ 9318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6">
                  <a:moveTo>
                    <a:pt x="16" y="35"/>
                  </a:moveTo>
                  <a:lnTo>
                    <a:pt x="13" y="45"/>
                  </a:lnTo>
                  <a:lnTo>
                    <a:pt x="0" y="45"/>
                  </a:lnTo>
                  <a:lnTo>
                    <a:pt x="13" y="0"/>
                  </a:lnTo>
                  <a:lnTo>
                    <a:pt x="29" y="0"/>
                  </a:lnTo>
                  <a:lnTo>
                    <a:pt x="42" y="45"/>
                  </a:lnTo>
                  <a:lnTo>
                    <a:pt x="29" y="45"/>
                  </a:lnTo>
                  <a:lnTo>
                    <a:pt x="26" y="35"/>
                  </a:lnTo>
                  <a:lnTo>
                    <a:pt x="16" y="35"/>
                  </a:lnTo>
                  <a:close/>
                  <a:moveTo>
                    <a:pt x="26" y="27"/>
                  </a:moveTo>
                  <a:lnTo>
                    <a:pt x="24" y="19"/>
                  </a:lnTo>
                  <a:cubicBezTo>
                    <a:pt x="24" y="16"/>
                    <a:pt x="21" y="14"/>
                    <a:pt x="21" y="11"/>
                  </a:cubicBezTo>
                  <a:cubicBezTo>
                    <a:pt x="21" y="14"/>
                    <a:pt x="21" y="16"/>
                    <a:pt x="18" y="19"/>
                  </a:cubicBezTo>
                  <a:lnTo>
                    <a:pt x="16" y="27"/>
                  </a:lnTo>
                  <a:lnTo>
                    <a:pt x="26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181">
              <a:extLst>
                <a:ext uri="{FF2B5EF4-FFF2-40B4-BE49-F238E27FC236}">
                  <a16:creationId xmlns:a16="http://schemas.microsoft.com/office/drawing/2014/main" id="{F8471EAC-B75C-3043-8389-F415FB96E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000" y="4578350"/>
              <a:ext cx="14288" cy="15875"/>
            </a:xfrm>
            <a:custGeom>
              <a:avLst/>
              <a:gdLst>
                <a:gd name="T0" fmla="*/ 3833 w 41"/>
                <a:gd name="T1" fmla="*/ 0 h 46"/>
                <a:gd name="T2" fmla="*/ 3833 w 41"/>
                <a:gd name="T3" fmla="*/ 5522 h 46"/>
                <a:gd name="T4" fmla="*/ 9409 w 41"/>
                <a:gd name="T5" fmla="*/ 5522 h 46"/>
                <a:gd name="T6" fmla="*/ 9409 w 41"/>
                <a:gd name="T7" fmla="*/ 0 h 46"/>
                <a:gd name="T8" fmla="*/ 13940 w 41"/>
                <a:gd name="T9" fmla="*/ 0 h 46"/>
                <a:gd name="T10" fmla="*/ 13940 w 41"/>
                <a:gd name="T11" fmla="*/ 15530 h 46"/>
                <a:gd name="T12" fmla="*/ 9409 w 41"/>
                <a:gd name="T13" fmla="*/ 15530 h 46"/>
                <a:gd name="T14" fmla="*/ 9409 w 41"/>
                <a:gd name="T15" fmla="*/ 8973 h 46"/>
                <a:gd name="T16" fmla="*/ 3833 w 41"/>
                <a:gd name="T17" fmla="*/ 8973 h 46"/>
                <a:gd name="T18" fmla="*/ 3833 w 41"/>
                <a:gd name="T19" fmla="*/ 15530 h 46"/>
                <a:gd name="T20" fmla="*/ 0 w 41"/>
                <a:gd name="T21" fmla="*/ 15530 h 46"/>
                <a:gd name="T22" fmla="*/ 0 w 41"/>
                <a:gd name="T23" fmla="*/ 0 h 46"/>
                <a:gd name="T24" fmla="*/ 3833 w 41"/>
                <a:gd name="T25" fmla="*/ 0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6">
                  <a:moveTo>
                    <a:pt x="11" y="0"/>
                  </a:moveTo>
                  <a:lnTo>
                    <a:pt x="11" y="16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40" y="0"/>
                  </a:lnTo>
                  <a:lnTo>
                    <a:pt x="40" y="45"/>
                  </a:lnTo>
                  <a:lnTo>
                    <a:pt x="27" y="45"/>
                  </a:lnTo>
                  <a:lnTo>
                    <a:pt x="27" y="26"/>
                  </a:lnTo>
                  <a:lnTo>
                    <a:pt x="11" y="26"/>
                  </a:lnTo>
                  <a:lnTo>
                    <a:pt x="11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182">
              <a:extLst>
                <a:ext uri="{FF2B5EF4-FFF2-40B4-BE49-F238E27FC236}">
                  <a16:creationId xmlns:a16="http://schemas.microsoft.com/office/drawing/2014/main" id="{76DEBAD9-9EE9-A148-8E50-9CDDF99F5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0" y="4600575"/>
              <a:ext cx="15875" cy="17463"/>
            </a:xfrm>
            <a:custGeom>
              <a:avLst/>
              <a:gdLst>
                <a:gd name="T0" fmla="*/ 7247 w 46"/>
                <a:gd name="T1" fmla="*/ 17099 h 48"/>
                <a:gd name="T2" fmla="*/ 0 w 46"/>
                <a:gd name="T3" fmla="*/ 8368 h 48"/>
                <a:gd name="T4" fmla="*/ 7247 w 46"/>
                <a:gd name="T5" fmla="*/ 0 h 48"/>
                <a:gd name="T6" fmla="*/ 15530 w 46"/>
                <a:gd name="T7" fmla="*/ 8368 h 48"/>
                <a:gd name="T8" fmla="*/ 7247 w 46"/>
                <a:gd name="T9" fmla="*/ 17099 h 48"/>
                <a:gd name="T10" fmla="*/ 8973 w 46"/>
                <a:gd name="T11" fmla="*/ 13461 h 48"/>
                <a:gd name="T12" fmla="*/ 11734 w 46"/>
                <a:gd name="T13" fmla="*/ 8368 h 48"/>
                <a:gd name="T14" fmla="*/ 8283 w 46"/>
                <a:gd name="T15" fmla="*/ 3638 h 48"/>
                <a:gd name="T16" fmla="*/ 5522 w 46"/>
                <a:gd name="T17" fmla="*/ 8368 h 48"/>
                <a:gd name="T18" fmla="*/ 8973 w 46"/>
                <a:gd name="T19" fmla="*/ 13461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" h="48">
                  <a:moveTo>
                    <a:pt x="21" y="47"/>
                  </a:moveTo>
                  <a:cubicBezTo>
                    <a:pt x="8" y="47"/>
                    <a:pt x="0" y="37"/>
                    <a:pt x="0" y="23"/>
                  </a:cubicBezTo>
                  <a:cubicBezTo>
                    <a:pt x="0" y="10"/>
                    <a:pt x="8" y="0"/>
                    <a:pt x="21" y="0"/>
                  </a:cubicBezTo>
                  <a:cubicBezTo>
                    <a:pt x="40" y="0"/>
                    <a:pt x="45" y="10"/>
                    <a:pt x="45" y="23"/>
                  </a:cubicBezTo>
                  <a:cubicBezTo>
                    <a:pt x="45" y="37"/>
                    <a:pt x="37" y="47"/>
                    <a:pt x="21" y="47"/>
                  </a:cubicBezTo>
                  <a:close/>
                  <a:moveTo>
                    <a:pt x="26" y="37"/>
                  </a:moveTo>
                  <a:cubicBezTo>
                    <a:pt x="32" y="37"/>
                    <a:pt x="34" y="31"/>
                    <a:pt x="34" y="23"/>
                  </a:cubicBezTo>
                  <a:cubicBezTo>
                    <a:pt x="34" y="15"/>
                    <a:pt x="32" y="10"/>
                    <a:pt x="24" y="10"/>
                  </a:cubicBezTo>
                  <a:cubicBezTo>
                    <a:pt x="18" y="10"/>
                    <a:pt x="16" y="15"/>
                    <a:pt x="16" y="23"/>
                  </a:cubicBezTo>
                  <a:cubicBezTo>
                    <a:pt x="16" y="31"/>
                    <a:pt x="18" y="37"/>
                    <a:pt x="26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2" name="Freeform 183">
              <a:extLst>
                <a:ext uri="{FF2B5EF4-FFF2-40B4-BE49-F238E27FC236}">
                  <a16:creationId xmlns:a16="http://schemas.microsoft.com/office/drawing/2014/main" id="{2B8EDBC2-2255-EF45-BAFE-D60279BCF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9600" y="4540250"/>
              <a:ext cx="15875" cy="17463"/>
            </a:xfrm>
            <a:custGeom>
              <a:avLst/>
              <a:gdLst>
                <a:gd name="T0" fmla="*/ 7247 w 46"/>
                <a:gd name="T1" fmla="*/ 17099 h 48"/>
                <a:gd name="T2" fmla="*/ 0 w 46"/>
                <a:gd name="T3" fmla="*/ 8732 h 48"/>
                <a:gd name="T4" fmla="*/ 7247 w 46"/>
                <a:gd name="T5" fmla="*/ 0 h 48"/>
                <a:gd name="T6" fmla="*/ 15530 w 46"/>
                <a:gd name="T7" fmla="*/ 8732 h 48"/>
                <a:gd name="T8" fmla="*/ 7247 w 46"/>
                <a:gd name="T9" fmla="*/ 17099 h 48"/>
                <a:gd name="T10" fmla="*/ 8283 w 46"/>
                <a:gd name="T11" fmla="*/ 13461 h 48"/>
                <a:gd name="T12" fmla="*/ 11043 w 46"/>
                <a:gd name="T13" fmla="*/ 8732 h 48"/>
                <a:gd name="T14" fmla="*/ 7247 w 46"/>
                <a:gd name="T15" fmla="*/ 3638 h 48"/>
                <a:gd name="T16" fmla="*/ 4486 w 46"/>
                <a:gd name="T17" fmla="*/ 8732 h 48"/>
                <a:gd name="T18" fmla="*/ 8283 w 46"/>
                <a:gd name="T19" fmla="*/ 13461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" h="48">
                  <a:moveTo>
                    <a:pt x="21" y="47"/>
                  </a:moveTo>
                  <a:cubicBezTo>
                    <a:pt x="8" y="47"/>
                    <a:pt x="0" y="38"/>
                    <a:pt x="0" y="24"/>
                  </a:cubicBezTo>
                  <a:cubicBezTo>
                    <a:pt x="0" y="11"/>
                    <a:pt x="8" y="0"/>
                    <a:pt x="21" y="0"/>
                  </a:cubicBezTo>
                  <a:cubicBezTo>
                    <a:pt x="37" y="0"/>
                    <a:pt x="45" y="11"/>
                    <a:pt x="45" y="24"/>
                  </a:cubicBezTo>
                  <a:cubicBezTo>
                    <a:pt x="45" y="38"/>
                    <a:pt x="37" y="47"/>
                    <a:pt x="21" y="47"/>
                  </a:cubicBezTo>
                  <a:close/>
                  <a:moveTo>
                    <a:pt x="24" y="37"/>
                  </a:moveTo>
                  <a:cubicBezTo>
                    <a:pt x="29" y="37"/>
                    <a:pt x="32" y="32"/>
                    <a:pt x="32" y="24"/>
                  </a:cubicBezTo>
                  <a:cubicBezTo>
                    <a:pt x="32" y="17"/>
                    <a:pt x="29" y="10"/>
                    <a:pt x="21" y="10"/>
                  </a:cubicBezTo>
                  <a:cubicBezTo>
                    <a:pt x="16" y="10"/>
                    <a:pt x="13" y="17"/>
                    <a:pt x="13" y="24"/>
                  </a:cubicBezTo>
                  <a:cubicBezTo>
                    <a:pt x="13" y="32"/>
                    <a:pt x="16" y="37"/>
                    <a:pt x="24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184">
              <a:extLst>
                <a:ext uri="{FF2B5EF4-FFF2-40B4-BE49-F238E27FC236}">
                  <a16:creationId xmlns:a16="http://schemas.microsoft.com/office/drawing/2014/main" id="{9A7EAE7A-302A-3D4E-8FCF-248D065C1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013" y="4567238"/>
              <a:ext cx="14287" cy="15875"/>
            </a:xfrm>
            <a:custGeom>
              <a:avLst/>
              <a:gdLst>
                <a:gd name="T0" fmla="*/ 1128 w 38"/>
                <a:gd name="T1" fmla="*/ 0 h 46"/>
                <a:gd name="T2" fmla="*/ 7144 w 38"/>
                <a:gd name="T3" fmla="*/ 0 h 46"/>
                <a:gd name="T4" fmla="*/ 12031 w 38"/>
                <a:gd name="T5" fmla="*/ 690 h 46"/>
                <a:gd name="T6" fmla="*/ 13911 w 38"/>
                <a:gd name="T7" fmla="*/ 4486 h 46"/>
                <a:gd name="T8" fmla="*/ 12031 w 38"/>
                <a:gd name="T9" fmla="*/ 8283 h 46"/>
                <a:gd name="T10" fmla="*/ 6016 w 38"/>
                <a:gd name="T11" fmla="*/ 10008 h 46"/>
                <a:gd name="T12" fmla="*/ 5264 w 38"/>
                <a:gd name="T13" fmla="*/ 10008 h 46"/>
                <a:gd name="T14" fmla="*/ 5264 w 38"/>
                <a:gd name="T15" fmla="*/ 15530 h 46"/>
                <a:gd name="T16" fmla="*/ 0 w 38"/>
                <a:gd name="T17" fmla="*/ 15530 h 46"/>
                <a:gd name="T18" fmla="*/ 0 w 38"/>
                <a:gd name="T19" fmla="*/ 0 h 46"/>
                <a:gd name="T20" fmla="*/ 1128 w 38"/>
                <a:gd name="T21" fmla="*/ 0 h 46"/>
                <a:gd name="T22" fmla="*/ 5264 w 38"/>
                <a:gd name="T23" fmla="*/ 7247 h 46"/>
                <a:gd name="T24" fmla="*/ 6016 w 38"/>
                <a:gd name="T25" fmla="*/ 7247 h 46"/>
                <a:gd name="T26" fmla="*/ 9023 w 38"/>
                <a:gd name="T27" fmla="*/ 5522 h 46"/>
                <a:gd name="T28" fmla="*/ 6016 w 38"/>
                <a:gd name="T29" fmla="*/ 3451 h 46"/>
                <a:gd name="T30" fmla="*/ 5264 w 38"/>
                <a:gd name="T31" fmla="*/ 3451 h 46"/>
                <a:gd name="T32" fmla="*/ 5264 w 38"/>
                <a:gd name="T33" fmla="*/ 7247 h 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8" h="46">
                  <a:moveTo>
                    <a:pt x="3" y="0"/>
                  </a:moveTo>
                  <a:cubicBezTo>
                    <a:pt x="6" y="0"/>
                    <a:pt x="11" y="0"/>
                    <a:pt x="19" y="0"/>
                  </a:cubicBezTo>
                  <a:cubicBezTo>
                    <a:pt x="24" y="0"/>
                    <a:pt x="29" y="0"/>
                    <a:pt x="32" y="2"/>
                  </a:cubicBezTo>
                  <a:cubicBezTo>
                    <a:pt x="35" y="5"/>
                    <a:pt x="37" y="8"/>
                    <a:pt x="37" y="13"/>
                  </a:cubicBezTo>
                  <a:cubicBezTo>
                    <a:pt x="37" y="18"/>
                    <a:pt x="35" y="21"/>
                    <a:pt x="32" y="24"/>
                  </a:cubicBezTo>
                  <a:cubicBezTo>
                    <a:pt x="29" y="26"/>
                    <a:pt x="24" y="29"/>
                    <a:pt x="16" y="29"/>
                  </a:cubicBezTo>
                  <a:lnTo>
                    <a:pt x="14" y="29"/>
                  </a:lnTo>
                  <a:lnTo>
                    <a:pt x="14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14" y="21"/>
                  </a:moveTo>
                  <a:lnTo>
                    <a:pt x="16" y="21"/>
                  </a:lnTo>
                  <a:cubicBezTo>
                    <a:pt x="21" y="21"/>
                    <a:pt x="24" y="18"/>
                    <a:pt x="24" y="16"/>
                  </a:cubicBezTo>
                  <a:cubicBezTo>
                    <a:pt x="24" y="13"/>
                    <a:pt x="21" y="10"/>
                    <a:pt x="16" y="10"/>
                  </a:cubicBezTo>
                  <a:cubicBezTo>
                    <a:pt x="14" y="10"/>
                    <a:pt x="14" y="10"/>
                    <a:pt x="14" y="10"/>
                  </a:cubicBezTo>
                  <a:lnTo>
                    <a:pt x="14" y="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4" name="Freeform 185">
              <a:extLst>
                <a:ext uri="{FF2B5EF4-FFF2-40B4-BE49-F238E27FC236}">
                  <a16:creationId xmlns:a16="http://schemas.microsoft.com/office/drawing/2014/main" id="{982492C6-5C18-AB4E-9195-356D7EF6E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4363" y="4589463"/>
              <a:ext cx="11112" cy="15875"/>
            </a:xfrm>
            <a:custGeom>
              <a:avLst/>
              <a:gdLst>
                <a:gd name="T0" fmla="*/ 1684 w 33"/>
                <a:gd name="T1" fmla="*/ 11043 h 46"/>
                <a:gd name="T2" fmla="*/ 5388 w 33"/>
                <a:gd name="T3" fmla="*/ 12079 h 46"/>
                <a:gd name="T4" fmla="*/ 7071 w 33"/>
                <a:gd name="T5" fmla="*/ 11043 h 46"/>
                <a:gd name="T6" fmla="*/ 4377 w 33"/>
                <a:gd name="T7" fmla="*/ 9318 h 46"/>
                <a:gd name="T8" fmla="*/ 0 w 33"/>
                <a:gd name="T9" fmla="*/ 4832 h 46"/>
                <a:gd name="T10" fmla="*/ 6398 w 33"/>
                <a:gd name="T11" fmla="*/ 0 h 46"/>
                <a:gd name="T12" fmla="*/ 10775 w 33"/>
                <a:gd name="T13" fmla="*/ 1035 h 46"/>
                <a:gd name="T14" fmla="*/ 9765 w 33"/>
                <a:gd name="T15" fmla="*/ 4832 h 46"/>
                <a:gd name="T16" fmla="*/ 6398 w 33"/>
                <a:gd name="T17" fmla="*/ 3796 h 46"/>
                <a:gd name="T18" fmla="*/ 4377 w 33"/>
                <a:gd name="T19" fmla="*/ 4832 h 46"/>
                <a:gd name="T20" fmla="*/ 7071 w 33"/>
                <a:gd name="T21" fmla="*/ 6557 h 46"/>
                <a:gd name="T22" fmla="*/ 10775 w 33"/>
                <a:gd name="T23" fmla="*/ 11043 h 46"/>
                <a:gd name="T24" fmla="*/ 4377 w 33"/>
                <a:gd name="T25" fmla="*/ 15530 h 46"/>
                <a:gd name="T26" fmla="*/ 0 w 33"/>
                <a:gd name="T27" fmla="*/ 14840 h 46"/>
                <a:gd name="T28" fmla="*/ 1684 w 33"/>
                <a:gd name="T29" fmla="*/ 11043 h 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46">
                  <a:moveTo>
                    <a:pt x="5" y="32"/>
                  </a:moveTo>
                  <a:cubicBezTo>
                    <a:pt x="8" y="35"/>
                    <a:pt x="13" y="35"/>
                    <a:pt x="16" y="35"/>
                  </a:cubicBezTo>
                  <a:cubicBezTo>
                    <a:pt x="21" y="35"/>
                    <a:pt x="21" y="32"/>
                    <a:pt x="21" y="32"/>
                  </a:cubicBezTo>
                  <a:cubicBezTo>
                    <a:pt x="21" y="30"/>
                    <a:pt x="19" y="30"/>
                    <a:pt x="13" y="27"/>
                  </a:cubicBezTo>
                  <a:cubicBezTo>
                    <a:pt x="5" y="24"/>
                    <a:pt x="0" y="19"/>
                    <a:pt x="0" y="14"/>
                  </a:cubicBezTo>
                  <a:cubicBezTo>
                    <a:pt x="0" y="6"/>
                    <a:pt x="8" y="0"/>
                    <a:pt x="19" y="0"/>
                  </a:cubicBezTo>
                  <a:cubicBezTo>
                    <a:pt x="24" y="0"/>
                    <a:pt x="27" y="0"/>
                    <a:pt x="32" y="3"/>
                  </a:cubicBezTo>
                  <a:lnTo>
                    <a:pt x="29" y="14"/>
                  </a:lnTo>
                  <a:cubicBezTo>
                    <a:pt x="27" y="14"/>
                    <a:pt x="24" y="11"/>
                    <a:pt x="19" y="11"/>
                  </a:cubicBezTo>
                  <a:cubicBezTo>
                    <a:pt x="16" y="11"/>
                    <a:pt x="13" y="14"/>
                    <a:pt x="13" y="14"/>
                  </a:cubicBezTo>
                  <a:cubicBezTo>
                    <a:pt x="13" y="16"/>
                    <a:pt x="16" y="16"/>
                    <a:pt x="21" y="19"/>
                  </a:cubicBezTo>
                  <a:cubicBezTo>
                    <a:pt x="29" y="22"/>
                    <a:pt x="32" y="27"/>
                    <a:pt x="32" y="32"/>
                  </a:cubicBezTo>
                  <a:cubicBezTo>
                    <a:pt x="32" y="40"/>
                    <a:pt x="27" y="45"/>
                    <a:pt x="13" y="45"/>
                  </a:cubicBezTo>
                  <a:cubicBezTo>
                    <a:pt x="8" y="45"/>
                    <a:pt x="3" y="43"/>
                    <a:pt x="0" y="43"/>
                  </a:cubicBezTo>
                  <a:lnTo>
                    <a:pt x="5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Freeform 186">
              <a:extLst>
                <a:ext uri="{FF2B5EF4-FFF2-40B4-BE49-F238E27FC236}">
                  <a16:creationId xmlns:a16="http://schemas.microsoft.com/office/drawing/2014/main" id="{1C9359BF-97AF-EB4A-8917-4C69F0D31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9325" y="4416425"/>
              <a:ext cx="61913" cy="85725"/>
            </a:xfrm>
            <a:custGeom>
              <a:avLst/>
              <a:gdLst>
                <a:gd name="T0" fmla="*/ 30775 w 171"/>
                <a:gd name="T1" fmla="*/ 0 h 240"/>
                <a:gd name="T2" fmla="*/ 61551 w 171"/>
                <a:gd name="T3" fmla="*/ 42863 h 240"/>
                <a:gd name="T4" fmla="*/ 30775 w 171"/>
                <a:gd name="T5" fmla="*/ 85368 h 240"/>
                <a:gd name="T6" fmla="*/ 0 w 171"/>
                <a:gd name="T7" fmla="*/ 42863 h 240"/>
                <a:gd name="T8" fmla="*/ 30775 w 171"/>
                <a:gd name="T9" fmla="*/ 0 h 240"/>
                <a:gd name="T10" fmla="*/ 30775 w 171"/>
                <a:gd name="T11" fmla="*/ 73938 h 240"/>
                <a:gd name="T12" fmla="*/ 47068 w 171"/>
                <a:gd name="T13" fmla="*/ 42863 h 240"/>
                <a:gd name="T14" fmla="*/ 30775 w 171"/>
                <a:gd name="T15" fmla="*/ 11430 h 240"/>
                <a:gd name="T16" fmla="*/ 14483 w 171"/>
                <a:gd name="T17" fmla="*/ 42863 h 240"/>
                <a:gd name="T18" fmla="*/ 30775 w 171"/>
                <a:gd name="T19" fmla="*/ 73938 h 2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1" h="240">
                  <a:moveTo>
                    <a:pt x="85" y="0"/>
                  </a:moveTo>
                  <a:cubicBezTo>
                    <a:pt x="130" y="0"/>
                    <a:pt x="170" y="38"/>
                    <a:pt x="170" y="120"/>
                  </a:cubicBezTo>
                  <a:cubicBezTo>
                    <a:pt x="170" y="204"/>
                    <a:pt x="127" y="239"/>
                    <a:pt x="85" y="239"/>
                  </a:cubicBezTo>
                  <a:cubicBezTo>
                    <a:pt x="40" y="239"/>
                    <a:pt x="0" y="202"/>
                    <a:pt x="0" y="120"/>
                  </a:cubicBezTo>
                  <a:cubicBezTo>
                    <a:pt x="0" y="38"/>
                    <a:pt x="40" y="0"/>
                    <a:pt x="85" y="0"/>
                  </a:cubicBezTo>
                  <a:close/>
                  <a:moveTo>
                    <a:pt x="85" y="207"/>
                  </a:moveTo>
                  <a:cubicBezTo>
                    <a:pt x="109" y="207"/>
                    <a:pt x="130" y="183"/>
                    <a:pt x="130" y="120"/>
                  </a:cubicBezTo>
                  <a:cubicBezTo>
                    <a:pt x="130" y="56"/>
                    <a:pt x="109" y="32"/>
                    <a:pt x="85" y="32"/>
                  </a:cubicBezTo>
                  <a:cubicBezTo>
                    <a:pt x="61" y="32"/>
                    <a:pt x="40" y="56"/>
                    <a:pt x="40" y="120"/>
                  </a:cubicBezTo>
                  <a:cubicBezTo>
                    <a:pt x="40" y="186"/>
                    <a:pt x="61" y="207"/>
                    <a:pt x="85" y="20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187">
              <a:extLst>
                <a:ext uri="{FF2B5EF4-FFF2-40B4-BE49-F238E27FC236}">
                  <a16:creationId xmlns:a16="http://schemas.microsoft.com/office/drawing/2014/main" id="{B8AEC5E9-8E44-7248-9EB6-E09476F24E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2350" y="4438650"/>
              <a:ext cx="28575" cy="63500"/>
            </a:xfrm>
            <a:custGeom>
              <a:avLst/>
              <a:gdLst>
                <a:gd name="T0" fmla="*/ 0 w 80"/>
                <a:gd name="T1" fmla="*/ 11545 h 176"/>
                <a:gd name="T2" fmla="*/ 0 w 80"/>
                <a:gd name="T3" fmla="*/ 1082 h 176"/>
                <a:gd name="T4" fmla="*/ 12144 w 80"/>
                <a:gd name="T5" fmla="*/ 1082 h 176"/>
                <a:gd name="T6" fmla="*/ 12144 w 80"/>
                <a:gd name="T7" fmla="*/ 12628 h 176"/>
                <a:gd name="T8" fmla="*/ 12144 w 80"/>
                <a:gd name="T9" fmla="*/ 12628 h 176"/>
                <a:gd name="T10" fmla="*/ 26432 w 80"/>
                <a:gd name="T11" fmla="*/ 0 h 176"/>
                <a:gd name="T12" fmla="*/ 28218 w 80"/>
                <a:gd name="T13" fmla="*/ 0 h 176"/>
                <a:gd name="T14" fmla="*/ 28218 w 80"/>
                <a:gd name="T15" fmla="*/ 14432 h 176"/>
                <a:gd name="T16" fmla="*/ 24289 w 80"/>
                <a:gd name="T17" fmla="*/ 13349 h 176"/>
                <a:gd name="T18" fmla="*/ 13216 w 80"/>
                <a:gd name="T19" fmla="*/ 28864 h 176"/>
                <a:gd name="T20" fmla="*/ 13216 w 80"/>
                <a:gd name="T21" fmla="*/ 63139 h 176"/>
                <a:gd name="T22" fmla="*/ 0 w 80"/>
                <a:gd name="T23" fmla="*/ 63139 h 176"/>
                <a:gd name="T24" fmla="*/ 0 w 80"/>
                <a:gd name="T25" fmla="*/ 11545 h 1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0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4" y="3"/>
                  </a:lnTo>
                  <a:cubicBezTo>
                    <a:pt x="34" y="14"/>
                    <a:pt x="34" y="24"/>
                    <a:pt x="34" y="35"/>
                  </a:cubicBezTo>
                  <a:cubicBezTo>
                    <a:pt x="39" y="22"/>
                    <a:pt x="50" y="0"/>
                    <a:pt x="74" y="0"/>
                  </a:cubicBezTo>
                  <a:cubicBezTo>
                    <a:pt x="76" y="0"/>
                    <a:pt x="79" y="0"/>
                    <a:pt x="79" y="0"/>
                  </a:cubicBezTo>
                  <a:lnTo>
                    <a:pt x="79" y="40"/>
                  </a:lnTo>
                  <a:cubicBezTo>
                    <a:pt x="76" y="40"/>
                    <a:pt x="71" y="37"/>
                    <a:pt x="68" y="37"/>
                  </a:cubicBezTo>
                  <a:cubicBezTo>
                    <a:pt x="52" y="37"/>
                    <a:pt x="37" y="48"/>
                    <a:pt x="37" y="80"/>
                  </a:cubicBezTo>
                  <a:lnTo>
                    <a:pt x="37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188">
              <a:extLst>
                <a:ext uri="{FF2B5EF4-FFF2-40B4-BE49-F238E27FC236}">
                  <a16:creationId xmlns:a16="http://schemas.microsoft.com/office/drawing/2014/main" id="{C04C7BF7-1781-EB41-B76F-1BACED2CB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863" y="4438650"/>
              <a:ext cx="49212" cy="90488"/>
            </a:xfrm>
            <a:custGeom>
              <a:avLst/>
              <a:gdLst>
                <a:gd name="T0" fmla="*/ 2895 w 136"/>
                <a:gd name="T1" fmla="*/ 72752 h 250"/>
                <a:gd name="T2" fmla="*/ 20264 w 136"/>
                <a:gd name="T3" fmla="*/ 78544 h 250"/>
                <a:gd name="T4" fmla="*/ 35462 w 136"/>
                <a:gd name="T5" fmla="*/ 59360 h 250"/>
                <a:gd name="T6" fmla="*/ 35462 w 136"/>
                <a:gd name="T7" fmla="*/ 52845 h 250"/>
                <a:gd name="T8" fmla="*/ 35462 w 136"/>
                <a:gd name="T9" fmla="*/ 52845 h 250"/>
                <a:gd name="T10" fmla="*/ 20264 w 136"/>
                <a:gd name="T11" fmla="*/ 63342 h 250"/>
                <a:gd name="T12" fmla="*/ 0 w 136"/>
                <a:gd name="T13" fmla="*/ 32576 h 250"/>
                <a:gd name="T14" fmla="*/ 20987 w 136"/>
                <a:gd name="T15" fmla="*/ 0 h 250"/>
                <a:gd name="T16" fmla="*/ 36547 w 136"/>
                <a:gd name="T17" fmla="*/ 10497 h 250"/>
                <a:gd name="T18" fmla="*/ 36547 w 136"/>
                <a:gd name="T19" fmla="*/ 10497 h 250"/>
                <a:gd name="T20" fmla="*/ 36547 w 136"/>
                <a:gd name="T21" fmla="*/ 1086 h 250"/>
                <a:gd name="T22" fmla="*/ 48850 w 136"/>
                <a:gd name="T23" fmla="*/ 1086 h 250"/>
                <a:gd name="T24" fmla="*/ 48850 w 136"/>
                <a:gd name="T25" fmla="*/ 10497 h 250"/>
                <a:gd name="T26" fmla="*/ 48850 w 136"/>
                <a:gd name="T27" fmla="*/ 56465 h 250"/>
                <a:gd name="T28" fmla="*/ 22073 w 136"/>
                <a:gd name="T29" fmla="*/ 90126 h 250"/>
                <a:gd name="T30" fmla="*/ 1809 w 136"/>
                <a:gd name="T31" fmla="*/ 86145 h 250"/>
                <a:gd name="T32" fmla="*/ 2895 w 136"/>
                <a:gd name="T33" fmla="*/ 72752 h 250"/>
                <a:gd name="T34" fmla="*/ 23159 w 136"/>
                <a:gd name="T35" fmla="*/ 51759 h 250"/>
                <a:gd name="T36" fmla="*/ 35462 w 136"/>
                <a:gd name="T37" fmla="*/ 30766 h 250"/>
                <a:gd name="T38" fmla="*/ 23882 w 136"/>
                <a:gd name="T39" fmla="*/ 10497 h 250"/>
                <a:gd name="T40" fmla="*/ 14474 w 136"/>
                <a:gd name="T41" fmla="*/ 30766 h 250"/>
                <a:gd name="T42" fmla="*/ 23159 w 136"/>
                <a:gd name="T43" fmla="*/ 51759 h 2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6" h="250">
                  <a:moveTo>
                    <a:pt x="8" y="201"/>
                  </a:moveTo>
                  <a:cubicBezTo>
                    <a:pt x="16" y="207"/>
                    <a:pt x="35" y="217"/>
                    <a:pt x="56" y="217"/>
                  </a:cubicBezTo>
                  <a:cubicBezTo>
                    <a:pt x="93" y="217"/>
                    <a:pt x="98" y="191"/>
                    <a:pt x="98" y="164"/>
                  </a:cubicBezTo>
                  <a:lnTo>
                    <a:pt x="98" y="146"/>
                  </a:lnTo>
                  <a:cubicBezTo>
                    <a:pt x="93" y="159"/>
                    <a:pt x="82" y="175"/>
                    <a:pt x="56" y="175"/>
                  </a:cubicBezTo>
                  <a:cubicBezTo>
                    <a:pt x="35" y="175"/>
                    <a:pt x="0" y="159"/>
                    <a:pt x="0" y="90"/>
                  </a:cubicBezTo>
                  <a:cubicBezTo>
                    <a:pt x="0" y="42"/>
                    <a:pt x="16" y="0"/>
                    <a:pt x="58" y="0"/>
                  </a:cubicBezTo>
                  <a:cubicBezTo>
                    <a:pt x="82" y="0"/>
                    <a:pt x="93" y="13"/>
                    <a:pt x="101" y="29"/>
                  </a:cubicBezTo>
                  <a:cubicBezTo>
                    <a:pt x="101" y="21"/>
                    <a:pt x="101" y="11"/>
                    <a:pt x="101" y="3"/>
                  </a:cubicBezTo>
                  <a:lnTo>
                    <a:pt x="135" y="3"/>
                  </a:lnTo>
                  <a:cubicBezTo>
                    <a:pt x="135" y="11"/>
                    <a:pt x="135" y="21"/>
                    <a:pt x="135" y="29"/>
                  </a:cubicBezTo>
                  <a:lnTo>
                    <a:pt x="135" y="156"/>
                  </a:lnTo>
                  <a:cubicBezTo>
                    <a:pt x="135" y="209"/>
                    <a:pt x="119" y="249"/>
                    <a:pt x="61" y="249"/>
                  </a:cubicBezTo>
                  <a:cubicBezTo>
                    <a:pt x="35" y="249"/>
                    <a:pt x="16" y="241"/>
                    <a:pt x="5" y="238"/>
                  </a:cubicBezTo>
                  <a:lnTo>
                    <a:pt x="8" y="201"/>
                  </a:lnTo>
                  <a:close/>
                  <a:moveTo>
                    <a:pt x="64" y="143"/>
                  </a:moveTo>
                  <a:cubicBezTo>
                    <a:pt x="88" y="143"/>
                    <a:pt x="98" y="124"/>
                    <a:pt x="98" y="85"/>
                  </a:cubicBezTo>
                  <a:cubicBezTo>
                    <a:pt x="98" y="48"/>
                    <a:pt x="85" y="29"/>
                    <a:pt x="66" y="29"/>
                  </a:cubicBezTo>
                  <a:cubicBezTo>
                    <a:pt x="45" y="29"/>
                    <a:pt x="40" y="50"/>
                    <a:pt x="40" y="85"/>
                  </a:cubicBezTo>
                  <a:cubicBezTo>
                    <a:pt x="37" y="127"/>
                    <a:pt x="50" y="143"/>
                    <a:pt x="64" y="1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189">
              <a:extLst>
                <a:ext uri="{FF2B5EF4-FFF2-40B4-BE49-F238E27FC236}">
                  <a16:creationId xmlns:a16="http://schemas.microsoft.com/office/drawing/2014/main" id="{3BB1353C-9FF3-5943-BAA6-8BD3C7984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4438650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4173 h 176"/>
                <a:gd name="T20" fmla="*/ 33810 w 131"/>
                <a:gd name="T21" fmla="*/ 2417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1629 w 131"/>
                <a:gd name="T31" fmla="*/ 33554 h 176"/>
                <a:gd name="T32" fmla="*/ 12361 w 131"/>
                <a:gd name="T33" fmla="*/ 45099 h 176"/>
                <a:gd name="T34" fmla="*/ 21086 w 131"/>
                <a:gd name="T35" fmla="*/ 54480 h 176"/>
                <a:gd name="T36" fmla="*/ 32719 w 131"/>
                <a:gd name="T37" fmla="*/ 36440 h 176"/>
                <a:gd name="T38" fmla="*/ 32719 w 131"/>
                <a:gd name="T39" fmla="*/ 33554 h 176"/>
                <a:gd name="T40" fmla="*/ 31629 w 131"/>
                <a:gd name="T41" fmla="*/ 33554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5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4" y="67"/>
                    <a:pt x="85" y="67"/>
                  </a:cubicBezTo>
                  <a:lnTo>
                    <a:pt x="93" y="67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87" y="93"/>
                  </a:moveTo>
                  <a:cubicBezTo>
                    <a:pt x="56" y="93"/>
                    <a:pt x="34" y="101"/>
                    <a:pt x="34" y="125"/>
                  </a:cubicBezTo>
                  <a:cubicBezTo>
                    <a:pt x="34" y="141"/>
                    <a:pt x="45" y="151"/>
                    <a:pt x="58" y="151"/>
                  </a:cubicBezTo>
                  <a:cubicBezTo>
                    <a:pt x="82" y="151"/>
                    <a:pt x="90" y="133"/>
                    <a:pt x="90" y="101"/>
                  </a:cubicBezTo>
                  <a:lnTo>
                    <a:pt x="90" y="93"/>
                  </a:lnTo>
                  <a:lnTo>
                    <a:pt x="87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190">
              <a:extLst>
                <a:ext uri="{FF2B5EF4-FFF2-40B4-BE49-F238E27FC236}">
                  <a16:creationId xmlns:a16="http://schemas.microsoft.com/office/drawing/2014/main" id="{EC4E4941-9F87-DD43-8155-691CD8B289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4438650"/>
              <a:ext cx="46037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413 w 128"/>
                <a:gd name="T13" fmla="*/ 0 h 176"/>
                <a:gd name="T14" fmla="*/ 45677 w 128"/>
                <a:gd name="T15" fmla="*/ 23091 h 176"/>
                <a:gd name="T16" fmla="*/ 45677 w 128"/>
                <a:gd name="T17" fmla="*/ 63139 h 176"/>
                <a:gd name="T18" fmla="*/ 32370 w 128"/>
                <a:gd name="T19" fmla="*/ 63139 h 176"/>
                <a:gd name="T20" fmla="*/ 32370 w 128"/>
                <a:gd name="T21" fmla="*/ 25977 h 176"/>
                <a:gd name="T22" fmla="*/ 24817 w 128"/>
                <a:gd name="T23" fmla="*/ 12628 h 176"/>
                <a:gd name="T24" fmla="*/ 15106 w 128"/>
                <a:gd name="T25" fmla="*/ 27060 h 176"/>
                <a:gd name="T26" fmla="*/ 15106 w 128"/>
                <a:gd name="T27" fmla="*/ 63139 h 176"/>
                <a:gd name="T28" fmla="*/ 1798 w 128"/>
                <a:gd name="T29" fmla="*/ 63139 h 176"/>
                <a:gd name="T30" fmla="*/ 1798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29"/>
                  </a:cubicBez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90" y="175"/>
                  </a:lnTo>
                  <a:lnTo>
                    <a:pt x="90" y="72"/>
                  </a:lnTo>
                  <a:cubicBezTo>
                    <a:pt x="90" y="45"/>
                    <a:pt x="85" y="35"/>
                    <a:pt x="69" y="35"/>
                  </a:cubicBezTo>
                  <a:cubicBezTo>
                    <a:pt x="48" y="35"/>
                    <a:pt x="42" y="53"/>
                    <a:pt x="42" y="75"/>
                  </a:cubicBezTo>
                  <a:lnTo>
                    <a:pt x="42" y="175"/>
                  </a:lnTo>
                  <a:lnTo>
                    <a:pt x="5" y="175"/>
                  </a:lnTo>
                  <a:lnTo>
                    <a:pt x="5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191">
              <a:extLst>
                <a:ext uri="{FF2B5EF4-FFF2-40B4-BE49-F238E27FC236}">
                  <a16:creationId xmlns:a16="http://schemas.microsoft.com/office/drawing/2014/main" id="{A532A0C1-B482-BC4D-8E66-7AFCDF2EB3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313" y="4413250"/>
              <a:ext cx="14287" cy="87313"/>
            </a:xfrm>
            <a:custGeom>
              <a:avLst/>
              <a:gdLst>
                <a:gd name="T0" fmla="*/ 0 w 41"/>
                <a:gd name="T1" fmla="*/ 0 h 244"/>
                <a:gd name="T2" fmla="*/ 13939 w 41"/>
                <a:gd name="T3" fmla="*/ 0 h 244"/>
                <a:gd name="T4" fmla="*/ 13939 w 41"/>
                <a:gd name="T5" fmla="*/ 13956 h 244"/>
                <a:gd name="T6" fmla="*/ 0 w 41"/>
                <a:gd name="T7" fmla="*/ 13956 h 244"/>
                <a:gd name="T8" fmla="*/ 0 w 41"/>
                <a:gd name="T9" fmla="*/ 0 h 244"/>
                <a:gd name="T10" fmla="*/ 1045 w 41"/>
                <a:gd name="T11" fmla="*/ 25407 h 244"/>
                <a:gd name="T12" fmla="*/ 13939 w 41"/>
                <a:gd name="T13" fmla="*/ 25407 h 244"/>
                <a:gd name="T14" fmla="*/ 13939 w 41"/>
                <a:gd name="T15" fmla="*/ 86955 h 244"/>
                <a:gd name="T16" fmla="*/ 1045 w 41"/>
                <a:gd name="T17" fmla="*/ 86955 h 244"/>
                <a:gd name="T18" fmla="*/ 1045 w 41"/>
                <a:gd name="T19" fmla="*/ 25407 h 2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244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3" y="71"/>
                  </a:moveTo>
                  <a:lnTo>
                    <a:pt x="40" y="71"/>
                  </a:lnTo>
                  <a:lnTo>
                    <a:pt x="40" y="243"/>
                  </a:lnTo>
                  <a:lnTo>
                    <a:pt x="3" y="243"/>
                  </a:lnTo>
                  <a:lnTo>
                    <a:pt x="3" y="7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409332E9-1EBD-EE45-B411-A9DFAAEEE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4125" y="4438650"/>
              <a:ext cx="38100" cy="61913"/>
            </a:xfrm>
            <a:custGeom>
              <a:avLst/>
              <a:gdLst>
                <a:gd name="T0" fmla="*/ 0 w 108"/>
                <a:gd name="T1" fmla="*/ 49387 h 173"/>
                <a:gd name="T2" fmla="*/ 23636 w 108"/>
                <a:gd name="T3" fmla="*/ 11452 h 173"/>
                <a:gd name="T4" fmla="*/ 706 w 108"/>
                <a:gd name="T5" fmla="*/ 11452 h 173"/>
                <a:gd name="T6" fmla="*/ 706 w 108"/>
                <a:gd name="T7" fmla="*/ 0 h 173"/>
                <a:gd name="T8" fmla="*/ 37042 w 108"/>
                <a:gd name="T9" fmla="*/ 0 h 173"/>
                <a:gd name="T10" fmla="*/ 37042 w 108"/>
                <a:gd name="T11" fmla="*/ 12168 h 173"/>
                <a:gd name="T12" fmla="*/ 13758 w 108"/>
                <a:gd name="T13" fmla="*/ 50103 h 173"/>
                <a:gd name="T14" fmla="*/ 37747 w 108"/>
                <a:gd name="T15" fmla="*/ 50103 h 173"/>
                <a:gd name="T16" fmla="*/ 37747 w 108"/>
                <a:gd name="T17" fmla="*/ 61555 h 173"/>
                <a:gd name="T18" fmla="*/ 0 w 108"/>
                <a:gd name="T19" fmla="*/ 61555 h 173"/>
                <a:gd name="T20" fmla="*/ 0 w 108"/>
                <a:gd name="T21" fmla="*/ 49387 h 17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8" h="173">
                  <a:moveTo>
                    <a:pt x="0" y="138"/>
                  </a:moveTo>
                  <a:lnTo>
                    <a:pt x="67" y="32"/>
                  </a:lnTo>
                  <a:lnTo>
                    <a:pt x="2" y="32"/>
                  </a:lnTo>
                  <a:lnTo>
                    <a:pt x="2" y="0"/>
                  </a:lnTo>
                  <a:lnTo>
                    <a:pt x="105" y="0"/>
                  </a:lnTo>
                  <a:lnTo>
                    <a:pt x="105" y="34"/>
                  </a:lnTo>
                  <a:lnTo>
                    <a:pt x="39" y="140"/>
                  </a:lnTo>
                  <a:lnTo>
                    <a:pt x="107" y="140"/>
                  </a:lnTo>
                  <a:lnTo>
                    <a:pt x="107" y="172"/>
                  </a:lnTo>
                  <a:lnTo>
                    <a:pt x="0" y="172"/>
                  </a:lnTo>
                  <a:lnTo>
                    <a:pt x="0" y="13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193">
              <a:extLst>
                <a:ext uri="{FF2B5EF4-FFF2-40B4-BE49-F238E27FC236}">
                  <a16:creationId xmlns:a16="http://schemas.microsoft.com/office/drawing/2014/main" id="{961609FC-4167-4946-AF4C-EC5C984B3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8575" y="4438650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4173 h 176"/>
                <a:gd name="T20" fmla="*/ 33810 w 131"/>
                <a:gd name="T21" fmla="*/ 2417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2719 w 131"/>
                <a:gd name="T31" fmla="*/ 33554 h 176"/>
                <a:gd name="T32" fmla="*/ 13451 w 131"/>
                <a:gd name="T33" fmla="*/ 45099 h 176"/>
                <a:gd name="T34" fmla="*/ 22177 w 131"/>
                <a:gd name="T35" fmla="*/ 54480 h 176"/>
                <a:gd name="T36" fmla="*/ 33810 w 131"/>
                <a:gd name="T37" fmla="*/ 36440 h 176"/>
                <a:gd name="T38" fmla="*/ 33810 w 131"/>
                <a:gd name="T39" fmla="*/ 33554 h 176"/>
                <a:gd name="T40" fmla="*/ 32719 w 131"/>
                <a:gd name="T41" fmla="*/ 33554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5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7"/>
                    <a:pt x="85" y="67"/>
                  </a:cubicBezTo>
                  <a:lnTo>
                    <a:pt x="93" y="67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90" y="93"/>
                  </a:moveTo>
                  <a:cubicBezTo>
                    <a:pt x="58" y="93"/>
                    <a:pt x="37" y="101"/>
                    <a:pt x="37" y="125"/>
                  </a:cubicBezTo>
                  <a:cubicBezTo>
                    <a:pt x="37" y="141"/>
                    <a:pt x="48" y="151"/>
                    <a:pt x="61" y="151"/>
                  </a:cubicBezTo>
                  <a:cubicBezTo>
                    <a:pt x="85" y="151"/>
                    <a:pt x="93" y="133"/>
                    <a:pt x="93" y="101"/>
                  </a:cubicBezTo>
                  <a:lnTo>
                    <a:pt x="93" y="93"/>
                  </a:lnTo>
                  <a:lnTo>
                    <a:pt x="90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194">
              <a:extLst>
                <a:ext uri="{FF2B5EF4-FFF2-40B4-BE49-F238E27FC236}">
                  <a16:creationId xmlns:a16="http://schemas.microsoft.com/office/drawing/2014/main" id="{BFAAA0D3-017E-4645-AFC8-EAD8F4420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5725" y="4438650"/>
              <a:ext cx="39688" cy="63500"/>
            </a:xfrm>
            <a:custGeom>
              <a:avLst/>
              <a:gdLst>
                <a:gd name="T0" fmla="*/ 39334 w 112"/>
                <a:gd name="T1" fmla="*/ 60289 h 178"/>
                <a:gd name="T2" fmla="*/ 26222 w 112"/>
                <a:gd name="T3" fmla="*/ 63143 h 178"/>
                <a:gd name="T4" fmla="*/ 0 w 112"/>
                <a:gd name="T5" fmla="*/ 32107 h 178"/>
                <a:gd name="T6" fmla="*/ 27285 w 112"/>
                <a:gd name="T7" fmla="*/ 0 h 178"/>
                <a:gd name="T8" fmla="*/ 39334 w 112"/>
                <a:gd name="T9" fmla="*/ 2854 h 178"/>
                <a:gd name="T10" fmla="*/ 38625 w 112"/>
                <a:gd name="T11" fmla="*/ 14270 h 178"/>
                <a:gd name="T12" fmla="*/ 29057 w 112"/>
                <a:gd name="T13" fmla="*/ 11416 h 178"/>
                <a:gd name="T14" fmla="*/ 14174 w 112"/>
                <a:gd name="T15" fmla="*/ 32107 h 178"/>
                <a:gd name="T16" fmla="*/ 29057 w 112"/>
                <a:gd name="T17" fmla="*/ 52084 h 178"/>
                <a:gd name="T18" fmla="*/ 38625 w 112"/>
                <a:gd name="T19" fmla="*/ 49230 h 178"/>
                <a:gd name="T20" fmla="*/ 39334 w 112"/>
                <a:gd name="T21" fmla="*/ 60289 h 17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2" h="178">
                  <a:moveTo>
                    <a:pt x="111" y="169"/>
                  </a:moveTo>
                  <a:cubicBezTo>
                    <a:pt x="103" y="172"/>
                    <a:pt x="90" y="177"/>
                    <a:pt x="74" y="177"/>
                  </a:cubicBezTo>
                  <a:cubicBezTo>
                    <a:pt x="21" y="177"/>
                    <a:pt x="0" y="138"/>
                    <a:pt x="0" y="90"/>
                  </a:cubicBezTo>
                  <a:cubicBezTo>
                    <a:pt x="0" y="40"/>
                    <a:pt x="24" y="0"/>
                    <a:pt x="77" y="0"/>
                  </a:cubicBezTo>
                  <a:cubicBezTo>
                    <a:pt x="90" y="0"/>
                    <a:pt x="103" y="5"/>
                    <a:pt x="111" y="8"/>
                  </a:cubicBezTo>
                  <a:lnTo>
                    <a:pt x="109" y="40"/>
                  </a:lnTo>
                  <a:cubicBezTo>
                    <a:pt x="101" y="37"/>
                    <a:pt x="93" y="32"/>
                    <a:pt x="82" y="32"/>
                  </a:cubicBezTo>
                  <a:cubicBezTo>
                    <a:pt x="53" y="32"/>
                    <a:pt x="40" y="53"/>
                    <a:pt x="40" y="90"/>
                  </a:cubicBezTo>
                  <a:cubicBezTo>
                    <a:pt x="40" y="122"/>
                    <a:pt x="53" y="146"/>
                    <a:pt x="82" y="146"/>
                  </a:cubicBezTo>
                  <a:cubicBezTo>
                    <a:pt x="90" y="146"/>
                    <a:pt x="103" y="140"/>
                    <a:pt x="109" y="138"/>
                  </a:cubicBezTo>
                  <a:lnTo>
                    <a:pt x="111" y="1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Freeform 195">
              <a:extLst>
                <a:ext uri="{FF2B5EF4-FFF2-40B4-BE49-F238E27FC236}">
                  <a16:creationId xmlns:a16="http://schemas.microsoft.com/office/drawing/2014/main" id="{0119FC5E-79D5-C94A-8899-FF7B4A5C1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4413250"/>
              <a:ext cx="14287" cy="87313"/>
            </a:xfrm>
            <a:custGeom>
              <a:avLst/>
              <a:gdLst>
                <a:gd name="T0" fmla="*/ 0 w 41"/>
                <a:gd name="T1" fmla="*/ 0 h 244"/>
                <a:gd name="T2" fmla="*/ 13939 w 41"/>
                <a:gd name="T3" fmla="*/ 0 h 244"/>
                <a:gd name="T4" fmla="*/ 13939 w 41"/>
                <a:gd name="T5" fmla="*/ 13956 h 244"/>
                <a:gd name="T6" fmla="*/ 0 w 41"/>
                <a:gd name="T7" fmla="*/ 13956 h 244"/>
                <a:gd name="T8" fmla="*/ 0 w 41"/>
                <a:gd name="T9" fmla="*/ 0 h 244"/>
                <a:gd name="T10" fmla="*/ 0 w 41"/>
                <a:gd name="T11" fmla="*/ 25407 h 244"/>
                <a:gd name="T12" fmla="*/ 12893 w 41"/>
                <a:gd name="T13" fmla="*/ 25407 h 244"/>
                <a:gd name="T14" fmla="*/ 12893 w 41"/>
                <a:gd name="T15" fmla="*/ 86955 h 244"/>
                <a:gd name="T16" fmla="*/ 0 w 41"/>
                <a:gd name="T17" fmla="*/ 86955 h 244"/>
                <a:gd name="T18" fmla="*/ 0 w 41"/>
                <a:gd name="T19" fmla="*/ 25407 h 2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244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0" y="71"/>
                  </a:moveTo>
                  <a:lnTo>
                    <a:pt x="37" y="71"/>
                  </a:lnTo>
                  <a:lnTo>
                    <a:pt x="37" y="243"/>
                  </a:lnTo>
                  <a:lnTo>
                    <a:pt x="0" y="243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Freeform 196">
              <a:extLst>
                <a:ext uri="{FF2B5EF4-FFF2-40B4-BE49-F238E27FC236}">
                  <a16:creationId xmlns:a16="http://schemas.microsoft.com/office/drawing/2014/main" id="{20AADA6D-7FDA-504B-9564-04585F2EB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0338" y="4414838"/>
              <a:ext cx="49212" cy="87312"/>
            </a:xfrm>
            <a:custGeom>
              <a:avLst/>
              <a:gdLst>
                <a:gd name="T0" fmla="*/ 24249 w 138"/>
                <a:gd name="T1" fmla="*/ 22730 h 242"/>
                <a:gd name="T2" fmla="*/ 48855 w 138"/>
                <a:gd name="T3" fmla="*/ 54480 h 242"/>
                <a:gd name="T4" fmla="*/ 24249 w 138"/>
                <a:gd name="T5" fmla="*/ 86951 h 242"/>
                <a:gd name="T6" fmla="*/ 0 w 138"/>
                <a:gd name="T7" fmla="*/ 54480 h 242"/>
                <a:gd name="T8" fmla="*/ 24249 w 138"/>
                <a:gd name="T9" fmla="*/ 22730 h 242"/>
                <a:gd name="T10" fmla="*/ 24249 w 138"/>
                <a:gd name="T11" fmla="*/ 76488 h 242"/>
                <a:gd name="T12" fmla="*/ 34591 w 138"/>
                <a:gd name="T13" fmla="*/ 55201 h 242"/>
                <a:gd name="T14" fmla="*/ 24249 w 138"/>
                <a:gd name="T15" fmla="*/ 34275 h 242"/>
                <a:gd name="T16" fmla="*/ 13195 w 138"/>
                <a:gd name="T17" fmla="*/ 55201 h 242"/>
                <a:gd name="T18" fmla="*/ 24249 w 138"/>
                <a:gd name="T19" fmla="*/ 76488 h 242"/>
                <a:gd name="T20" fmla="*/ 25319 w 138"/>
                <a:gd name="T21" fmla="*/ 0 h 242"/>
                <a:gd name="T22" fmla="*/ 38514 w 138"/>
                <a:gd name="T23" fmla="*/ 0 h 242"/>
                <a:gd name="T24" fmla="*/ 27102 w 138"/>
                <a:gd name="T25" fmla="*/ 16957 h 242"/>
                <a:gd name="T26" fmla="*/ 18544 w 138"/>
                <a:gd name="T27" fmla="*/ 16957 h 242"/>
                <a:gd name="T28" fmla="*/ 25319 w 138"/>
                <a:gd name="T29" fmla="*/ 0 h 24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38" h="242">
                  <a:moveTo>
                    <a:pt x="68" y="63"/>
                  </a:moveTo>
                  <a:cubicBezTo>
                    <a:pt x="100" y="63"/>
                    <a:pt x="137" y="82"/>
                    <a:pt x="137" y="151"/>
                  </a:cubicBezTo>
                  <a:cubicBezTo>
                    <a:pt x="137" y="222"/>
                    <a:pt x="100" y="241"/>
                    <a:pt x="68" y="241"/>
                  </a:cubicBezTo>
                  <a:cubicBezTo>
                    <a:pt x="37" y="241"/>
                    <a:pt x="0" y="225"/>
                    <a:pt x="0" y="151"/>
                  </a:cubicBezTo>
                  <a:cubicBezTo>
                    <a:pt x="0" y="82"/>
                    <a:pt x="37" y="63"/>
                    <a:pt x="68" y="63"/>
                  </a:cubicBezTo>
                  <a:close/>
                  <a:moveTo>
                    <a:pt x="68" y="212"/>
                  </a:moveTo>
                  <a:cubicBezTo>
                    <a:pt x="92" y="212"/>
                    <a:pt x="97" y="180"/>
                    <a:pt x="97" y="153"/>
                  </a:cubicBezTo>
                  <a:cubicBezTo>
                    <a:pt x="97" y="124"/>
                    <a:pt x="92" y="95"/>
                    <a:pt x="68" y="95"/>
                  </a:cubicBezTo>
                  <a:cubicBezTo>
                    <a:pt x="45" y="95"/>
                    <a:pt x="37" y="124"/>
                    <a:pt x="37" y="153"/>
                  </a:cubicBezTo>
                  <a:cubicBezTo>
                    <a:pt x="39" y="183"/>
                    <a:pt x="45" y="212"/>
                    <a:pt x="68" y="212"/>
                  </a:cubicBezTo>
                  <a:close/>
                  <a:moveTo>
                    <a:pt x="71" y="0"/>
                  </a:moveTo>
                  <a:lnTo>
                    <a:pt x="108" y="0"/>
                  </a:lnTo>
                  <a:lnTo>
                    <a:pt x="76" y="47"/>
                  </a:lnTo>
                  <a:lnTo>
                    <a:pt x="52" y="47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197">
              <a:extLst>
                <a:ext uri="{FF2B5EF4-FFF2-40B4-BE49-F238E27FC236}">
                  <a16:creationId xmlns:a16="http://schemas.microsoft.com/office/drawing/2014/main" id="{44641357-F006-6446-BD52-1FE57A5EAD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0663" y="4438650"/>
              <a:ext cx="46037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773 w 128"/>
                <a:gd name="T13" fmla="*/ 0 h 176"/>
                <a:gd name="T14" fmla="*/ 45677 w 128"/>
                <a:gd name="T15" fmla="*/ 23091 h 176"/>
                <a:gd name="T16" fmla="*/ 45677 w 128"/>
                <a:gd name="T17" fmla="*/ 63139 h 176"/>
                <a:gd name="T18" fmla="*/ 32370 w 128"/>
                <a:gd name="T19" fmla="*/ 63139 h 176"/>
                <a:gd name="T20" fmla="*/ 32370 w 128"/>
                <a:gd name="T21" fmla="*/ 25977 h 176"/>
                <a:gd name="T22" fmla="*/ 24817 w 128"/>
                <a:gd name="T23" fmla="*/ 12628 h 176"/>
                <a:gd name="T24" fmla="*/ 15466 w 128"/>
                <a:gd name="T25" fmla="*/ 27060 h 176"/>
                <a:gd name="T26" fmla="*/ 15466 w 128"/>
                <a:gd name="T27" fmla="*/ 63139 h 176"/>
                <a:gd name="T28" fmla="*/ 2158 w 128"/>
                <a:gd name="T29" fmla="*/ 63139 h 176"/>
                <a:gd name="T30" fmla="*/ 2158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29"/>
                  </a:cubicBezTo>
                  <a:cubicBezTo>
                    <a:pt x="43" y="19"/>
                    <a:pt x="53" y="0"/>
                    <a:pt x="80" y="0"/>
                  </a:cubicBezTo>
                  <a:cubicBezTo>
                    <a:pt x="117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90" y="175"/>
                  </a:lnTo>
                  <a:lnTo>
                    <a:pt x="90" y="72"/>
                  </a:lnTo>
                  <a:cubicBezTo>
                    <a:pt x="90" y="45"/>
                    <a:pt x="85" y="35"/>
                    <a:pt x="69" y="35"/>
                  </a:cubicBezTo>
                  <a:cubicBezTo>
                    <a:pt x="48" y="35"/>
                    <a:pt x="43" y="53"/>
                    <a:pt x="43" y="75"/>
                  </a:cubicBezTo>
                  <a:lnTo>
                    <a:pt x="43" y="175"/>
                  </a:lnTo>
                  <a:lnTo>
                    <a:pt x="6" y="175"/>
                  </a:lnTo>
                  <a:lnTo>
                    <a:pt x="6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198">
              <a:extLst>
                <a:ext uri="{FF2B5EF4-FFF2-40B4-BE49-F238E27FC236}">
                  <a16:creationId xmlns:a16="http://schemas.microsoft.com/office/drawing/2014/main" id="{8DB63A61-83F9-BC48-8E95-0F5122805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2500" y="4522788"/>
              <a:ext cx="46038" cy="84137"/>
            </a:xfrm>
            <a:custGeom>
              <a:avLst/>
              <a:gdLst>
                <a:gd name="T0" fmla="*/ 0 w 130"/>
                <a:gd name="T1" fmla="*/ 0 h 234"/>
                <a:gd name="T2" fmla="*/ 21248 w 130"/>
                <a:gd name="T3" fmla="*/ 0 h 234"/>
                <a:gd name="T4" fmla="*/ 45684 w 130"/>
                <a:gd name="T5" fmla="*/ 25888 h 234"/>
                <a:gd name="T6" fmla="*/ 21248 w 130"/>
                <a:gd name="T7" fmla="*/ 51417 h 234"/>
                <a:gd name="T8" fmla="*/ 13811 w 130"/>
                <a:gd name="T9" fmla="*/ 51417 h 234"/>
                <a:gd name="T10" fmla="*/ 13811 w 130"/>
                <a:gd name="T11" fmla="*/ 83777 h 234"/>
                <a:gd name="T12" fmla="*/ 0 w 130"/>
                <a:gd name="T13" fmla="*/ 83777 h 234"/>
                <a:gd name="T14" fmla="*/ 0 w 130"/>
                <a:gd name="T15" fmla="*/ 0 h 234"/>
                <a:gd name="T16" fmla="*/ 19478 w 130"/>
                <a:gd name="T17" fmla="*/ 39192 h 234"/>
                <a:gd name="T18" fmla="*/ 31872 w 130"/>
                <a:gd name="T19" fmla="*/ 24810 h 234"/>
                <a:gd name="T20" fmla="*/ 19478 w 130"/>
                <a:gd name="T21" fmla="*/ 11506 h 234"/>
                <a:gd name="T22" fmla="*/ 13811 w 130"/>
                <a:gd name="T23" fmla="*/ 11506 h 234"/>
                <a:gd name="T24" fmla="*/ 13811 w 130"/>
                <a:gd name="T25" fmla="*/ 39192 h 234"/>
                <a:gd name="T26" fmla="*/ 19478 w 130"/>
                <a:gd name="T27" fmla="*/ 39192 h 2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0" h="234">
                  <a:moveTo>
                    <a:pt x="0" y="0"/>
                  </a:moveTo>
                  <a:lnTo>
                    <a:pt x="60" y="0"/>
                  </a:lnTo>
                  <a:cubicBezTo>
                    <a:pt x="105" y="0"/>
                    <a:pt x="129" y="27"/>
                    <a:pt x="129" y="72"/>
                  </a:cubicBezTo>
                  <a:cubicBezTo>
                    <a:pt x="129" y="117"/>
                    <a:pt x="105" y="143"/>
                    <a:pt x="60" y="143"/>
                  </a:cubicBezTo>
                  <a:lnTo>
                    <a:pt x="39" y="143"/>
                  </a:lnTo>
                  <a:lnTo>
                    <a:pt x="39" y="233"/>
                  </a:lnTo>
                  <a:lnTo>
                    <a:pt x="0" y="233"/>
                  </a:lnTo>
                  <a:lnTo>
                    <a:pt x="0" y="0"/>
                  </a:lnTo>
                  <a:close/>
                  <a:moveTo>
                    <a:pt x="55" y="109"/>
                  </a:moveTo>
                  <a:cubicBezTo>
                    <a:pt x="79" y="109"/>
                    <a:pt x="90" y="96"/>
                    <a:pt x="90" y="69"/>
                  </a:cubicBezTo>
                  <a:cubicBezTo>
                    <a:pt x="90" y="43"/>
                    <a:pt x="79" y="32"/>
                    <a:pt x="55" y="32"/>
                  </a:cubicBezTo>
                  <a:lnTo>
                    <a:pt x="39" y="32"/>
                  </a:lnTo>
                  <a:lnTo>
                    <a:pt x="39" y="109"/>
                  </a:lnTo>
                  <a:lnTo>
                    <a:pt x="55" y="1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199">
              <a:extLst>
                <a:ext uri="{FF2B5EF4-FFF2-40B4-BE49-F238E27FC236}">
                  <a16:creationId xmlns:a16="http://schemas.microsoft.com/office/drawing/2014/main" id="{75A719DF-4CE4-7541-ACE4-FBAABA690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8538" y="4543425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4358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901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998 w 131"/>
                <a:gd name="T27" fmla="*/ 16236 h 176"/>
                <a:gd name="T28" fmla="*/ 5817 w 131"/>
                <a:gd name="T29" fmla="*/ 5051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3" y="0"/>
                    <a:pt x="67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6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2" y="45"/>
                  </a:cubicBezTo>
                  <a:lnTo>
                    <a:pt x="16" y="14"/>
                  </a:lnTo>
                  <a:close/>
                  <a:moveTo>
                    <a:pt x="90" y="90"/>
                  </a:moveTo>
                  <a:cubicBezTo>
                    <a:pt x="59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200">
              <a:extLst>
                <a:ext uri="{FF2B5EF4-FFF2-40B4-BE49-F238E27FC236}">
                  <a16:creationId xmlns:a16="http://schemas.microsoft.com/office/drawing/2014/main" id="{361E7B61-BD52-674B-9882-D39DC7EDC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5688" y="4543425"/>
              <a:ext cx="46037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413 w 128"/>
                <a:gd name="T13" fmla="*/ 0 h 176"/>
                <a:gd name="T14" fmla="*/ 45677 w 128"/>
                <a:gd name="T15" fmla="*/ 23091 h 176"/>
                <a:gd name="T16" fmla="*/ 45677 w 128"/>
                <a:gd name="T17" fmla="*/ 63139 h 176"/>
                <a:gd name="T18" fmla="*/ 32370 w 128"/>
                <a:gd name="T19" fmla="*/ 63139 h 176"/>
                <a:gd name="T20" fmla="*/ 32370 w 128"/>
                <a:gd name="T21" fmla="*/ 25977 h 176"/>
                <a:gd name="T22" fmla="*/ 24817 w 128"/>
                <a:gd name="T23" fmla="*/ 12628 h 176"/>
                <a:gd name="T24" fmla="*/ 15106 w 128"/>
                <a:gd name="T25" fmla="*/ 26699 h 176"/>
                <a:gd name="T26" fmla="*/ 15106 w 128"/>
                <a:gd name="T27" fmla="*/ 63139 h 176"/>
                <a:gd name="T28" fmla="*/ 1798 w 128"/>
                <a:gd name="T29" fmla="*/ 63139 h 176"/>
                <a:gd name="T30" fmla="*/ 1798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90" y="175"/>
                  </a:lnTo>
                  <a:lnTo>
                    <a:pt x="90" y="72"/>
                  </a:lnTo>
                  <a:cubicBezTo>
                    <a:pt x="90" y="45"/>
                    <a:pt x="85" y="35"/>
                    <a:pt x="69" y="35"/>
                  </a:cubicBezTo>
                  <a:cubicBezTo>
                    <a:pt x="48" y="35"/>
                    <a:pt x="42" y="53"/>
                    <a:pt x="42" y="74"/>
                  </a:cubicBezTo>
                  <a:lnTo>
                    <a:pt x="42" y="175"/>
                  </a:lnTo>
                  <a:lnTo>
                    <a:pt x="5" y="175"/>
                  </a:lnTo>
                  <a:lnTo>
                    <a:pt x="5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201">
              <a:extLst>
                <a:ext uri="{FF2B5EF4-FFF2-40B4-BE49-F238E27FC236}">
                  <a16:creationId xmlns:a16="http://schemas.microsoft.com/office/drawing/2014/main" id="{C8BB7CC0-28EF-174F-B424-EFC477E36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9663" y="4543425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3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90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202">
              <a:extLst>
                <a:ext uri="{FF2B5EF4-FFF2-40B4-BE49-F238E27FC236}">
                  <a16:creationId xmlns:a16="http://schemas.microsoft.com/office/drawing/2014/main" id="{EB1B546E-DBD9-8949-BE3D-6D003EB0E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4543425"/>
              <a:ext cx="74612" cy="63500"/>
            </a:xfrm>
            <a:custGeom>
              <a:avLst/>
              <a:gdLst>
                <a:gd name="T0" fmla="*/ 1076 w 208"/>
                <a:gd name="T1" fmla="*/ 11545 h 176"/>
                <a:gd name="T2" fmla="*/ 1076 w 208"/>
                <a:gd name="T3" fmla="*/ 1082 h 176"/>
                <a:gd name="T4" fmla="*/ 14348 w 208"/>
                <a:gd name="T5" fmla="*/ 1082 h 176"/>
                <a:gd name="T6" fmla="*/ 14348 w 208"/>
                <a:gd name="T7" fmla="*/ 10463 h 176"/>
                <a:gd name="T8" fmla="*/ 14348 w 208"/>
                <a:gd name="T9" fmla="*/ 10463 h 176"/>
                <a:gd name="T10" fmla="*/ 28338 w 208"/>
                <a:gd name="T11" fmla="*/ 0 h 176"/>
                <a:gd name="T12" fmla="*/ 42687 w 208"/>
                <a:gd name="T13" fmla="*/ 9741 h 176"/>
                <a:gd name="T14" fmla="*/ 58111 w 208"/>
                <a:gd name="T15" fmla="*/ 0 h 176"/>
                <a:gd name="T16" fmla="*/ 74253 w 208"/>
                <a:gd name="T17" fmla="*/ 24895 h 176"/>
                <a:gd name="T18" fmla="*/ 74253 w 208"/>
                <a:gd name="T19" fmla="*/ 63139 h 176"/>
                <a:gd name="T20" fmla="*/ 60622 w 208"/>
                <a:gd name="T21" fmla="*/ 63139 h 176"/>
                <a:gd name="T22" fmla="*/ 60622 w 208"/>
                <a:gd name="T23" fmla="*/ 23813 h 176"/>
                <a:gd name="T24" fmla="*/ 53089 w 208"/>
                <a:gd name="T25" fmla="*/ 12628 h 176"/>
                <a:gd name="T26" fmla="*/ 43763 w 208"/>
                <a:gd name="T27" fmla="*/ 25977 h 176"/>
                <a:gd name="T28" fmla="*/ 43763 w 208"/>
                <a:gd name="T29" fmla="*/ 63139 h 176"/>
                <a:gd name="T30" fmla="*/ 30490 w 208"/>
                <a:gd name="T31" fmla="*/ 63139 h 176"/>
                <a:gd name="T32" fmla="*/ 30490 w 208"/>
                <a:gd name="T33" fmla="*/ 23813 h 176"/>
                <a:gd name="T34" fmla="*/ 22958 w 208"/>
                <a:gd name="T35" fmla="*/ 12628 h 176"/>
                <a:gd name="T36" fmla="*/ 13272 w 208"/>
                <a:gd name="T37" fmla="*/ 25977 h 176"/>
                <a:gd name="T38" fmla="*/ 13272 w 208"/>
                <a:gd name="T39" fmla="*/ 63139 h 176"/>
                <a:gd name="T40" fmla="*/ 0 w 208"/>
                <a:gd name="T41" fmla="*/ 63139 h 176"/>
                <a:gd name="T42" fmla="*/ 0 w 208"/>
                <a:gd name="T43" fmla="*/ 11545 h 176"/>
                <a:gd name="T44" fmla="*/ 1076 w 208"/>
                <a:gd name="T45" fmla="*/ 11545 h 1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8" h="176">
                  <a:moveTo>
                    <a:pt x="3" y="32"/>
                  </a:moveTo>
                  <a:cubicBezTo>
                    <a:pt x="3" y="19"/>
                    <a:pt x="3" y="11"/>
                    <a:pt x="3" y="3"/>
                  </a:cubicBezTo>
                  <a:lnTo>
                    <a:pt x="40" y="3"/>
                  </a:lnTo>
                  <a:cubicBezTo>
                    <a:pt x="40" y="11"/>
                    <a:pt x="40" y="21"/>
                    <a:pt x="40" y="29"/>
                  </a:cubicBezTo>
                  <a:cubicBezTo>
                    <a:pt x="45" y="16"/>
                    <a:pt x="58" y="0"/>
                    <a:pt x="79" y="0"/>
                  </a:cubicBezTo>
                  <a:cubicBezTo>
                    <a:pt x="106" y="0"/>
                    <a:pt x="114" y="19"/>
                    <a:pt x="119" y="27"/>
                  </a:cubicBezTo>
                  <a:cubicBezTo>
                    <a:pt x="127" y="14"/>
                    <a:pt x="138" y="0"/>
                    <a:pt x="162" y="0"/>
                  </a:cubicBezTo>
                  <a:cubicBezTo>
                    <a:pt x="196" y="0"/>
                    <a:pt x="207" y="27"/>
                    <a:pt x="207" y="69"/>
                  </a:cubicBezTo>
                  <a:lnTo>
                    <a:pt x="207" y="175"/>
                  </a:lnTo>
                  <a:lnTo>
                    <a:pt x="169" y="175"/>
                  </a:lnTo>
                  <a:lnTo>
                    <a:pt x="169" y="66"/>
                  </a:lnTo>
                  <a:cubicBezTo>
                    <a:pt x="169" y="45"/>
                    <a:pt x="164" y="35"/>
                    <a:pt x="148" y="35"/>
                  </a:cubicBezTo>
                  <a:cubicBezTo>
                    <a:pt x="132" y="35"/>
                    <a:pt x="122" y="53"/>
                    <a:pt x="122" y="72"/>
                  </a:cubicBezTo>
                  <a:lnTo>
                    <a:pt x="122" y="175"/>
                  </a:lnTo>
                  <a:lnTo>
                    <a:pt x="85" y="175"/>
                  </a:lnTo>
                  <a:lnTo>
                    <a:pt x="85" y="66"/>
                  </a:lnTo>
                  <a:cubicBezTo>
                    <a:pt x="85" y="45"/>
                    <a:pt x="79" y="35"/>
                    <a:pt x="64" y="35"/>
                  </a:cubicBezTo>
                  <a:cubicBezTo>
                    <a:pt x="48" y="35"/>
                    <a:pt x="37" y="53"/>
                    <a:pt x="37" y="72"/>
                  </a:cubicBezTo>
                  <a:lnTo>
                    <a:pt x="37" y="175"/>
                  </a:lnTo>
                  <a:lnTo>
                    <a:pt x="0" y="175"/>
                  </a:lnTo>
                  <a:lnTo>
                    <a:pt x="0" y="32"/>
                  </a:lnTo>
                  <a:lnTo>
                    <a:pt x="3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203">
              <a:extLst>
                <a:ext uri="{FF2B5EF4-FFF2-40B4-BE49-F238E27FC236}">
                  <a16:creationId xmlns:a16="http://schemas.microsoft.com/office/drawing/2014/main" id="{38C85E7A-48D2-374E-9117-473BC3933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2538" y="4543425"/>
              <a:ext cx="46037" cy="65088"/>
            </a:xfrm>
            <a:custGeom>
              <a:avLst/>
              <a:gdLst>
                <a:gd name="T0" fmla="*/ 42825 w 129"/>
                <a:gd name="T1" fmla="*/ 60725 h 179"/>
                <a:gd name="T2" fmla="*/ 26052 w 129"/>
                <a:gd name="T3" fmla="*/ 64724 h 179"/>
                <a:gd name="T4" fmla="*/ 0 w 129"/>
                <a:gd name="T5" fmla="*/ 32726 h 179"/>
                <a:gd name="T6" fmla="*/ 23197 w 129"/>
                <a:gd name="T7" fmla="*/ 0 h 179"/>
                <a:gd name="T8" fmla="*/ 45680 w 129"/>
                <a:gd name="T9" fmla="*/ 33817 h 179"/>
                <a:gd name="T10" fmla="*/ 45680 w 129"/>
                <a:gd name="T11" fmla="*/ 36726 h 179"/>
                <a:gd name="T12" fmla="*/ 13204 w 129"/>
                <a:gd name="T13" fmla="*/ 36726 h 179"/>
                <a:gd name="T14" fmla="*/ 26766 w 129"/>
                <a:gd name="T15" fmla="*/ 54179 h 179"/>
                <a:gd name="T16" fmla="*/ 42111 w 129"/>
                <a:gd name="T17" fmla="*/ 49089 h 179"/>
                <a:gd name="T18" fmla="*/ 42825 w 129"/>
                <a:gd name="T19" fmla="*/ 60725 h 179"/>
                <a:gd name="T20" fmla="*/ 32476 w 129"/>
                <a:gd name="T21" fmla="*/ 26908 h 179"/>
                <a:gd name="T22" fmla="*/ 23197 w 129"/>
                <a:gd name="T23" fmla="*/ 10545 h 179"/>
                <a:gd name="T24" fmla="*/ 13204 w 129"/>
                <a:gd name="T25" fmla="*/ 26908 h 179"/>
                <a:gd name="T26" fmla="*/ 32476 w 129"/>
                <a:gd name="T27" fmla="*/ 26908 h 17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9" h="179">
                  <a:moveTo>
                    <a:pt x="120" y="167"/>
                  </a:moveTo>
                  <a:cubicBezTo>
                    <a:pt x="113" y="170"/>
                    <a:pt x="97" y="178"/>
                    <a:pt x="73" y="178"/>
                  </a:cubicBezTo>
                  <a:cubicBezTo>
                    <a:pt x="24" y="178"/>
                    <a:pt x="0" y="138"/>
                    <a:pt x="0" y="90"/>
                  </a:cubicBezTo>
                  <a:cubicBezTo>
                    <a:pt x="0" y="40"/>
                    <a:pt x="24" y="0"/>
                    <a:pt x="65" y="0"/>
                  </a:cubicBezTo>
                  <a:cubicBezTo>
                    <a:pt x="99" y="0"/>
                    <a:pt x="128" y="21"/>
                    <a:pt x="128" y="93"/>
                  </a:cubicBezTo>
                  <a:lnTo>
                    <a:pt x="128" y="101"/>
                  </a:lnTo>
                  <a:lnTo>
                    <a:pt x="37" y="101"/>
                  </a:lnTo>
                  <a:cubicBezTo>
                    <a:pt x="37" y="130"/>
                    <a:pt x="47" y="149"/>
                    <a:pt x="75" y="149"/>
                  </a:cubicBezTo>
                  <a:cubicBezTo>
                    <a:pt x="99" y="149"/>
                    <a:pt x="110" y="141"/>
                    <a:pt x="118" y="135"/>
                  </a:cubicBezTo>
                  <a:lnTo>
                    <a:pt x="120" y="167"/>
                  </a:lnTo>
                  <a:close/>
                  <a:moveTo>
                    <a:pt x="91" y="74"/>
                  </a:moveTo>
                  <a:cubicBezTo>
                    <a:pt x="91" y="45"/>
                    <a:pt x="83" y="29"/>
                    <a:pt x="65" y="29"/>
                  </a:cubicBezTo>
                  <a:cubicBezTo>
                    <a:pt x="45" y="29"/>
                    <a:pt x="37" y="53"/>
                    <a:pt x="37" y="74"/>
                  </a:cubicBezTo>
                  <a:lnTo>
                    <a:pt x="91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204">
              <a:extLst>
                <a:ext uri="{FF2B5EF4-FFF2-40B4-BE49-F238E27FC236}">
                  <a16:creationId xmlns:a16="http://schemas.microsoft.com/office/drawing/2014/main" id="{F5C86B8F-BA12-A24E-A683-C519EFC5C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8100" y="4543425"/>
              <a:ext cx="28575" cy="63500"/>
            </a:xfrm>
            <a:custGeom>
              <a:avLst/>
              <a:gdLst>
                <a:gd name="T0" fmla="*/ 0 w 80"/>
                <a:gd name="T1" fmla="*/ 1082 h 176"/>
                <a:gd name="T2" fmla="*/ 12144 w 80"/>
                <a:gd name="T3" fmla="*/ 1082 h 176"/>
                <a:gd name="T4" fmla="*/ 12144 w 80"/>
                <a:gd name="T5" fmla="*/ 12628 h 176"/>
                <a:gd name="T6" fmla="*/ 26432 w 80"/>
                <a:gd name="T7" fmla="*/ 0 h 176"/>
                <a:gd name="T8" fmla="*/ 28218 w 80"/>
                <a:gd name="T9" fmla="*/ 0 h 176"/>
                <a:gd name="T10" fmla="*/ 28218 w 80"/>
                <a:gd name="T11" fmla="*/ 14432 h 176"/>
                <a:gd name="T12" fmla="*/ 24289 w 80"/>
                <a:gd name="T13" fmla="*/ 13349 h 176"/>
                <a:gd name="T14" fmla="*/ 13216 w 80"/>
                <a:gd name="T15" fmla="*/ 28864 h 176"/>
                <a:gd name="T16" fmla="*/ 13216 w 80"/>
                <a:gd name="T17" fmla="*/ 63139 h 176"/>
                <a:gd name="T18" fmla="*/ 0 w 80"/>
                <a:gd name="T19" fmla="*/ 63139 h 176"/>
                <a:gd name="T20" fmla="*/ 0 w 80"/>
                <a:gd name="T21" fmla="*/ 11545 h 176"/>
                <a:gd name="T22" fmla="*/ 0 w 80"/>
                <a:gd name="T23" fmla="*/ 1082 h 1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0" h="176">
                  <a:moveTo>
                    <a:pt x="0" y="3"/>
                  </a:moveTo>
                  <a:lnTo>
                    <a:pt x="34" y="3"/>
                  </a:lnTo>
                  <a:lnTo>
                    <a:pt x="34" y="35"/>
                  </a:lnTo>
                  <a:cubicBezTo>
                    <a:pt x="39" y="21"/>
                    <a:pt x="50" y="0"/>
                    <a:pt x="74" y="0"/>
                  </a:cubicBezTo>
                  <a:lnTo>
                    <a:pt x="79" y="0"/>
                  </a:lnTo>
                  <a:lnTo>
                    <a:pt x="79" y="40"/>
                  </a:lnTo>
                  <a:cubicBezTo>
                    <a:pt x="76" y="40"/>
                    <a:pt x="71" y="37"/>
                    <a:pt x="68" y="37"/>
                  </a:cubicBezTo>
                  <a:cubicBezTo>
                    <a:pt x="53" y="37"/>
                    <a:pt x="37" y="48"/>
                    <a:pt x="37" y="80"/>
                  </a:cubicBezTo>
                  <a:lnTo>
                    <a:pt x="37" y="175"/>
                  </a:lnTo>
                  <a:lnTo>
                    <a:pt x="0" y="175"/>
                  </a:lnTo>
                  <a:lnTo>
                    <a:pt x="0" y="32"/>
                  </a:lnTo>
                  <a:lnTo>
                    <a:pt x="0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4" name="Freeform 205">
              <a:extLst>
                <a:ext uri="{FF2B5EF4-FFF2-40B4-BE49-F238E27FC236}">
                  <a16:creationId xmlns:a16="http://schemas.microsoft.com/office/drawing/2014/main" id="{3E483537-6207-9944-A2A2-C0CD68F91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7788" y="4519613"/>
              <a:ext cx="14287" cy="88900"/>
            </a:xfrm>
            <a:custGeom>
              <a:avLst/>
              <a:gdLst>
                <a:gd name="T0" fmla="*/ 0 w 41"/>
                <a:gd name="T1" fmla="*/ 0 h 245"/>
                <a:gd name="T2" fmla="*/ 13939 w 41"/>
                <a:gd name="T3" fmla="*/ 0 h 245"/>
                <a:gd name="T4" fmla="*/ 13939 w 41"/>
                <a:gd name="T5" fmla="*/ 14514 h 245"/>
                <a:gd name="T6" fmla="*/ 0 w 41"/>
                <a:gd name="T7" fmla="*/ 14514 h 245"/>
                <a:gd name="T8" fmla="*/ 0 w 41"/>
                <a:gd name="T9" fmla="*/ 0 h 245"/>
                <a:gd name="T10" fmla="*/ 0 w 41"/>
                <a:gd name="T11" fmla="*/ 26126 h 245"/>
                <a:gd name="T12" fmla="*/ 12893 w 41"/>
                <a:gd name="T13" fmla="*/ 26126 h 245"/>
                <a:gd name="T14" fmla="*/ 12893 w 41"/>
                <a:gd name="T15" fmla="*/ 88537 h 245"/>
                <a:gd name="T16" fmla="*/ 0 w 41"/>
                <a:gd name="T17" fmla="*/ 88537 h 245"/>
                <a:gd name="T18" fmla="*/ 0 w 41"/>
                <a:gd name="T19" fmla="*/ 26126 h 2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245">
                  <a:moveTo>
                    <a:pt x="0" y="0"/>
                  </a:moveTo>
                  <a:lnTo>
                    <a:pt x="40" y="0"/>
                  </a:lnTo>
                  <a:lnTo>
                    <a:pt x="40" y="40"/>
                  </a:lnTo>
                  <a:lnTo>
                    <a:pt x="0" y="40"/>
                  </a:lnTo>
                  <a:lnTo>
                    <a:pt x="0" y="0"/>
                  </a:lnTo>
                  <a:close/>
                  <a:moveTo>
                    <a:pt x="0" y="72"/>
                  </a:moveTo>
                  <a:lnTo>
                    <a:pt x="37" y="72"/>
                  </a:lnTo>
                  <a:lnTo>
                    <a:pt x="37" y="244"/>
                  </a:lnTo>
                  <a:lnTo>
                    <a:pt x="0" y="244"/>
                  </a:lnTo>
                  <a:lnTo>
                    <a:pt x="0" y="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5" name="Freeform 206">
              <a:extLst>
                <a:ext uri="{FF2B5EF4-FFF2-40B4-BE49-F238E27FC236}">
                  <a16:creationId xmlns:a16="http://schemas.microsoft.com/office/drawing/2014/main" id="{67AB732D-018A-DD43-BB02-A74C34C962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188" y="4545013"/>
              <a:ext cx="39687" cy="63500"/>
            </a:xfrm>
            <a:custGeom>
              <a:avLst/>
              <a:gdLst>
                <a:gd name="T0" fmla="*/ 39333 w 112"/>
                <a:gd name="T1" fmla="*/ 60289 h 178"/>
                <a:gd name="T2" fmla="*/ 26222 w 112"/>
                <a:gd name="T3" fmla="*/ 63143 h 178"/>
                <a:gd name="T4" fmla="*/ 0 w 112"/>
                <a:gd name="T5" fmla="*/ 32107 h 178"/>
                <a:gd name="T6" fmla="*/ 26930 w 112"/>
                <a:gd name="T7" fmla="*/ 0 h 178"/>
                <a:gd name="T8" fmla="*/ 39333 w 112"/>
                <a:gd name="T9" fmla="*/ 2854 h 178"/>
                <a:gd name="T10" fmla="*/ 38270 w 112"/>
                <a:gd name="T11" fmla="*/ 13199 h 178"/>
                <a:gd name="T12" fmla="*/ 29057 w 112"/>
                <a:gd name="T13" fmla="*/ 10346 h 178"/>
                <a:gd name="T14" fmla="*/ 13820 w 112"/>
                <a:gd name="T15" fmla="*/ 31037 h 178"/>
                <a:gd name="T16" fmla="*/ 29057 w 112"/>
                <a:gd name="T17" fmla="*/ 51014 h 178"/>
                <a:gd name="T18" fmla="*/ 38270 w 112"/>
                <a:gd name="T19" fmla="*/ 48160 h 178"/>
                <a:gd name="T20" fmla="*/ 39333 w 112"/>
                <a:gd name="T21" fmla="*/ 60289 h 17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2" h="178">
                  <a:moveTo>
                    <a:pt x="111" y="169"/>
                  </a:moveTo>
                  <a:cubicBezTo>
                    <a:pt x="103" y="172"/>
                    <a:pt x="90" y="177"/>
                    <a:pt x="74" y="177"/>
                  </a:cubicBezTo>
                  <a:cubicBezTo>
                    <a:pt x="21" y="177"/>
                    <a:pt x="0" y="138"/>
                    <a:pt x="0" y="90"/>
                  </a:cubicBezTo>
                  <a:cubicBezTo>
                    <a:pt x="0" y="40"/>
                    <a:pt x="23" y="0"/>
                    <a:pt x="76" y="0"/>
                  </a:cubicBezTo>
                  <a:cubicBezTo>
                    <a:pt x="90" y="0"/>
                    <a:pt x="103" y="5"/>
                    <a:pt x="111" y="8"/>
                  </a:cubicBezTo>
                  <a:lnTo>
                    <a:pt x="108" y="37"/>
                  </a:lnTo>
                  <a:cubicBezTo>
                    <a:pt x="100" y="34"/>
                    <a:pt x="92" y="29"/>
                    <a:pt x="82" y="29"/>
                  </a:cubicBezTo>
                  <a:cubicBezTo>
                    <a:pt x="53" y="29"/>
                    <a:pt x="39" y="50"/>
                    <a:pt x="39" y="87"/>
                  </a:cubicBezTo>
                  <a:cubicBezTo>
                    <a:pt x="39" y="119"/>
                    <a:pt x="53" y="143"/>
                    <a:pt x="82" y="143"/>
                  </a:cubicBezTo>
                  <a:cubicBezTo>
                    <a:pt x="90" y="143"/>
                    <a:pt x="103" y="138"/>
                    <a:pt x="108" y="135"/>
                  </a:cubicBezTo>
                  <a:lnTo>
                    <a:pt x="111" y="1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" name="Freeform 207">
              <a:extLst>
                <a:ext uri="{FF2B5EF4-FFF2-40B4-BE49-F238E27FC236}">
                  <a16:creationId xmlns:a16="http://schemas.microsoft.com/office/drawing/2014/main" id="{DCEA8A10-D430-9C4E-8881-2D5A91660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38" y="4543425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90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" name="Freeform 208">
              <a:extLst>
                <a:ext uri="{FF2B5EF4-FFF2-40B4-BE49-F238E27FC236}">
                  <a16:creationId xmlns:a16="http://schemas.microsoft.com/office/drawing/2014/main" id="{42737C36-E829-C948-B1ED-C9FD2BB8F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375" y="4543425"/>
              <a:ext cx="46038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414 w 128"/>
                <a:gd name="T13" fmla="*/ 0 h 176"/>
                <a:gd name="T14" fmla="*/ 45678 w 128"/>
                <a:gd name="T15" fmla="*/ 23091 h 176"/>
                <a:gd name="T16" fmla="*/ 45678 w 128"/>
                <a:gd name="T17" fmla="*/ 63139 h 176"/>
                <a:gd name="T18" fmla="*/ 31291 w 128"/>
                <a:gd name="T19" fmla="*/ 63139 h 176"/>
                <a:gd name="T20" fmla="*/ 31291 w 128"/>
                <a:gd name="T21" fmla="*/ 25977 h 176"/>
                <a:gd name="T22" fmla="*/ 23738 w 128"/>
                <a:gd name="T23" fmla="*/ 12628 h 176"/>
                <a:gd name="T24" fmla="*/ 14027 w 128"/>
                <a:gd name="T25" fmla="*/ 26699 h 176"/>
                <a:gd name="T26" fmla="*/ 14027 w 128"/>
                <a:gd name="T27" fmla="*/ 63139 h 176"/>
                <a:gd name="T28" fmla="*/ 719 w 128"/>
                <a:gd name="T29" fmla="*/ 63139 h 176"/>
                <a:gd name="T30" fmla="*/ 719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87" y="175"/>
                  </a:lnTo>
                  <a:lnTo>
                    <a:pt x="87" y="72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45" y="35"/>
                    <a:pt x="39" y="53"/>
                    <a:pt x="39" y="74"/>
                  </a:cubicBezTo>
                  <a:lnTo>
                    <a:pt x="39" y="175"/>
                  </a:lnTo>
                  <a:lnTo>
                    <a:pt x="2" y="175"/>
                  </a:lnTo>
                  <a:lnTo>
                    <a:pt x="2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8" name="Freeform 209">
              <a:extLst>
                <a:ext uri="{FF2B5EF4-FFF2-40B4-BE49-F238E27FC236}">
                  <a16:creationId xmlns:a16="http://schemas.microsoft.com/office/drawing/2014/main" id="{4DE27051-E549-8F47-9426-008D50A9F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0350" y="4543425"/>
              <a:ext cx="46038" cy="63500"/>
            </a:xfrm>
            <a:custGeom>
              <a:avLst/>
              <a:gdLst>
                <a:gd name="T0" fmla="*/ 5312 w 130"/>
                <a:gd name="T1" fmla="*/ 5051 h 176"/>
                <a:gd name="T2" fmla="*/ 23373 w 130"/>
                <a:gd name="T3" fmla="*/ 0 h 176"/>
                <a:gd name="T4" fmla="*/ 44976 w 130"/>
                <a:gd name="T5" fmla="*/ 24895 h 176"/>
                <a:gd name="T6" fmla="*/ 44976 w 130"/>
                <a:gd name="T7" fmla="*/ 51594 h 176"/>
                <a:gd name="T8" fmla="*/ 45684 w 130"/>
                <a:gd name="T9" fmla="*/ 62057 h 176"/>
                <a:gd name="T10" fmla="*/ 33643 w 130"/>
                <a:gd name="T11" fmla="*/ 62057 h 176"/>
                <a:gd name="T12" fmla="*/ 32581 w 130"/>
                <a:gd name="T13" fmla="*/ 53759 h 176"/>
                <a:gd name="T14" fmla="*/ 16645 w 130"/>
                <a:gd name="T15" fmla="*/ 63139 h 176"/>
                <a:gd name="T16" fmla="*/ 0 w 130"/>
                <a:gd name="T17" fmla="*/ 45099 h 176"/>
                <a:gd name="T18" fmla="*/ 29748 w 130"/>
                <a:gd name="T19" fmla="*/ 23813 h 176"/>
                <a:gd name="T20" fmla="*/ 32581 w 130"/>
                <a:gd name="T21" fmla="*/ 23813 h 176"/>
                <a:gd name="T22" fmla="*/ 32581 w 130"/>
                <a:gd name="T23" fmla="*/ 22009 h 176"/>
                <a:gd name="T24" fmla="*/ 22311 w 130"/>
                <a:gd name="T25" fmla="*/ 10463 h 176"/>
                <a:gd name="T26" fmla="*/ 7437 w 130"/>
                <a:gd name="T27" fmla="*/ 16236 h 176"/>
                <a:gd name="T28" fmla="*/ 5312 w 130"/>
                <a:gd name="T29" fmla="*/ 5051 h 176"/>
                <a:gd name="T30" fmla="*/ 30810 w 130"/>
                <a:gd name="T31" fmla="*/ 32472 h 176"/>
                <a:gd name="T32" fmla="*/ 12041 w 130"/>
                <a:gd name="T33" fmla="*/ 44017 h 176"/>
                <a:gd name="T34" fmla="*/ 20540 w 130"/>
                <a:gd name="T35" fmla="*/ 53759 h 176"/>
                <a:gd name="T36" fmla="*/ 31872 w 130"/>
                <a:gd name="T37" fmla="*/ 35358 h 176"/>
                <a:gd name="T38" fmla="*/ 31872 w 130"/>
                <a:gd name="T39" fmla="*/ 32472 h 176"/>
                <a:gd name="T40" fmla="*/ 30810 w 130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0" h="176">
                  <a:moveTo>
                    <a:pt x="15" y="14"/>
                  </a:moveTo>
                  <a:cubicBezTo>
                    <a:pt x="26" y="8"/>
                    <a:pt x="42" y="0"/>
                    <a:pt x="66" y="0"/>
                  </a:cubicBezTo>
                  <a:cubicBezTo>
                    <a:pt x="116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7"/>
                    <a:pt x="92" y="149"/>
                  </a:cubicBezTo>
                  <a:cubicBezTo>
                    <a:pt x="82" y="162"/>
                    <a:pt x="71" y="175"/>
                    <a:pt x="47" y="175"/>
                  </a:cubicBezTo>
                  <a:cubicBezTo>
                    <a:pt x="23" y="175"/>
                    <a:pt x="0" y="157"/>
                    <a:pt x="0" y="125"/>
                  </a:cubicBezTo>
                  <a:cubicBezTo>
                    <a:pt x="0" y="77"/>
                    <a:pt x="34" y="66"/>
                    <a:pt x="84" y="66"/>
                  </a:cubicBezTo>
                  <a:lnTo>
                    <a:pt x="92" y="66"/>
                  </a:lnTo>
                  <a:lnTo>
                    <a:pt x="92" y="61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40"/>
                    <a:pt x="21" y="45"/>
                  </a:cubicBezTo>
                  <a:lnTo>
                    <a:pt x="15" y="14"/>
                  </a:lnTo>
                  <a:close/>
                  <a:moveTo>
                    <a:pt x="87" y="90"/>
                  </a:moveTo>
                  <a:cubicBezTo>
                    <a:pt x="55" y="90"/>
                    <a:pt x="34" y="98"/>
                    <a:pt x="34" y="122"/>
                  </a:cubicBezTo>
                  <a:cubicBezTo>
                    <a:pt x="34" y="138"/>
                    <a:pt x="45" y="149"/>
                    <a:pt x="58" y="149"/>
                  </a:cubicBezTo>
                  <a:cubicBezTo>
                    <a:pt x="82" y="149"/>
                    <a:pt x="90" y="130"/>
                    <a:pt x="90" y="98"/>
                  </a:cubicBezTo>
                  <a:lnTo>
                    <a:pt x="90" y="90"/>
                  </a:lnTo>
                  <a:lnTo>
                    <a:pt x="87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9" name="Freeform 210">
              <a:extLst>
                <a:ext uri="{FF2B5EF4-FFF2-40B4-BE49-F238E27FC236}">
                  <a16:creationId xmlns:a16="http://schemas.microsoft.com/office/drawing/2014/main" id="{CD2ACB02-4084-D24D-B5A6-32B1185733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9325" y="4622800"/>
              <a:ext cx="49213" cy="92075"/>
            </a:xfrm>
            <a:custGeom>
              <a:avLst/>
              <a:gdLst>
                <a:gd name="T0" fmla="*/ 48851 w 136"/>
                <a:gd name="T1" fmla="*/ 80206 h 256"/>
                <a:gd name="T2" fmla="*/ 48851 w 136"/>
                <a:gd name="T3" fmla="*/ 90636 h 256"/>
                <a:gd name="T4" fmla="*/ 35462 w 136"/>
                <a:gd name="T5" fmla="*/ 90636 h 256"/>
                <a:gd name="T6" fmla="*/ 35462 w 136"/>
                <a:gd name="T7" fmla="*/ 81285 h 256"/>
                <a:gd name="T8" fmla="*/ 19902 w 136"/>
                <a:gd name="T9" fmla="*/ 91715 h 256"/>
                <a:gd name="T10" fmla="*/ 0 w 136"/>
                <a:gd name="T11" fmla="*/ 60065 h 256"/>
                <a:gd name="T12" fmla="*/ 19902 w 136"/>
                <a:gd name="T13" fmla="*/ 27694 h 256"/>
                <a:gd name="T14" fmla="*/ 35462 w 136"/>
                <a:gd name="T15" fmla="*/ 37405 h 256"/>
                <a:gd name="T16" fmla="*/ 35462 w 136"/>
                <a:gd name="T17" fmla="*/ 0 h 256"/>
                <a:gd name="T18" fmla="*/ 48851 w 136"/>
                <a:gd name="T19" fmla="*/ 0 h 256"/>
                <a:gd name="T20" fmla="*/ 48851 w 136"/>
                <a:gd name="T21" fmla="*/ 80206 h 256"/>
                <a:gd name="T22" fmla="*/ 23883 w 136"/>
                <a:gd name="T23" fmla="*/ 81285 h 256"/>
                <a:gd name="T24" fmla="*/ 34377 w 136"/>
                <a:gd name="T25" fmla="*/ 60065 h 256"/>
                <a:gd name="T26" fmla="*/ 23883 w 136"/>
                <a:gd name="T27" fmla="*/ 39204 h 256"/>
                <a:gd name="T28" fmla="*/ 13389 w 136"/>
                <a:gd name="T29" fmla="*/ 59345 h 256"/>
                <a:gd name="T30" fmla="*/ 23883 w 136"/>
                <a:gd name="T31" fmla="*/ 81285 h 2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6" h="256">
                  <a:moveTo>
                    <a:pt x="135" y="223"/>
                  </a:moveTo>
                  <a:lnTo>
                    <a:pt x="135" y="252"/>
                  </a:lnTo>
                  <a:lnTo>
                    <a:pt x="98" y="252"/>
                  </a:lnTo>
                  <a:lnTo>
                    <a:pt x="98" y="226"/>
                  </a:lnTo>
                  <a:cubicBezTo>
                    <a:pt x="92" y="241"/>
                    <a:pt x="79" y="255"/>
                    <a:pt x="55" y="255"/>
                  </a:cubicBezTo>
                  <a:cubicBezTo>
                    <a:pt x="16" y="255"/>
                    <a:pt x="0" y="215"/>
                    <a:pt x="0" y="167"/>
                  </a:cubicBezTo>
                  <a:cubicBezTo>
                    <a:pt x="0" y="112"/>
                    <a:pt x="21" y="77"/>
                    <a:pt x="55" y="77"/>
                  </a:cubicBezTo>
                  <a:cubicBezTo>
                    <a:pt x="79" y="77"/>
                    <a:pt x="90" y="90"/>
                    <a:pt x="98" y="104"/>
                  </a:cubicBezTo>
                  <a:lnTo>
                    <a:pt x="98" y="0"/>
                  </a:lnTo>
                  <a:lnTo>
                    <a:pt x="135" y="0"/>
                  </a:lnTo>
                  <a:lnTo>
                    <a:pt x="135" y="223"/>
                  </a:lnTo>
                  <a:close/>
                  <a:moveTo>
                    <a:pt x="66" y="226"/>
                  </a:moveTo>
                  <a:cubicBezTo>
                    <a:pt x="90" y="226"/>
                    <a:pt x="95" y="199"/>
                    <a:pt x="95" y="167"/>
                  </a:cubicBezTo>
                  <a:cubicBezTo>
                    <a:pt x="95" y="133"/>
                    <a:pt x="87" y="109"/>
                    <a:pt x="66" y="109"/>
                  </a:cubicBezTo>
                  <a:cubicBezTo>
                    <a:pt x="45" y="109"/>
                    <a:pt x="37" y="130"/>
                    <a:pt x="37" y="165"/>
                  </a:cubicBezTo>
                  <a:cubicBezTo>
                    <a:pt x="39" y="204"/>
                    <a:pt x="45" y="226"/>
                    <a:pt x="66" y="22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0" name="Freeform 211">
              <a:extLst>
                <a:ext uri="{FF2B5EF4-FFF2-40B4-BE49-F238E27FC236}">
                  <a16:creationId xmlns:a16="http://schemas.microsoft.com/office/drawing/2014/main" id="{36E23C8C-EF32-7148-937E-5FEF3EA0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63" y="4649788"/>
              <a:ext cx="47625" cy="65087"/>
            </a:xfrm>
            <a:custGeom>
              <a:avLst/>
              <a:gdLst>
                <a:gd name="T0" fmla="*/ 44353 w 131"/>
                <a:gd name="T1" fmla="*/ 60724 h 179"/>
                <a:gd name="T2" fmla="*/ 26903 w 131"/>
                <a:gd name="T3" fmla="*/ 64723 h 179"/>
                <a:gd name="T4" fmla="*/ 0 w 131"/>
                <a:gd name="T5" fmla="*/ 32725 h 179"/>
                <a:gd name="T6" fmla="*/ 23994 w 131"/>
                <a:gd name="T7" fmla="*/ 0 h 179"/>
                <a:gd name="T8" fmla="*/ 47261 w 131"/>
                <a:gd name="T9" fmla="*/ 33816 h 179"/>
                <a:gd name="T10" fmla="*/ 47261 w 131"/>
                <a:gd name="T11" fmla="*/ 36725 h 179"/>
                <a:gd name="T12" fmla="*/ 13451 w 131"/>
                <a:gd name="T13" fmla="*/ 36725 h 179"/>
                <a:gd name="T14" fmla="*/ 27993 w 131"/>
                <a:gd name="T15" fmla="*/ 54179 h 179"/>
                <a:gd name="T16" fmla="*/ 43262 w 131"/>
                <a:gd name="T17" fmla="*/ 49088 h 179"/>
                <a:gd name="T18" fmla="*/ 44353 w 131"/>
                <a:gd name="T19" fmla="*/ 60724 h 179"/>
                <a:gd name="T20" fmla="*/ 33447 w 131"/>
                <a:gd name="T21" fmla="*/ 26907 h 179"/>
                <a:gd name="T22" fmla="*/ 23994 w 131"/>
                <a:gd name="T23" fmla="*/ 10545 h 179"/>
                <a:gd name="T24" fmla="*/ 13451 w 131"/>
                <a:gd name="T25" fmla="*/ 26907 h 179"/>
                <a:gd name="T26" fmla="*/ 33447 w 131"/>
                <a:gd name="T27" fmla="*/ 26907 h 17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1" h="179">
                  <a:moveTo>
                    <a:pt x="122" y="167"/>
                  </a:moveTo>
                  <a:cubicBezTo>
                    <a:pt x="114" y="170"/>
                    <a:pt x="98" y="178"/>
                    <a:pt x="74" y="178"/>
                  </a:cubicBezTo>
                  <a:cubicBezTo>
                    <a:pt x="24" y="178"/>
                    <a:pt x="0" y="138"/>
                    <a:pt x="0" y="90"/>
                  </a:cubicBezTo>
                  <a:cubicBezTo>
                    <a:pt x="0" y="40"/>
                    <a:pt x="24" y="0"/>
                    <a:pt x="66" y="0"/>
                  </a:cubicBezTo>
                  <a:cubicBezTo>
                    <a:pt x="100" y="0"/>
                    <a:pt x="130" y="21"/>
                    <a:pt x="130" y="93"/>
                  </a:cubicBezTo>
                  <a:lnTo>
                    <a:pt x="130" y="101"/>
                  </a:lnTo>
                  <a:lnTo>
                    <a:pt x="37" y="101"/>
                  </a:lnTo>
                  <a:cubicBezTo>
                    <a:pt x="37" y="130"/>
                    <a:pt x="47" y="149"/>
                    <a:pt x="77" y="149"/>
                  </a:cubicBezTo>
                  <a:cubicBezTo>
                    <a:pt x="100" y="149"/>
                    <a:pt x="111" y="141"/>
                    <a:pt x="119" y="135"/>
                  </a:cubicBezTo>
                  <a:lnTo>
                    <a:pt x="122" y="167"/>
                  </a:lnTo>
                  <a:close/>
                  <a:moveTo>
                    <a:pt x="92" y="74"/>
                  </a:moveTo>
                  <a:cubicBezTo>
                    <a:pt x="92" y="45"/>
                    <a:pt x="85" y="29"/>
                    <a:pt x="66" y="29"/>
                  </a:cubicBezTo>
                  <a:cubicBezTo>
                    <a:pt x="45" y="29"/>
                    <a:pt x="37" y="53"/>
                    <a:pt x="37" y="74"/>
                  </a:cubicBezTo>
                  <a:lnTo>
                    <a:pt x="92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1" name="Freeform 212">
              <a:extLst>
                <a:ext uri="{FF2B5EF4-FFF2-40B4-BE49-F238E27FC236}">
                  <a16:creationId xmlns:a16="http://schemas.microsoft.com/office/drawing/2014/main" id="{8B047FCB-3B12-F242-AE7B-85272C958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3788" y="4622800"/>
              <a:ext cx="14287" cy="90488"/>
            </a:xfrm>
            <a:custGeom>
              <a:avLst/>
              <a:gdLst>
                <a:gd name="T0" fmla="*/ 0 w 38"/>
                <a:gd name="T1" fmla="*/ 0 h 253"/>
                <a:gd name="T2" fmla="*/ 13911 w 38"/>
                <a:gd name="T3" fmla="*/ 0 h 253"/>
                <a:gd name="T4" fmla="*/ 13911 w 38"/>
                <a:gd name="T5" fmla="*/ 90130 h 253"/>
                <a:gd name="T6" fmla="*/ 0 w 38"/>
                <a:gd name="T7" fmla="*/ 90130 h 253"/>
                <a:gd name="T8" fmla="*/ 0 w 38"/>
                <a:gd name="T9" fmla="*/ 0 h 2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253">
                  <a:moveTo>
                    <a:pt x="0" y="0"/>
                  </a:moveTo>
                  <a:lnTo>
                    <a:pt x="37" y="0"/>
                  </a:lnTo>
                  <a:lnTo>
                    <a:pt x="37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" name="Freeform 213">
              <a:extLst>
                <a:ext uri="{FF2B5EF4-FFF2-40B4-BE49-F238E27FC236}">
                  <a16:creationId xmlns:a16="http://schemas.microsoft.com/office/drawing/2014/main" id="{2B1D932D-56C0-7842-AE4D-77A1D56F8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7600" y="4649788"/>
              <a:ext cx="47625" cy="63500"/>
            </a:xfrm>
            <a:custGeom>
              <a:avLst/>
              <a:gdLst>
                <a:gd name="T0" fmla="*/ 5817 w 131"/>
                <a:gd name="T1" fmla="*/ 4690 h 176"/>
                <a:gd name="T2" fmla="*/ 24358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901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3091 h 176"/>
                <a:gd name="T24" fmla="*/ 23267 w 131"/>
                <a:gd name="T25" fmla="*/ 11545 h 176"/>
                <a:gd name="T26" fmla="*/ 7998 w 131"/>
                <a:gd name="T27" fmla="*/ 17318 h 176"/>
                <a:gd name="T28" fmla="*/ 5817 w 131"/>
                <a:gd name="T29" fmla="*/ 4690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3"/>
                  </a:moveTo>
                  <a:cubicBezTo>
                    <a:pt x="27" y="8"/>
                    <a:pt x="43" y="0"/>
                    <a:pt x="67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6"/>
                    <a:pt x="127" y="167"/>
                    <a:pt x="130" y="172"/>
                  </a:cubicBezTo>
                  <a:lnTo>
                    <a:pt x="96" y="172"/>
                  </a:lnTo>
                  <a:cubicBezTo>
                    <a:pt x="93" y="164"/>
                    <a:pt x="93" y="156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6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4"/>
                  </a:lnTo>
                  <a:cubicBezTo>
                    <a:pt x="93" y="48"/>
                    <a:pt x="85" y="32"/>
                    <a:pt x="64" y="32"/>
                  </a:cubicBezTo>
                  <a:cubicBezTo>
                    <a:pt x="45" y="32"/>
                    <a:pt x="27" y="43"/>
                    <a:pt x="22" y="48"/>
                  </a:cubicBezTo>
                  <a:lnTo>
                    <a:pt x="16" y="13"/>
                  </a:lnTo>
                  <a:close/>
                  <a:moveTo>
                    <a:pt x="90" y="90"/>
                  </a:moveTo>
                  <a:cubicBezTo>
                    <a:pt x="59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" name="Freeform 214">
              <a:extLst>
                <a:ext uri="{FF2B5EF4-FFF2-40B4-BE49-F238E27FC236}">
                  <a16:creationId xmlns:a16="http://schemas.microsoft.com/office/drawing/2014/main" id="{4845DD5B-ECBD-FC46-9213-A362E31DF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4627563"/>
              <a:ext cx="46037" cy="87312"/>
            </a:xfrm>
            <a:custGeom>
              <a:avLst/>
              <a:gdLst>
                <a:gd name="T0" fmla="*/ 2877 w 128"/>
                <a:gd name="T1" fmla="*/ 69633 h 242"/>
                <a:gd name="T2" fmla="*/ 19062 w 128"/>
                <a:gd name="T3" fmla="*/ 74323 h 242"/>
                <a:gd name="T4" fmla="*/ 30571 w 128"/>
                <a:gd name="T5" fmla="*/ 62056 h 242"/>
                <a:gd name="T6" fmla="*/ 20141 w 128"/>
                <a:gd name="T7" fmla="*/ 49429 h 242"/>
                <a:gd name="T8" fmla="*/ 12229 w 128"/>
                <a:gd name="T9" fmla="*/ 44738 h 242"/>
                <a:gd name="T10" fmla="*/ 0 w 128"/>
                <a:gd name="T11" fmla="*/ 22730 h 242"/>
                <a:gd name="T12" fmla="*/ 24817 w 128"/>
                <a:gd name="T13" fmla="*/ 0 h 242"/>
                <a:gd name="T14" fmla="*/ 41002 w 128"/>
                <a:gd name="T15" fmla="*/ 2886 h 242"/>
                <a:gd name="T16" fmla="*/ 39923 w 128"/>
                <a:gd name="T17" fmla="*/ 16236 h 242"/>
                <a:gd name="T18" fmla="*/ 25536 w 128"/>
                <a:gd name="T19" fmla="*/ 12267 h 242"/>
                <a:gd name="T20" fmla="*/ 15106 w 128"/>
                <a:gd name="T21" fmla="*/ 22008 h 242"/>
                <a:gd name="T22" fmla="*/ 23738 w 128"/>
                <a:gd name="T23" fmla="*/ 33193 h 242"/>
                <a:gd name="T24" fmla="*/ 32370 w 128"/>
                <a:gd name="T25" fmla="*/ 38244 h 242"/>
                <a:gd name="T26" fmla="*/ 45677 w 128"/>
                <a:gd name="T27" fmla="*/ 60974 h 242"/>
                <a:gd name="T28" fmla="*/ 20141 w 128"/>
                <a:gd name="T29" fmla="*/ 86951 h 242"/>
                <a:gd name="T30" fmla="*/ 1798 w 128"/>
                <a:gd name="T31" fmla="*/ 82982 h 242"/>
                <a:gd name="T32" fmla="*/ 2877 w 128"/>
                <a:gd name="T33" fmla="*/ 69633 h 24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242">
                  <a:moveTo>
                    <a:pt x="8" y="193"/>
                  </a:moveTo>
                  <a:cubicBezTo>
                    <a:pt x="16" y="198"/>
                    <a:pt x="32" y="206"/>
                    <a:pt x="53" y="206"/>
                  </a:cubicBezTo>
                  <a:cubicBezTo>
                    <a:pt x="71" y="206"/>
                    <a:pt x="85" y="196"/>
                    <a:pt x="85" y="172"/>
                  </a:cubicBezTo>
                  <a:cubicBezTo>
                    <a:pt x="85" y="156"/>
                    <a:pt x="77" y="148"/>
                    <a:pt x="56" y="137"/>
                  </a:cubicBezTo>
                  <a:lnTo>
                    <a:pt x="34" y="124"/>
                  </a:lnTo>
                  <a:cubicBezTo>
                    <a:pt x="13" y="111"/>
                    <a:pt x="0" y="92"/>
                    <a:pt x="0" y="63"/>
                  </a:cubicBezTo>
                  <a:cubicBezTo>
                    <a:pt x="0" y="21"/>
                    <a:pt x="32" y="0"/>
                    <a:pt x="69" y="0"/>
                  </a:cubicBezTo>
                  <a:cubicBezTo>
                    <a:pt x="93" y="0"/>
                    <a:pt x="109" y="5"/>
                    <a:pt x="114" y="8"/>
                  </a:cubicBezTo>
                  <a:lnTo>
                    <a:pt x="111" y="45"/>
                  </a:lnTo>
                  <a:cubicBezTo>
                    <a:pt x="101" y="39"/>
                    <a:pt x="89" y="34"/>
                    <a:pt x="71" y="34"/>
                  </a:cubicBezTo>
                  <a:cubicBezTo>
                    <a:pt x="52" y="34"/>
                    <a:pt x="42" y="45"/>
                    <a:pt x="42" y="61"/>
                  </a:cubicBezTo>
                  <a:cubicBezTo>
                    <a:pt x="42" y="79"/>
                    <a:pt x="53" y="84"/>
                    <a:pt x="66" y="92"/>
                  </a:cubicBezTo>
                  <a:lnTo>
                    <a:pt x="90" y="106"/>
                  </a:lnTo>
                  <a:cubicBezTo>
                    <a:pt x="117" y="121"/>
                    <a:pt x="127" y="135"/>
                    <a:pt x="127" y="169"/>
                  </a:cubicBezTo>
                  <a:cubicBezTo>
                    <a:pt x="127" y="217"/>
                    <a:pt x="95" y="241"/>
                    <a:pt x="56" y="241"/>
                  </a:cubicBezTo>
                  <a:cubicBezTo>
                    <a:pt x="34" y="241"/>
                    <a:pt x="19" y="238"/>
                    <a:pt x="5" y="230"/>
                  </a:cubicBezTo>
                  <a:lnTo>
                    <a:pt x="8" y="19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" name="Freeform 215">
              <a:extLst>
                <a:ext uri="{FF2B5EF4-FFF2-40B4-BE49-F238E27FC236}">
                  <a16:creationId xmlns:a16="http://schemas.microsoft.com/office/drawing/2014/main" id="{CF43AB1A-CAA1-664A-BE86-6F0545E4C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5713" y="4649788"/>
              <a:ext cx="46037" cy="63500"/>
            </a:xfrm>
            <a:custGeom>
              <a:avLst/>
              <a:gdLst>
                <a:gd name="T0" fmla="*/ 5666 w 130"/>
                <a:gd name="T1" fmla="*/ 4690 h 176"/>
                <a:gd name="T2" fmla="*/ 23019 w 130"/>
                <a:gd name="T3" fmla="*/ 0 h 176"/>
                <a:gd name="T4" fmla="*/ 44620 w 130"/>
                <a:gd name="T5" fmla="*/ 24895 h 176"/>
                <a:gd name="T6" fmla="*/ 44620 w 130"/>
                <a:gd name="T7" fmla="*/ 51594 h 176"/>
                <a:gd name="T8" fmla="*/ 45683 w 130"/>
                <a:gd name="T9" fmla="*/ 62057 h 176"/>
                <a:gd name="T10" fmla="*/ 33642 w 130"/>
                <a:gd name="T11" fmla="*/ 62057 h 176"/>
                <a:gd name="T12" fmla="*/ 32580 w 130"/>
                <a:gd name="T13" fmla="*/ 53759 h 176"/>
                <a:gd name="T14" fmla="*/ 16644 w 130"/>
                <a:gd name="T15" fmla="*/ 63139 h 176"/>
                <a:gd name="T16" fmla="*/ 0 w 130"/>
                <a:gd name="T17" fmla="*/ 45099 h 176"/>
                <a:gd name="T18" fmla="*/ 29747 w 130"/>
                <a:gd name="T19" fmla="*/ 23813 h 176"/>
                <a:gd name="T20" fmla="*/ 32580 w 130"/>
                <a:gd name="T21" fmla="*/ 23813 h 176"/>
                <a:gd name="T22" fmla="*/ 32580 w 130"/>
                <a:gd name="T23" fmla="*/ 23091 h 176"/>
                <a:gd name="T24" fmla="*/ 22310 w 130"/>
                <a:gd name="T25" fmla="*/ 11545 h 176"/>
                <a:gd name="T26" fmla="*/ 7437 w 130"/>
                <a:gd name="T27" fmla="*/ 17318 h 176"/>
                <a:gd name="T28" fmla="*/ 5666 w 130"/>
                <a:gd name="T29" fmla="*/ 4690 h 176"/>
                <a:gd name="T30" fmla="*/ 31518 w 130"/>
                <a:gd name="T31" fmla="*/ 32472 h 176"/>
                <a:gd name="T32" fmla="*/ 13103 w 130"/>
                <a:gd name="T33" fmla="*/ 44017 h 176"/>
                <a:gd name="T34" fmla="*/ 21248 w 130"/>
                <a:gd name="T35" fmla="*/ 53759 h 176"/>
                <a:gd name="T36" fmla="*/ 32580 w 130"/>
                <a:gd name="T37" fmla="*/ 35358 h 176"/>
                <a:gd name="T38" fmla="*/ 32580 w 130"/>
                <a:gd name="T39" fmla="*/ 32472 h 176"/>
                <a:gd name="T40" fmla="*/ 31518 w 130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0" h="176">
                  <a:moveTo>
                    <a:pt x="16" y="13"/>
                  </a:moveTo>
                  <a:cubicBezTo>
                    <a:pt x="27" y="8"/>
                    <a:pt x="42" y="0"/>
                    <a:pt x="65" y="0"/>
                  </a:cubicBezTo>
                  <a:cubicBezTo>
                    <a:pt x="116" y="0"/>
                    <a:pt x="126" y="27"/>
                    <a:pt x="126" y="69"/>
                  </a:cubicBezTo>
                  <a:lnTo>
                    <a:pt x="126" y="143"/>
                  </a:lnTo>
                  <a:cubicBezTo>
                    <a:pt x="126" y="156"/>
                    <a:pt x="126" y="167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6"/>
                    <a:pt x="92" y="149"/>
                  </a:cubicBezTo>
                  <a:cubicBezTo>
                    <a:pt x="81" y="162"/>
                    <a:pt x="71" y="175"/>
                    <a:pt x="47" y="175"/>
                  </a:cubicBezTo>
                  <a:cubicBezTo>
                    <a:pt x="24" y="175"/>
                    <a:pt x="0" y="156"/>
                    <a:pt x="0" y="125"/>
                  </a:cubicBezTo>
                  <a:cubicBezTo>
                    <a:pt x="0" y="77"/>
                    <a:pt x="35" y="66"/>
                    <a:pt x="84" y="66"/>
                  </a:cubicBezTo>
                  <a:lnTo>
                    <a:pt x="92" y="66"/>
                  </a:lnTo>
                  <a:lnTo>
                    <a:pt x="92" y="64"/>
                  </a:lnTo>
                  <a:cubicBezTo>
                    <a:pt x="92" y="48"/>
                    <a:pt x="84" y="32"/>
                    <a:pt x="63" y="32"/>
                  </a:cubicBezTo>
                  <a:cubicBezTo>
                    <a:pt x="44" y="32"/>
                    <a:pt x="27" y="43"/>
                    <a:pt x="21" y="48"/>
                  </a:cubicBezTo>
                  <a:lnTo>
                    <a:pt x="16" y="13"/>
                  </a:lnTo>
                  <a:close/>
                  <a:moveTo>
                    <a:pt x="89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7" y="149"/>
                    <a:pt x="60" y="149"/>
                  </a:cubicBezTo>
                  <a:cubicBezTo>
                    <a:pt x="84" y="149"/>
                    <a:pt x="92" y="130"/>
                    <a:pt x="92" y="98"/>
                  </a:cubicBezTo>
                  <a:lnTo>
                    <a:pt x="92" y="90"/>
                  </a:lnTo>
                  <a:lnTo>
                    <a:pt x="89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5" name="Freeform 216">
              <a:extLst>
                <a:ext uri="{FF2B5EF4-FFF2-40B4-BE49-F238E27FC236}">
                  <a16:creationId xmlns:a16="http://schemas.microsoft.com/office/drawing/2014/main" id="{2215DD60-D858-CF41-84A5-AB0480CBE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4450" y="4622800"/>
              <a:ext cx="14288" cy="90488"/>
            </a:xfrm>
            <a:custGeom>
              <a:avLst/>
              <a:gdLst>
                <a:gd name="T0" fmla="*/ 0 w 39"/>
                <a:gd name="T1" fmla="*/ 0 h 253"/>
                <a:gd name="T2" fmla="*/ 13922 w 39"/>
                <a:gd name="T3" fmla="*/ 0 h 253"/>
                <a:gd name="T4" fmla="*/ 13922 w 39"/>
                <a:gd name="T5" fmla="*/ 90130 h 253"/>
                <a:gd name="T6" fmla="*/ 0 w 39"/>
                <a:gd name="T7" fmla="*/ 90130 h 253"/>
                <a:gd name="T8" fmla="*/ 0 w 39"/>
                <a:gd name="T9" fmla="*/ 0 h 2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" h="253">
                  <a:moveTo>
                    <a:pt x="0" y="0"/>
                  </a:moveTo>
                  <a:lnTo>
                    <a:pt x="38" y="0"/>
                  </a:lnTo>
                  <a:lnTo>
                    <a:pt x="38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" name="Freeform 217">
              <a:extLst>
                <a:ext uri="{FF2B5EF4-FFF2-40B4-BE49-F238E27FC236}">
                  <a16:creationId xmlns:a16="http://schemas.microsoft.com/office/drawing/2014/main" id="{08E82AF0-8098-5745-AFB4-C1218CE35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1438" y="4651375"/>
              <a:ext cx="46037" cy="63500"/>
            </a:xfrm>
            <a:custGeom>
              <a:avLst/>
              <a:gdLst>
                <a:gd name="T0" fmla="*/ 45672 w 126"/>
                <a:gd name="T1" fmla="*/ 62057 h 176"/>
                <a:gd name="T2" fmla="*/ 32884 w 126"/>
                <a:gd name="T3" fmla="*/ 62057 h 176"/>
                <a:gd name="T4" fmla="*/ 32884 w 126"/>
                <a:gd name="T5" fmla="*/ 52676 h 176"/>
                <a:gd name="T6" fmla="*/ 17538 w 126"/>
                <a:gd name="T7" fmla="*/ 63139 h 176"/>
                <a:gd name="T8" fmla="*/ 0 w 126"/>
                <a:gd name="T9" fmla="*/ 40048 h 176"/>
                <a:gd name="T10" fmla="*/ 0 w 126"/>
                <a:gd name="T11" fmla="*/ 0 h 176"/>
                <a:gd name="T12" fmla="*/ 13519 w 126"/>
                <a:gd name="T13" fmla="*/ 0 h 176"/>
                <a:gd name="T14" fmla="*/ 13519 w 126"/>
                <a:gd name="T15" fmla="*/ 37162 h 176"/>
                <a:gd name="T16" fmla="*/ 22288 w 126"/>
                <a:gd name="T17" fmla="*/ 50511 h 176"/>
                <a:gd name="T18" fmla="*/ 32153 w 126"/>
                <a:gd name="T19" fmla="*/ 35358 h 176"/>
                <a:gd name="T20" fmla="*/ 32153 w 126"/>
                <a:gd name="T21" fmla="*/ 0 h 176"/>
                <a:gd name="T22" fmla="*/ 45672 w 126"/>
                <a:gd name="T23" fmla="*/ 0 h 176"/>
                <a:gd name="T24" fmla="*/ 45672 w 126"/>
                <a:gd name="T25" fmla="*/ 51594 h 176"/>
                <a:gd name="T26" fmla="*/ 45672 w 126"/>
                <a:gd name="T27" fmla="*/ 62057 h 1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6" h="176">
                  <a:moveTo>
                    <a:pt x="125" y="172"/>
                  </a:moveTo>
                  <a:lnTo>
                    <a:pt x="90" y="172"/>
                  </a:lnTo>
                  <a:lnTo>
                    <a:pt x="90" y="146"/>
                  </a:lnTo>
                  <a:cubicBezTo>
                    <a:pt x="82" y="159"/>
                    <a:pt x="72" y="175"/>
                    <a:pt x="48" y="175"/>
                  </a:cubicBezTo>
                  <a:cubicBezTo>
                    <a:pt x="11" y="175"/>
                    <a:pt x="0" y="146"/>
                    <a:pt x="0" y="111"/>
                  </a:cubicBezTo>
                  <a:lnTo>
                    <a:pt x="0" y="0"/>
                  </a:lnTo>
                  <a:lnTo>
                    <a:pt x="37" y="0"/>
                  </a:lnTo>
                  <a:lnTo>
                    <a:pt x="37" y="103"/>
                  </a:lnTo>
                  <a:cubicBezTo>
                    <a:pt x="37" y="130"/>
                    <a:pt x="45" y="140"/>
                    <a:pt x="61" y="140"/>
                  </a:cubicBezTo>
                  <a:cubicBezTo>
                    <a:pt x="82" y="140"/>
                    <a:pt x="88" y="119"/>
                    <a:pt x="88" y="98"/>
                  </a:cubicBezTo>
                  <a:lnTo>
                    <a:pt x="88" y="0"/>
                  </a:lnTo>
                  <a:lnTo>
                    <a:pt x="125" y="0"/>
                  </a:lnTo>
                  <a:lnTo>
                    <a:pt x="125" y="143"/>
                  </a:lnTo>
                  <a:lnTo>
                    <a:pt x="125" y="17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" name="Freeform 218">
              <a:extLst>
                <a:ext uri="{FF2B5EF4-FFF2-40B4-BE49-F238E27FC236}">
                  <a16:creationId xmlns:a16="http://schemas.microsoft.com/office/drawing/2014/main" id="{F0A1DC77-25BF-B242-98F3-E5D84E3F2F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7000" y="4622800"/>
              <a:ext cx="49213" cy="92075"/>
            </a:xfrm>
            <a:custGeom>
              <a:avLst/>
              <a:gdLst>
                <a:gd name="T0" fmla="*/ 48851 w 136"/>
                <a:gd name="T1" fmla="*/ 80206 h 256"/>
                <a:gd name="T2" fmla="*/ 48851 w 136"/>
                <a:gd name="T3" fmla="*/ 90636 h 256"/>
                <a:gd name="T4" fmla="*/ 35462 w 136"/>
                <a:gd name="T5" fmla="*/ 90636 h 256"/>
                <a:gd name="T6" fmla="*/ 35462 w 136"/>
                <a:gd name="T7" fmla="*/ 81285 h 256"/>
                <a:gd name="T8" fmla="*/ 20264 w 136"/>
                <a:gd name="T9" fmla="*/ 91715 h 256"/>
                <a:gd name="T10" fmla="*/ 0 w 136"/>
                <a:gd name="T11" fmla="*/ 60065 h 256"/>
                <a:gd name="T12" fmla="*/ 20264 w 136"/>
                <a:gd name="T13" fmla="*/ 27694 h 256"/>
                <a:gd name="T14" fmla="*/ 35462 w 136"/>
                <a:gd name="T15" fmla="*/ 37405 h 256"/>
                <a:gd name="T16" fmla="*/ 35462 w 136"/>
                <a:gd name="T17" fmla="*/ 0 h 256"/>
                <a:gd name="T18" fmla="*/ 48851 w 136"/>
                <a:gd name="T19" fmla="*/ 0 h 256"/>
                <a:gd name="T20" fmla="*/ 48851 w 136"/>
                <a:gd name="T21" fmla="*/ 80206 h 256"/>
                <a:gd name="T22" fmla="*/ 24968 w 136"/>
                <a:gd name="T23" fmla="*/ 81285 h 256"/>
                <a:gd name="T24" fmla="*/ 35462 w 136"/>
                <a:gd name="T25" fmla="*/ 60065 h 256"/>
                <a:gd name="T26" fmla="*/ 24968 w 136"/>
                <a:gd name="T27" fmla="*/ 39204 h 256"/>
                <a:gd name="T28" fmla="*/ 14474 w 136"/>
                <a:gd name="T29" fmla="*/ 59345 h 256"/>
                <a:gd name="T30" fmla="*/ 24968 w 136"/>
                <a:gd name="T31" fmla="*/ 81285 h 2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6" h="256">
                  <a:moveTo>
                    <a:pt x="135" y="223"/>
                  </a:moveTo>
                  <a:lnTo>
                    <a:pt x="135" y="252"/>
                  </a:lnTo>
                  <a:lnTo>
                    <a:pt x="98" y="252"/>
                  </a:lnTo>
                  <a:lnTo>
                    <a:pt x="98" y="226"/>
                  </a:lnTo>
                  <a:cubicBezTo>
                    <a:pt x="93" y="241"/>
                    <a:pt x="80" y="255"/>
                    <a:pt x="56" y="255"/>
                  </a:cubicBezTo>
                  <a:cubicBezTo>
                    <a:pt x="16" y="255"/>
                    <a:pt x="0" y="215"/>
                    <a:pt x="0" y="167"/>
                  </a:cubicBezTo>
                  <a:cubicBezTo>
                    <a:pt x="0" y="112"/>
                    <a:pt x="21" y="77"/>
                    <a:pt x="56" y="77"/>
                  </a:cubicBezTo>
                  <a:cubicBezTo>
                    <a:pt x="80" y="77"/>
                    <a:pt x="90" y="90"/>
                    <a:pt x="98" y="104"/>
                  </a:cubicBezTo>
                  <a:lnTo>
                    <a:pt x="98" y="0"/>
                  </a:lnTo>
                  <a:lnTo>
                    <a:pt x="135" y="0"/>
                  </a:lnTo>
                  <a:lnTo>
                    <a:pt x="135" y="223"/>
                  </a:lnTo>
                  <a:close/>
                  <a:moveTo>
                    <a:pt x="69" y="226"/>
                  </a:moveTo>
                  <a:cubicBezTo>
                    <a:pt x="93" y="226"/>
                    <a:pt x="98" y="199"/>
                    <a:pt x="98" y="167"/>
                  </a:cubicBezTo>
                  <a:cubicBezTo>
                    <a:pt x="98" y="133"/>
                    <a:pt x="90" y="109"/>
                    <a:pt x="69" y="109"/>
                  </a:cubicBezTo>
                  <a:cubicBezTo>
                    <a:pt x="48" y="109"/>
                    <a:pt x="40" y="130"/>
                    <a:pt x="40" y="165"/>
                  </a:cubicBezTo>
                  <a:cubicBezTo>
                    <a:pt x="40" y="204"/>
                    <a:pt x="45" y="226"/>
                    <a:pt x="69" y="22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" name="Freeform 219">
              <a:extLst>
                <a:ext uri="{FF2B5EF4-FFF2-40B4-BE49-F238E27FC236}">
                  <a16:creationId xmlns:a16="http://schemas.microsoft.com/office/drawing/2014/main" id="{DEC000D3-D645-514C-96C9-E648965BB4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888" y="4679950"/>
              <a:ext cx="784225" cy="4763"/>
            </a:xfrm>
            <a:custGeom>
              <a:avLst/>
              <a:gdLst>
                <a:gd name="T0" fmla="*/ 391932 w 2177"/>
                <a:gd name="T1" fmla="*/ 4366 h 12"/>
                <a:gd name="T2" fmla="*/ 0 w 2177"/>
                <a:gd name="T3" fmla="*/ 4366 h 12"/>
                <a:gd name="T4" fmla="*/ 0 w 2177"/>
                <a:gd name="T5" fmla="*/ 0 h 12"/>
                <a:gd name="T6" fmla="*/ 783865 w 2177"/>
                <a:gd name="T7" fmla="*/ 0 h 12"/>
                <a:gd name="T8" fmla="*/ 783865 w 2177"/>
                <a:gd name="T9" fmla="*/ 4366 h 12"/>
                <a:gd name="T10" fmla="*/ 391932 w 2177"/>
                <a:gd name="T11" fmla="*/ 436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77" h="12">
                  <a:moveTo>
                    <a:pt x="1088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2176" y="0"/>
                  </a:lnTo>
                  <a:lnTo>
                    <a:pt x="2176" y="11"/>
                  </a:lnTo>
                  <a:lnTo>
                    <a:pt x="1088" y="1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" name="Freeform 220">
              <a:extLst>
                <a:ext uri="{FF2B5EF4-FFF2-40B4-BE49-F238E27FC236}">
                  <a16:creationId xmlns:a16="http://schemas.microsoft.com/office/drawing/2014/main" id="{5663D9AA-4C7E-0740-A82A-35355B69B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9300" y="4448175"/>
              <a:ext cx="538163" cy="112713"/>
            </a:xfrm>
            <a:custGeom>
              <a:avLst/>
              <a:gdLst>
                <a:gd name="T0" fmla="*/ 154223 w 1497"/>
                <a:gd name="T1" fmla="*/ 30806 h 311"/>
                <a:gd name="T2" fmla="*/ 169322 w 1497"/>
                <a:gd name="T3" fmla="*/ 36242 h 311"/>
                <a:gd name="T4" fmla="*/ 176871 w 1497"/>
                <a:gd name="T5" fmla="*/ 48927 h 311"/>
                <a:gd name="T6" fmla="*/ 179747 w 1497"/>
                <a:gd name="T7" fmla="*/ 79733 h 311"/>
                <a:gd name="T8" fmla="*/ 193048 w 1497"/>
                <a:gd name="T9" fmla="*/ 85531 h 311"/>
                <a:gd name="T10" fmla="*/ 177950 w 1497"/>
                <a:gd name="T11" fmla="*/ 60524 h 311"/>
                <a:gd name="T12" fmla="*/ 176871 w 1497"/>
                <a:gd name="T13" fmla="*/ 57625 h 311"/>
                <a:gd name="T14" fmla="*/ 128339 w 1497"/>
                <a:gd name="T15" fmla="*/ 29719 h 311"/>
                <a:gd name="T16" fmla="*/ 95985 w 1497"/>
                <a:gd name="T17" fmla="*/ 56538 h 311"/>
                <a:gd name="T18" fmla="*/ 127620 w 1497"/>
                <a:gd name="T19" fmla="*/ 81545 h 311"/>
                <a:gd name="T20" fmla="*/ 98142 w 1497"/>
                <a:gd name="T21" fmla="*/ 94954 h 311"/>
                <a:gd name="T22" fmla="*/ 139124 w 1497"/>
                <a:gd name="T23" fmla="*/ 79733 h 311"/>
                <a:gd name="T24" fmla="*/ 138046 w 1497"/>
                <a:gd name="T25" fmla="*/ 25732 h 311"/>
                <a:gd name="T26" fmla="*/ 109286 w 1497"/>
                <a:gd name="T27" fmla="*/ 55450 h 311"/>
                <a:gd name="T28" fmla="*/ 127620 w 1497"/>
                <a:gd name="T29" fmla="*/ 55450 h 311"/>
                <a:gd name="T30" fmla="*/ 214259 w 1497"/>
                <a:gd name="T31" fmla="*/ 33705 h 311"/>
                <a:gd name="T32" fmla="*/ 201676 w 1497"/>
                <a:gd name="T33" fmla="*/ 25732 h 311"/>
                <a:gd name="T34" fmla="*/ 201676 w 1497"/>
                <a:gd name="T35" fmla="*/ 86256 h 311"/>
                <a:gd name="T36" fmla="*/ 223605 w 1497"/>
                <a:gd name="T37" fmla="*/ 37329 h 311"/>
                <a:gd name="T38" fmla="*/ 243737 w 1497"/>
                <a:gd name="T39" fmla="*/ 86256 h 311"/>
                <a:gd name="T40" fmla="*/ 214259 w 1497"/>
                <a:gd name="T41" fmla="*/ 33705 h 311"/>
                <a:gd name="T42" fmla="*/ 456917 w 1497"/>
                <a:gd name="T43" fmla="*/ 19933 h 311"/>
                <a:gd name="T44" fmla="*/ 0 w 1497"/>
                <a:gd name="T45" fmla="*/ 46027 h 311"/>
                <a:gd name="T46" fmla="*/ 28400 w 1497"/>
                <a:gd name="T47" fmla="*/ 3624 h 311"/>
                <a:gd name="T48" fmla="*/ 28400 w 1497"/>
                <a:gd name="T49" fmla="*/ 15222 h 311"/>
                <a:gd name="T50" fmla="*/ 14380 w 1497"/>
                <a:gd name="T51" fmla="*/ 44940 h 311"/>
                <a:gd name="T52" fmla="*/ 76932 w 1497"/>
                <a:gd name="T53" fmla="*/ 30806 h 311"/>
                <a:gd name="T54" fmla="*/ 65787 w 1497"/>
                <a:gd name="T55" fmla="*/ 26819 h 311"/>
                <a:gd name="T56" fmla="*/ 79089 w 1497"/>
                <a:gd name="T57" fmla="*/ 86256 h 311"/>
                <a:gd name="T58" fmla="*/ 93109 w 1497"/>
                <a:gd name="T59" fmla="*/ 40229 h 311"/>
                <a:gd name="T60" fmla="*/ 93109 w 1497"/>
                <a:gd name="T61" fmla="*/ 25007 h 311"/>
                <a:gd name="T62" fmla="*/ 429236 w 1497"/>
                <a:gd name="T63" fmla="*/ 15222 h 311"/>
                <a:gd name="T64" fmla="*/ 415935 w 1497"/>
                <a:gd name="T65" fmla="*/ 15222 h 311"/>
                <a:gd name="T66" fmla="*/ 384659 w 1497"/>
                <a:gd name="T67" fmla="*/ 56538 h 311"/>
                <a:gd name="T68" fmla="*/ 407307 w 1497"/>
                <a:gd name="T69" fmla="*/ 40229 h 311"/>
                <a:gd name="T70" fmla="*/ 372077 w 1497"/>
                <a:gd name="T71" fmla="*/ 56538 h 311"/>
                <a:gd name="T72" fmla="*/ 406588 w 1497"/>
                <a:gd name="T73" fmla="*/ 72847 h 311"/>
                <a:gd name="T74" fmla="*/ 429236 w 1497"/>
                <a:gd name="T75" fmla="*/ 25732 h 311"/>
                <a:gd name="T76" fmla="*/ 439662 w 1497"/>
                <a:gd name="T77" fmla="*/ 55450 h 311"/>
                <a:gd name="T78" fmla="*/ 462669 w 1497"/>
                <a:gd name="T79" fmla="*/ 25007 h 311"/>
                <a:gd name="T80" fmla="*/ 462669 w 1497"/>
                <a:gd name="T81" fmla="*/ 35517 h 311"/>
                <a:gd name="T82" fmla="*/ 452963 w 1497"/>
                <a:gd name="T83" fmla="*/ 55450 h 311"/>
                <a:gd name="T84" fmla="*/ 268542 w 1497"/>
                <a:gd name="T85" fmla="*/ 25732 h 311"/>
                <a:gd name="T86" fmla="*/ 255241 w 1497"/>
                <a:gd name="T87" fmla="*/ 15222 h 311"/>
                <a:gd name="T88" fmla="*/ 255241 w 1497"/>
                <a:gd name="T89" fmla="*/ 0 h 311"/>
                <a:gd name="T90" fmla="*/ 340801 w 1497"/>
                <a:gd name="T91" fmla="*/ 25732 h 311"/>
                <a:gd name="T92" fmla="*/ 326421 w 1497"/>
                <a:gd name="T93" fmla="*/ 42041 h 311"/>
                <a:gd name="T94" fmla="*/ 349428 w 1497"/>
                <a:gd name="T95" fmla="*/ 48927 h 311"/>
                <a:gd name="T96" fmla="*/ 336127 w 1497"/>
                <a:gd name="T97" fmla="*/ 88068 h 311"/>
                <a:gd name="T98" fmla="*/ 363449 w 1497"/>
                <a:gd name="T99" fmla="*/ 86256 h 311"/>
                <a:gd name="T100" fmla="*/ 360932 w 1497"/>
                <a:gd name="T101" fmla="*/ 50014 h 311"/>
                <a:gd name="T102" fmla="*/ 331094 w 1497"/>
                <a:gd name="T103" fmla="*/ 68135 h 311"/>
                <a:gd name="T104" fmla="*/ 348350 w 1497"/>
                <a:gd name="T105" fmla="*/ 60524 h 311"/>
                <a:gd name="T106" fmla="*/ 278968 w 1497"/>
                <a:gd name="T107" fmla="*/ 37329 h 311"/>
                <a:gd name="T108" fmla="*/ 277889 w 1497"/>
                <a:gd name="T109" fmla="*/ 86256 h 311"/>
                <a:gd name="T110" fmla="*/ 292269 w 1497"/>
                <a:gd name="T111" fmla="*/ 74659 h 311"/>
                <a:gd name="T112" fmla="*/ 508325 w 1497"/>
                <a:gd name="T113" fmla="*/ 33705 h 311"/>
                <a:gd name="T114" fmla="*/ 496102 w 1497"/>
                <a:gd name="T115" fmla="*/ 25732 h 311"/>
                <a:gd name="T116" fmla="*/ 496102 w 1497"/>
                <a:gd name="T117" fmla="*/ 86256 h 311"/>
                <a:gd name="T118" fmla="*/ 517672 w 1497"/>
                <a:gd name="T119" fmla="*/ 37329 h 311"/>
                <a:gd name="T120" fmla="*/ 537804 w 1497"/>
                <a:gd name="T121" fmla="*/ 86256 h 311"/>
                <a:gd name="T122" fmla="*/ 508325 w 1497"/>
                <a:gd name="T123" fmla="*/ 33705 h 3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97" h="311">
                  <a:moveTo>
                    <a:pt x="530" y="138"/>
                  </a:moveTo>
                  <a:cubicBezTo>
                    <a:pt x="530" y="98"/>
                    <a:pt x="519" y="71"/>
                    <a:pt x="474" y="71"/>
                  </a:cubicBezTo>
                  <a:cubicBezTo>
                    <a:pt x="453" y="71"/>
                    <a:pt x="437" y="79"/>
                    <a:pt x="429" y="85"/>
                  </a:cubicBezTo>
                  <a:lnTo>
                    <a:pt x="432" y="119"/>
                  </a:lnTo>
                  <a:lnTo>
                    <a:pt x="434" y="116"/>
                  </a:lnTo>
                  <a:cubicBezTo>
                    <a:pt x="440" y="111"/>
                    <a:pt x="455" y="100"/>
                    <a:pt x="471" y="100"/>
                  </a:cubicBezTo>
                  <a:cubicBezTo>
                    <a:pt x="495" y="100"/>
                    <a:pt x="498" y="122"/>
                    <a:pt x="498" y="130"/>
                  </a:cubicBezTo>
                  <a:lnTo>
                    <a:pt x="498" y="135"/>
                  </a:lnTo>
                  <a:lnTo>
                    <a:pt x="492" y="135"/>
                  </a:lnTo>
                  <a:cubicBezTo>
                    <a:pt x="458" y="135"/>
                    <a:pt x="416" y="140"/>
                    <a:pt x="416" y="193"/>
                  </a:cubicBezTo>
                  <a:cubicBezTo>
                    <a:pt x="416" y="225"/>
                    <a:pt x="437" y="243"/>
                    <a:pt x="461" y="243"/>
                  </a:cubicBezTo>
                  <a:cubicBezTo>
                    <a:pt x="482" y="243"/>
                    <a:pt x="492" y="233"/>
                    <a:pt x="500" y="220"/>
                  </a:cubicBezTo>
                  <a:cubicBezTo>
                    <a:pt x="500" y="228"/>
                    <a:pt x="500" y="233"/>
                    <a:pt x="503" y="238"/>
                  </a:cubicBezTo>
                  <a:lnTo>
                    <a:pt x="537" y="238"/>
                  </a:lnTo>
                  <a:lnTo>
                    <a:pt x="537" y="236"/>
                  </a:lnTo>
                  <a:cubicBezTo>
                    <a:pt x="532" y="230"/>
                    <a:pt x="530" y="220"/>
                    <a:pt x="530" y="209"/>
                  </a:cubicBezTo>
                  <a:lnTo>
                    <a:pt x="530" y="138"/>
                  </a:lnTo>
                  <a:close/>
                  <a:moveTo>
                    <a:pt x="495" y="167"/>
                  </a:moveTo>
                  <a:cubicBezTo>
                    <a:pt x="495" y="198"/>
                    <a:pt x="487" y="212"/>
                    <a:pt x="469" y="212"/>
                  </a:cubicBezTo>
                  <a:cubicBezTo>
                    <a:pt x="455" y="212"/>
                    <a:pt x="447" y="201"/>
                    <a:pt x="447" y="188"/>
                  </a:cubicBezTo>
                  <a:cubicBezTo>
                    <a:pt x="447" y="167"/>
                    <a:pt x="461" y="159"/>
                    <a:pt x="492" y="159"/>
                  </a:cubicBezTo>
                  <a:lnTo>
                    <a:pt x="495" y="159"/>
                  </a:lnTo>
                  <a:lnTo>
                    <a:pt x="495" y="167"/>
                  </a:lnTo>
                  <a:close/>
                  <a:moveTo>
                    <a:pt x="357" y="82"/>
                  </a:moveTo>
                  <a:lnTo>
                    <a:pt x="357" y="95"/>
                  </a:lnTo>
                  <a:cubicBezTo>
                    <a:pt x="349" y="82"/>
                    <a:pt x="339" y="69"/>
                    <a:pt x="320" y="69"/>
                  </a:cubicBezTo>
                  <a:cubicBezTo>
                    <a:pt x="286" y="69"/>
                    <a:pt x="267" y="100"/>
                    <a:pt x="267" y="156"/>
                  </a:cubicBezTo>
                  <a:cubicBezTo>
                    <a:pt x="267" y="233"/>
                    <a:pt x="307" y="238"/>
                    <a:pt x="318" y="238"/>
                  </a:cubicBezTo>
                  <a:cubicBezTo>
                    <a:pt x="339" y="238"/>
                    <a:pt x="349" y="225"/>
                    <a:pt x="355" y="214"/>
                  </a:cubicBezTo>
                  <a:lnTo>
                    <a:pt x="355" y="225"/>
                  </a:lnTo>
                  <a:cubicBezTo>
                    <a:pt x="355" y="249"/>
                    <a:pt x="349" y="275"/>
                    <a:pt x="318" y="275"/>
                  </a:cubicBezTo>
                  <a:cubicBezTo>
                    <a:pt x="304" y="275"/>
                    <a:pt x="291" y="270"/>
                    <a:pt x="275" y="262"/>
                  </a:cubicBezTo>
                  <a:lnTo>
                    <a:pt x="273" y="262"/>
                  </a:lnTo>
                  <a:lnTo>
                    <a:pt x="270" y="299"/>
                  </a:lnTo>
                  <a:cubicBezTo>
                    <a:pt x="286" y="307"/>
                    <a:pt x="302" y="310"/>
                    <a:pt x="320" y="310"/>
                  </a:cubicBezTo>
                  <a:cubicBezTo>
                    <a:pt x="379" y="310"/>
                    <a:pt x="387" y="262"/>
                    <a:pt x="387" y="220"/>
                  </a:cubicBezTo>
                  <a:lnTo>
                    <a:pt x="387" y="98"/>
                  </a:lnTo>
                  <a:lnTo>
                    <a:pt x="387" y="71"/>
                  </a:lnTo>
                  <a:lnTo>
                    <a:pt x="384" y="71"/>
                  </a:lnTo>
                  <a:lnTo>
                    <a:pt x="357" y="71"/>
                  </a:lnTo>
                  <a:lnTo>
                    <a:pt x="357" y="82"/>
                  </a:lnTo>
                  <a:close/>
                  <a:moveTo>
                    <a:pt x="304" y="153"/>
                  </a:moveTo>
                  <a:cubicBezTo>
                    <a:pt x="304" y="119"/>
                    <a:pt x="312" y="103"/>
                    <a:pt x="328" y="103"/>
                  </a:cubicBezTo>
                  <a:cubicBezTo>
                    <a:pt x="334" y="103"/>
                    <a:pt x="339" y="106"/>
                    <a:pt x="342" y="108"/>
                  </a:cubicBezTo>
                  <a:cubicBezTo>
                    <a:pt x="349" y="116"/>
                    <a:pt x="355" y="132"/>
                    <a:pt x="355" y="153"/>
                  </a:cubicBezTo>
                  <a:cubicBezTo>
                    <a:pt x="355" y="191"/>
                    <a:pt x="347" y="206"/>
                    <a:pt x="326" y="206"/>
                  </a:cubicBezTo>
                  <a:cubicBezTo>
                    <a:pt x="315" y="206"/>
                    <a:pt x="304" y="193"/>
                    <a:pt x="304" y="153"/>
                  </a:cubicBezTo>
                  <a:close/>
                  <a:moveTo>
                    <a:pt x="596" y="93"/>
                  </a:moveTo>
                  <a:lnTo>
                    <a:pt x="596" y="82"/>
                  </a:lnTo>
                  <a:lnTo>
                    <a:pt x="596" y="71"/>
                  </a:lnTo>
                  <a:lnTo>
                    <a:pt x="561" y="71"/>
                  </a:lnTo>
                  <a:lnTo>
                    <a:pt x="561" y="74"/>
                  </a:lnTo>
                  <a:lnTo>
                    <a:pt x="561" y="100"/>
                  </a:lnTo>
                  <a:lnTo>
                    <a:pt x="561" y="238"/>
                  </a:lnTo>
                  <a:lnTo>
                    <a:pt x="598" y="238"/>
                  </a:lnTo>
                  <a:lnTo>
                    <a:pt x="598" y="140"/>
                  </a:lnTo>
                  <a:cubicBezTo>
                    <a:pt x="598" y="127"/>
                    <a:pt x="601" y="103"/>
                    <a:pt x="622" y="103"/>
                  </a:cubicBezTo>
                  <a:cubicBezTo>
                    <a:pt x="635" y="103"/>
                    <a:pt x="641" y="114"/>
                    <a:pt x="641" y="138"/>
                  </a:cubicBezTo>
                  <a:lnTo>
                    <a:pt x="641" y="238"/>
                  </a:lnTo>
                  <a:lnTo>
                    <a:pt x="678" y="238"/>
                  </a:lnTo>
                  <a:lnTo>
                    <a:pt x="678" y="132"/>
                  </a:lnTo>
                  <a:cubicBezTo>
                    <a:pt x="678" y="90"/>
                    <a:pt x="662" y="69"/>
                    <a:pt x="633" y="69"/>
                  </a:cubicBezTo>
                  <a:cubicBezTo>
                    <a:pt x="612" y="69"/>
                    <a:pt x="601" y="85"/>
                    <a:pt x="596" y="93"/>
                  </a:cubicBezTo>
                  <a:close/>
                  <a:moveTo>
                    <a:pt x="1324" y="8"/>
                  </a:moveTo>
                  <a:lnTo>
                    <a:pt x="1290" y="8"/>
                  </a:lnTo>
                  <a:lnTo>
                    <a:pt x="1271" y="55"/>
                  </a:lnTo>
                  <a:lnTo>
                    <a:pt x="1295" y="55"/>
                  </a:lnTo>
                  <a:lnTo>
                    <a:pt x="1324" y="8"/>
                  </a:lnTo>
                  <a:close/>
                  <a:moveTo>
                    <a:pt x="0" y="127"/>
                  </a:moveTo>
                  <a:cubicBezTo>
                    <a:pt x="0" y="212"/>
                    <a:pt x="40" y="243"/>
                    <a:pt x="79" y="243"/>
                  </a:cubicBezTo>
                  <a:cubicBezTo>
                    <a:pt x="116" y="243"/>
                    <a:pt x="159" y="214"/>
                    <a:pt x="159" y="127"/>
                  </a:cubicBezTo>
                  <a:cubicBezTo>
                    <a:pt x="156" y="40"/>
                    <a:pt x="116" y="10"/>
                    <a:pt x="79" y="10"/>
                  </a:cubicBezTo>
                  <a:cubicBezTo>
                    <a:pt x="42" y="10"/>
                    <a:pt x="0" y="40"/>
                    <a:pt x="0" y="127"/>
                  </a:cubicBezTo>
                  <a:close/>
                  <a:moveTo>
                    <a:pt x="40" y="124"/>
                  </a:moveTo>
                  <a:cubicBezTo>
                    <a:pt x="40" y="71"/>
                    <a:pt x="53" y="42"/>
                    <a:pt x="79" y="42"/>
                  </a:cubicBezTo>
                  <a:cubicBezTo>
                    <a:pt x="106" y="42"/>
                    <a:pt x="119" y="71"/>
                    <a:pt x="119" y="124"/>
                  </a:cubicBezTo>
                  <a:cubicBezTo>
                    <a:pt x="119" y="177"/>
                    <a:pt x="103" y="206"/>
                    <a:pt x="79" y="206"/>
                  </a:cubicBezTo>
                  <a:cubicBezTo>
                    <a:pt x="53" y="206"/>
                    <a:pt x="40" y="177"/>
                    <a:pt x="40" y="124"/>
                  </a:cubicBezTo>
                  <a:close/>
                  <a:moveTo>
                    <a:pt x="249" y="69"/>
                  </a:moveTo>
                  <a:cubicBezTo>
                    <a:pt x="228" y="69"/>
                    <a:pt x="217" y="87"/>
                    <a:pt x="214" y="98"/>
                  </a:cubicBezTo>
                  <a:lnTo>
                    <a:pt x="214" y="85"/>
                  </a:lnTo>
                  <a:lnTo>
                    <a:pt x="214" y="71"/>
                  </a:lnTo>
                  <a:lnTo>
                    <a:pt x="183" y="71"/>
                  </a:lnTo>
                  <a:lnTo>
                    <a:pt x="183" y="74"/>
                  </a:lnTo>
                  <a:lnTo>
                    <a:pt x="183" y="100"/>
                  </a:lnTo>
                  <a:lnTo>
                    <a:pt x="183" y="238"/>
                  </a:lnTo>
                  <a:lnTo>
                    <a:pt x="220" y="238"/>
                  </a:lnTo>
                  <a:lnTo>
                    <a:pt x="220" y="148"/>
                  </a:lnTo>
                  <a:cubicBezTo>
                    <a:pt x="220" y="111"/>
                    <a:pt x="241" y="108"/>
                    <a:pt x="249" y="108"/>
                  </a:cubicBezTo>
                  <a:cubicBezTo>
                    <a:pt x="252" y="108"/>
                    <a:pt x="254" y="108"/>
                    <a:pt x="259" y="111"/>
                  </a:cubicBezTo>
                  <a:lnTo>
                    <a:pt x="262" y="111"/>
                  </a:lnTo>
                  <a:lnTo>
                    <a:pt x="262" y="69"/>
                  </a:lnTo>
                  <a:lnTo>
                    <a:pt x="259" y="69"/>
                  </a:lnTo>
                  <a:lnTo>
                    <a:pt x="249" y="69"/>
                  </a:lnTo>
                  <a:close/>
                  <a:moveTo>
                    <a:pt x="1157" y="42"/>
                  </a:moveTo>
                  <a:lnTo>
                    <a:pt x="1194" y="42"/>
                  </a:lnTo>
                  <a:lnTo>
                    <a:pt x="1194" y="0"/>
                  </a:lnTo>
                  <a:lnTo>
                    <a:pt x="1157" y="0"/>
                  </a:lnTo>
                  <a:lnTo>
                    <a:pt x="1157" y="42"/>
                  </a:lnTo>
                  <a:close/>
                  <a:moveTo>
                    <a:pt x="1131" y="201"/>
                  </a:moveTo>
                  <a:cubicBezTo>
                    <a:pt x="1125" y="204"/>
                    <a:pt x="1115" y="209"/>
                    <a:pt x="1107" y="209"/>
                  </a:cubicBezTo>
                  <a:cubicBezTo>
                    <a:pt x="1083" y="209"/>
                    <a:pt x="1070" y="191"/>
                    <a:pt x="1070" y="156"/>
                  </a:cubicBezTo>
                  <a:cubicBezTo>
                    <a:pt x="1070" y="119"/>
                    <a:pt x="1080" y="103"/>
                    <a:pt x="1107" y="103"/>
                  </a:cubicBezTo>
                  <a:cubicBezTo>
                    <a:pt x="1115" y="103"/>
                    <a:pt x="1123" y="106"/>
                    <a:pt x="1131" y="111"/>
                  </a:cubicBezTo>
                  <a:lnTo>
                    <a:pt x="1133" y="111"/>
                  </a:lnTo>
                  <a:lnTo>
                    <a:pt x="1136" y="77"/>
                  </a:lnTo>
                  <a:cubicBezTo>
                    <a:pt x="1131" y="74"/>
                    <a:pt x="1117" y="69"/>
                    <a:pt x="1107" y="69"/>
                  </a:cubicBezTo>
                  <a:cubicBezTo>
                    <a:pt x="1062" y="69"/>
                    <a:pt x="1035" y="100"/>
                    <a:pt x="1035" y="156"/>
                  </a:cubicBezTo>
                  <a:cubicBezTo>
                    <a:pt x="1035" y="209"/>
                    <a:pt x="1062" y="241"/>
                    <a:pt x="1104" y="241"/>
                  </a:cubicBezTo>
                  <a:cubicBezTo>
                    <a:pt x="1120" y="241"/>
                    <a:pt x="1133" y="236"/>
                    <a:pt x="1139" y="233"/>
                  </a:cubicBezTo>
                  <a:lnTo>
                    <a:pt x="1131" y="201"/>
                  </a:lnTo>
                  <a:close/>
                  <a:moveTo>
                    <a:pt x="1157" y="238"/>
                  </a:moveTo>
                  <a:lnTo>
                    <a:pt x="1194" y="238"/>
                  </a:lnTo>
                  <a:lnTo>
                    <a:pt x="1194" y="71"/>
                  </a:lnTo>
                  <a:lnTo>
                    <a:pt x="1157" y="71"/>
                  </a:lnTo>
                  <a:lnTo>
                    <a:pt x="1157" y="238"/>
                  </a:lnTo>
                  <a:close/>
                  <a:moveTo>
                    <a:pt x="1223" y="153"/>
                  </a:moveTo>
                  <a:cubicBezTo>
                    <a:pt x="1223" y="228"/>
                    <a:pt x="1263" y="241"/>
                    <a:pt x="1287" y="241"/>
                  </a:cubicBezTo>
                  <a:cubicBezTo>
                    <a:pt x="1311" y="241"/>
                    <a:pt x="1350" y="230"/>
                    <a:pt x="1350" y="153"/>
                  </a:cubicBezTo>
                  <a:cubicBezTo>
                    <a:pt x="1353" y="77"/>
                    <a:pt x="1308" y="69"/>
                    <a:pt x="1287" y="69"/>
                  </a:cubicBezTo>
                  <a:cubicBezTo>
                    <a:pt x="1268" y="69"/>
                    <a:pt x="1223" y="77"/>
                    <a:pt x="1223" y="153"/>
                  </a:cubicBezTo>
                  <a:close/>
                  <a:moveTo>
                    <a:pt x="1260" y="153"/>
                  </a:moveTo>
                  <a:cubicBezTo>
                    <a:pt x="1260" y="130"/>
                    <a:pt x="1266" y="98"/>
                    <a:pt x="1287" y="98"/>
                  </a:cubicBezTo>
                  <a:cubicBezTo>
                    <a:pt x="1303" y="98"/>
                    <a:pt x="1313" y="116"/>
                    <a:pt x="1313" y="153"/>
                  </a:cubicBezTo>
                  <a:cubicBezTo>
                    <a:pt x="1313" y="191"/>
                    <a:pt x="1305" y="209"/>
                    <a:pt x="1287" y="209"/>
                  </a:cubicBezTo>
                  <a:cubicBezTo>
                    <a:pt x="1266" y="209"/>
                    <a:pt x="1260" y="180"/>
                    <a:pt x="1260" y="153"/>
                  </a:cubicBezTo>
                  <a:close/>
                  <a:moveTo>
                    <a:pt x="710" y="238"/>
                  </a:moveTo>
                  <a:lnTo>
                    <a:pt x="747" y="238"/>
                  </a:lnTo>
                  <a:lnTo>
                    <a:pt x="747" y="71"/>
                  </a:lnTo>
                  <a:lnTo>
                    <a:pt x="710" y="71"/>
                  </a:lnTo>
                  <a:lnTo>
                    <a:pt x="710" y="238"/>
                  </a:lnTo>
                  <a:close/>
                  <a:moveTo>
                    <a:pt x="710" y="42"/>
                  </a:moveTo>
                  <a:lnTo>
                    <a:pt x="747" y="42"/>
                  </a:lnTo>
                  <a:lnTo>
                    <a:pt x="747" y="0"/>
                  </a:lnTo>
                  <a:lnTo>
                    <a:pt x="710" y="0"/>
                  </a:lnTo>
                  <a:lnTo>
                    <a:pt x="710" y="42"/>
                  </a:lnTo>
                  <a:close/>
                  <a:moveTo>
                    <a:pt x="1004" y="138"/>
                  </a:moveTo>
                  <a:cubicBezTo>
                    <a:pt x="1004" y="98"/>
                    <a:pt x="993" y="71"/>
                    <a:pt x="948" y="71"/>
                  </a:cubicBezTo>
                  <a:cubicBezTo>
                    <a:pt x="927" y="71"/>
                    <a:pt x="911" y="79"/>
                    <a:pt x="903" y="85"/>
                  </a:cubicBezTo>
                  <a:lnTo>
                    <a:pt x="906" y="119"/>
                  </a:lnTo>
                  <a:lnTo>
                    <a:pt x="908" y="116"/>
                  </a:lnTo>
                  <a:cubicBezTo>
                    <a:pt x="913" y="111"/>
                    <a:pt x="929" y="100"/>
                    <a:pt x="945" y="100"/>
                  </a:cubicBezTo>
                  <a:cubicBezTo>
                    <a:pt x="969" y="100"/>
                    <a:pt x="972" y="122"/>
                    <a:pt x="972" y="130"/>
                  </a:cubicBezTo>
                  <a:lnTo>
                    <a:pt x="972" y="135"/>
                  </a:lnTo>
                  <a:lnTo>
                    <a:pt x="966" y="135"/>
                  </a:lnTo>
                  <a:cubicBezTo>
                    <a:pt x="932" y="135"/>
                    <a:pt x="890" y="140"/>
                    <a:pt x="890" y="193"/>
                  </a:cubicBezTo>
                  <a:cubicBezTo>
                    <a:pt x="890" y="225"/>
                    <a:pt x="911" y="243"/>
                    <a:pt x="935" y="243"/>
                  </a:cubicBezTo>
                  <a:cubicBezTo>
                    <a:pt x="956" y="243"/>
                    <a:pt x="966" y="233"/>
                    <a:pt x="974" y="220"/>
                  </a:cubicBezTo>
                  <a:cubicBezTo>
                    <a:pt x="974" y="225"/>
                    <a:pt x="974" y="233"/>
                    <a:pt x="977" y="238"/>
                  </a:cubicBezTo>
                  <a:lnTo>
                    <a:pt x="1011" y="238"/>
                  </a:lnTo>
                  <a:lnTo>
                    <a:pt x="1011" y="236"/>
                  </a:lnTo>
                  <a:cubicBezTo>
                    <a:pt x="1006" y="230"/>
                    <a:pt x="1004" y="220"/>
                    <a:pt x="1004" y="209"/>
                  </a:cubicBezTo>
                  <a:lnTo>
                    <a:pt x="1004" y="138"/>
                  </a:lnTo>
                  <a:close/>
                  <a:moveTo>
                    <a:pt x="969" y="167"/>
                  </a:moveTo>
                  <a:cubicBezTo>
                    <a:pt x="969" y="198"/>
                    <a:pt x="961" y="212"/>
                    <a:pt x="943" y="212"/>
                  </a:cubicBezTo>
                  <a:cubicBezTo>
                    <a:pt x="929" y="212"/>
                    <a:pt x="921" y="201"/>
                    <a:pt x="921" y="188"/>
                  </a:cubicBezTo>
                  <a:cubicBezTo>
                    <a:pt x="921" y="167"/>
                    <a:pt x="935" y="159"/>
                    <a:pt x="966" y="159"/>
                  </a:cubicBezTo>
                  <a:lnTo>
                    <a:pt x="969" y="159"/>
                  </a:lnTo>
                  <a:lnTo>
                    <a:pt x="969" y="167"/>
                  </a:lnTo>
                  <a:close/>
                  <a:moveTo>
                    <a:pt x="871" y="71"/>
                  </a:moveTo>
                  <a:lnTo>
                    <a:pt x="776" y="71"/>
                  </a:lnTo>
                  <a:lnTo>
                    <a:pt x="776" y="103"/>
                  </a:lnTo>
                  <a:lnTo>
                    <a:pt x="834" y="103"/>
                  </a:lnTo>
                  <a:cubicBezTo>
                    <a:pt x="831" y="106"/>
                    <a:pt x="773" y="201"/>
                    <a:pt x="773" y="201"/>
                  </a:cubicBezTo>
                  <a:lnTo>
                    <a:pt x="773" y="238"/>
                  </a:lnTo>
                  <a:lnTo>
                    <a:pt x="874" y="238"/>
                  </a:lnTo>
                  <a:lnTo>
                    <a:pt x="874" y="206"/>
                  </a:lnTo>
                  <a:lnTo>
                    <a:pt x="813" y="206"/>
                  </a:lnTo>
                  <a:cubicBezTo>
                    <a:pt x="813" y="201"/>
                    <a:pt x="871" y="106"/>
                    <a:pt x="871" y="106"/>
                  </a:cubicBezTo>
                  <a:lnTo>
                    <a:pt x="871" y="71"/>
                  </a:lnTo>
                  <a:close/>
                  <a:moveTo>
                    <a:pt x="1414" y="93"/>
                  </a:moveTo>
                  <a:lnTo>
                    <a:pt x="1414" y="82"/>
                  </a:lnTo>
                  <a:lnTo>
                    <a:pt x="1414" y="71"/>
                  </a:lnTo>
                  <a:lnTo>
                    <a:pt x="1380" y="71"/>
                  </a:lnTo>
                  <a:lnTo>
                    <a:pt x="1380" y="74"/>
                  </a:lnTo>
                  <a:lnTo>
                    <a:pt x="1380" y="100"/>
                  </a:lnTo>
                  <a:lnTo>
                    <a:pt x="1380" y="238"/>
                  </a:lnTo>
                  <a:lnTo>
                    <a:pt x="1417" y="238"/>
                  </a:lnTo>
                  <a:lnTo>
                    <a:pt x="1417" y="140"/>
                  </a:lnTo>
                  <a:cubicBezTo>
                    <a:pt x="1417" y="127"/>
                    <a:pt x="1419" y="103"/>
                    <a:pt x="1440" y="103"/>
                  </a:cubicBezTo>
                  <a:cubicBezTo>
                    <a:pt x="1454" y="103"/>
                    <a:pt x="1459" y="114"/>
                    <a:pt x="1459" y="138"/>
                  </a:cubicBezTo>
                  <a:lnTo>
                    <a:pt x="1459" y="238"/>
                  </a:lnTo>
                  <a:lnTo>
                    <a:pt x="1496" y="238"/>
                  </a:lnTo>
                  <a:lnTo>
                    <a:pt x="1496" y="132"/>
                  </a:lnTo>
                  <a:cubicBezTo>
                    <a:pt x="1493" y="90"/>
                    <a:pt x="1478" y="69"/>
                    <a:pt x="1451" y="69"/>
                  </a:cubicBezTo>
                  <a:cubicBezTo>
                    <a:pt x="1430" y="69"/>
                    <a:pt x="1419" y="85"/>
                    <a:pt x="1414" y="9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" name="Freeform 221">
              <a:extLst>
                <a:ext uri="{FF2B5EF4-FFF2-40B4-BE49-F238E27FC236}">
                  <a16:creationId xmlns:a16="http://schemas.microsoft.com/office/drawing/2014/main" id="{F49FEE01-6265-4B42-ABFE-46F000399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564063"/>
              <a:ext cx="781050" cy="85725"/>
            </a:xfrm>
            <a:custGeom>
              <a:avLst/>
              <a:gdLst>
                <a:gd name="T0" fmla="*/ 252428 w 2169"/>
                <a:gd name="T1" fmla="*/ 41958 h 237"/>
                <a:gd name="T2" fmla="*/ 275474 w 2169"/>
                <a:gd name="T3" fmla="*/ 47746 h 237"/>
                <a:gd name="T4" fmla="*/ 276194 w 2169"/>
                <a:gd name="T5" fmla="*/ 76682 h 237"/>
                <a:gd name="T6" fmla="*/ 285917 w 2169"/>
                <a:gd name="T7" fmla="*/ 73789 h 237"/>
                <a:gd name="T8" fmla="*/ 273674 w 2169"/>
                <a:gd name="T9" fmla="*/ 55341 h 237"/>
                <a:gd name="T10" fmla="*/ 135396 w 2169"/>
                <a:gd name="T11" fmla="*/ 34362 h 237"/>
                <a:gd name="T12" fmla="*/ 122793 w 2169"/>
                <a:gd name="T13" fmla="*/ 27852 h 237"/>
                <a:gd name="T14" fmla="*/ 135396 w 2169"/>
                <a:gd name="T15" fmla="*/ 51724 h 237"/>
                <a:gd name="T16" fmla="*/ 162044 w 2169"/>
                <a:gd name="T17" fmla="*/ 85363 h 237"/>
                <a:gd name="T18" fmla="*/ 18725 w 2169"/>
                <a:gd name="T19" fmla="*/ 7596 h 237"/>
                <a:gd name="T20" fmla="*/ 11163 w 2169"/>
                <a:gd name="T21" fmla="*/ 22788 h 237"/>
                <a:gd name="T22" fmla="*/ 52214 w 2169"/>
                <a:gd name="T23" fmla="*/ 84278 h 237"/>
                <a:gd name="T24" fmla="*/ 32409 w 2169"/>
                <a:gd name="T25" fmla="*/ 63299 h 237"/>
                <a:gd name="T26" fmla="*/ 100107 w 2169"/>
                <a:gd name="T27" fmla="*/ 59320 h 237"/>
                <a:gd name="T28" fmla="*/ 73100 w 2169"/>
                <a:gd name="T29" fmla="*/ 26766 h 237"/>
                <a:gd name="T30" fmla="*/ 100827 w 2169"/>
                <a:gd name="T31" fmla="*/ 79576 h 237"/>
                <a:gd name="T32" fmla="*/ 112350 w 2169"/>
                <a:gd name="T33" fmla="*/ 74512 h 237"/>
                <a:gd name="T34" fmla="*/ 238384 w 2169"/>
                <a:gd name="T35" fmla="*/ 2894 h 237"/>
                <a:gd name="T36" fmla="*/ 200934 w 2169"/>
                <a:gd name="T37" fmla="*/ 1085 h 237"/>
                <a:gd name="T38" fmla="*/ 188691 w 2169"/>
                <a:gd name="T39" fmla="*/ 85363 h 237"/>
                <a:gd name="T40" fmla="*/ 212457 w 2169"/>
                <a:gd name="T41" fmla="*/ 83193 h 237"/>
                <a:gd name="T42" fmla="*/ 191572 w 2169"/>
                <a:gd name="T43" fmla="*/ 37256 h 237"/>
                <a:gd name="T44" fmla="*/ 297440 w 2169"/>
                <a:gd name="T45" fmla="*/ 84278 h 237"/>
                <a:gd name="T46" fmla="*/ 297440 w 2169"/>
                <a:gd name="T47" fmla="*/ 84278 h 237"/>
                <a:gd name="T48" fmla="*/ 224700 w 2169"/>
                <a:gd name="T49" fmla="*/ 26766 h 237"/>
                <a:gd name="T50" fmla="*/ 619727 w 2169"/>
                <a:gd name="T51" fmla="*/ 29660 h 237"/>
                <a:gd name="T52" fmla="*/ 643493 w 2169"/>
                <a:gd name="T53" fmla="*/ 45937 h 237"/>
                <a:gd name="T54" fmla="*/ 630890 w 2169"/>
                <a:gd name="T55" fmla="*/ 84278 h 237"/>
                <a:gd name="T56" fmla="*/ 656817 w 2169"/>
                <a:gd name="T57" fmla="*/ 82470 h 237"/>
                <a:gd name="T58" fmla="*/ 626208 w 2169"/>
                <a:gd name="T59" fmla="*/ 66193 h 237"/>
                <a:gd name="T60" fmla="*/ 633050 w 2169"/>
                <a:gd name="T61" fmla="*/ 74512 h 237"/>
                <a:gd name="T62" fmla="*/ 709391 w 2169"/>
                <a:gd name="T63" fmla="*/ 72703 h 237"/>
                <a:gd name="T64" fmla="*/ 690306 w 2169"/>
                <a:gd name="T65" fmla="*/ 63299 h 237"/>
                <a:gd name="T66" fmla="*/ 717673 w 2169"/>
                <a:gd name="T67" fmla="*/ 83193 h 237"/>
                <a:gd name="T68" fmla="*/ 729196 w 2169"/>
                <a:gd name="T69" fmla="*/ 26766 h 237"/>
                <a:gd name="T70" fmla="*/ 665459 w 2169"/>
                <a:gd name="T71" fmla="*/ 1809 h 237"/>
                <a:gd name="T72" fmla="*/ 780690 w 2169"/>
                <a:gd name="T73" fmla="*/ 1085 h 237"/>
                <a:gd name="T74" fmla="*/ 738919 w 2169"/>
                <a:gd name="T75" fmla="*/ 55341 h 237"/>
                <a:gd name="T76" fmla="*/ 780690 w 2169"/>
                <a:gd name="T77" fmla="*/ 83193 h 237"/>
                <a:gd name="T78" fmla="*/ 758724 w 2169"/>
                <a:gd name="T79" fmla="*/ 74512 h 237"/>
                <a:gd name="T80" fmla="*/ 434637 w 2169"/>
                <a:gd name="T81" fmla="*/ 81384 h 237"/>
                <a:gd name="T82" fmla="*/ 409070 w 2169"/>
                <a:gd name="T83" fmla="*/ 60405 h 237"/>
                <a:gd name="T84" fmla="*/ 397547 w 2169"/>
                <a:gd name="T85" fmla="*/ 56427 h 237"/>
                <a:gd name="T86" fmla="*/ 409070 w 2169"/>
                <a:gd name="T87" fmla="*/ 50639 h 237"/>
                <a:gd name="T88" fmla="*/ 471727 w 2169"/>
                <a:gd name="T89" fmla="*/ 0 h 237"/>
                <a:gd name="T90" fmla="*/ 375581 w 2169"/>
                <a:gd name="T91" fmla="*/ 33639 h 237"/>
                <a:gd name="T92" fmla="*/ 375581 w 2169"/>
                <a:gd name="T93" fmla="*/ 76682 h 237"/>
                <a:gd name="T94" fmla="*/ 387824 w 2169"/>
                <a:gd name="T95" fmla="*/ 73789 h 237"/>
                <a:gd name="T96" fmla="*/ 374501 w 2169"/>
                <a:gd name="T97" fmla="*/ 55341 h 237"/>
                <a:gd name="T98" fmla="*/ 582277 w 2169"/>
                <a:gd name="T99" fmla="*/ 26766 h 237"/>
                <a:gd name="T100" fmla="*/ 604242 w 2169"/>
                <a:gd name="T101" fmla="*/ 9404 h 237"/>
                <a:gd name="T102" fmla="*/ 579396 w 2169"/>
                <a:gd name="T103" fmla="*/ 47746 h 237"/>
                <a:gd name="T104" fmla="*/ 571114 w 2169"/>
                <a:gd name="T105" fmla="*/ 69086 h 237"/>
                <a:gd name="T106" fmla="*/ 607123 w 2169"/>
                <a:gd name="T107" fmla="*/ 62214 h 237"/>
                <a:gd name="T108" fmla="*/ 514578 w 2169"/>
                <a:gd name="T109" fmla="*/ 25681 h 237"/>
                <a:gd name="T110" fmla="*/ 514578 w 2169"/>
                <a:gd name="T111" fmla="*/ 35447 h 237"/>
                <a:gd name="T112" fmla="*/ 495493 w 2169"/>
                <a:gd name="T113" fmla="*/ 66916 h 237"/>
                <a:gd name="T114" fmla="*/ 536544 w 2169"/>
                <a:gd name="T115" fmla="*/ 83193 h 237"/>
                <a:gd name="T116" fmla="*/ 511698 w 2169"/>
                <a:gd name="T117" fmla="*/ 74512 h 237"/>
                <a:gd name="T118" fmla="*/ 521420 w 2169"/>
                <a:gd name="T119" fmla="*/ 59320 h 2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169" h="237">
                  <a:moveTo>
                    <a:pt x="794" y="135"/>
                  </a:moveTo>
                  <a:cubicBezTo>
                    <a:pt x="794" y="98"/>
                    <a:pt x="786" y="71"/>
                    <a:pt x="741" y="71"/>
                  </a:cubicBezTo>
                  <a:cubicBezTo>
                    <a:pt x="720" y="71"/>
                    <a:pt x="707" y="79"/>
                    <a:pt x="699" y="82"/>
                  </a:cubicBezTo>
                  <a:lnTo>
                    <a:pt x="701" y="116"/>
                  </a:lnTo>
                  <a:lnTo>
                    <a:pt x="704" y="114"/>
                  </a:lnTo>
                  <a:cubicBezTo>
                    <a:pt x="709" y="108"/>
                    <a:pt x="722" y="98"/>
                    <a:pt x="741" y="98"/>
                  </a:cubicBezTo>
                  <a:cubicBezTo>
                    <a:pt x="762" y="98"/>
                    <a:pt x="765" y="116"/>
                    <a:pt x="765" y="127"/>
                  </a:cubicBezTo>
                  <a:lnTo>
                    <a:pt x="765" y="132"/>
                  </a:lnTo>
                  <a:lnTo>
                    <a:pt x="760" y="132"/>
                  </a:lnTo>
                  <a:cubicBezTo>
                    <a:pt x="725" y="132"/>
                    <a:pt x="688" y="138"/>
                    <a:pt x="688" y="185"/>
                  </a:cubicBezTo>
                  <a:cubicBezTo>
                    <a:pt x="688" y="217"/>
                    <a:pt x="709" y="233"/>
                    <a:pt x="730" y="233"/>
                  </a:cubicBezTo>
                  <a:cubicBezTo>
                    <a:pt x="749" y="233"/>
                    <a:pt x="760" y="222"/>
                    <a:pt x="767" y="212"/>
                  </a:cubicBezTo>
                  <a:cubicBezTo>
                    <a:pt x="767" y="217"/>
                    <a:pt x="767" y="225"/>
                    <a:pt x="770" y="230"/>
                  </a:cubicBezTo>
                  <a:lnTo>
                    <a:pt x="802" y="230"/>
                  </a:lnTo>
                  <a:lnTo>
                    <a:pt x="802" y="228"/>
                  </a:lnTo>
                  <a:cubicBezTo>
                    <a:pt x="797" y="225"/>
                    <a:pt x="794" y="217"/>
                    <a:pt x="794" y="204"/>
                  </a:cubicBezTo>
                  <a:lnTo>
                    <a:pt x="794" y="135"/>
                  </a:lnTo>
                  <a:close/>
                  <a:moveTo>
                    <a:pt x="736" y="206"/>
                  </a:moveTo>
                  <a:cubicBezTo>
                    <a:pt x="725" y="206"/>
                    <a:pt x="717" y="199"/>
                    <a:pt x="717" y="183"/>
                  </a:cubicBezTo>
                  <a:cubicBezTo>
                    <a:pt x="717" y="161"/>
                    <a:pt x="730" y="153"/>
                    <a:pt x="760" y="153"/>
                  </a:cubicBezTo>
                  <a:lnTo>
                    <a:pt x="762" y="153"/>
                  </a:lnTo>
                  <a:lnTo>
                    <a:pt x="762" y="164"/>
                  </a:lnTo>
                  <a:cubicBezTo>
                    <a:pt x="762" y="193"/>
                    <a:pt x="754" y="206"/>
                    <a:pt x="736" y="206"/>
                  </a:cubicBezTo>
                  <a:close/>
                  <a:moveTo>
                    <a:pt x="376" y="95"/>
                  </a:moveTo>
                  <a:lnTo>
                    <a:pt x="376" y="85"/>
                  </a:lnTo>
                  <a:lnTo>
                    <a:pt x="376" y="74"/>
                  </a:lnTo>
                  <a:lnTo>
                    <a:pt x="341" y="74"/>
                  </a:lnTo>
                  <a:lnTo>
                    <a:pt x="341" y="77"/>
                  </a:lnTo>
                  <a:lnTo>
                    <a:pt x="341" y="103"/>
                  </a:lnTo>
                  <a:lnTo>
                    <a:pt x="341" y="236"/>
                  </a:lnTo>
                  <a:lnTo>
                    <a:pt x="376" y="236"/>
                  </a:lnTo>
                  <a:lnTo>
                    <a:pt x="376" y="143"/>
                  </a:lnTo>
                  <a:cubicBezTo>
                    <a:pt x="376" y="130"/>
                    <a:pt x="378" y="108"/>
                    <a:pt x="397" y="108"/>
                  </a:cubicBezTo>
                  <a:cubicBezTo>
                    <a:pt x="410" y="108"/>
                    <a:pt x="415" y="116"/>
                    <a:pt x="415" y="140"/>
                  </a:cubicBezTo>
                  <a:lnTo>
                    <a:pt x="415" y="236"/>
                  </a:lnTo>
                  <a:lnTo>
                    <a:pt x="450" y="236"/>
                  </a:lnTo>
                  <a:lnTo>
                    <a:pt x="450" y="135"/>
                  </a:lnTo>
                  <a:cubicBezTo>
                    <a:pt x="450" y="93"/>
                    <a:pt x="436" y="71"/>
                    <a:pt x="410" y="71"/>
                  </a:cubicBezTo>
                  <a:cubicBezTo>
                    <a:pt x="389" y="71"/>
                    <a:pt x="378" y="87"/>
                    <a:pt x="376" y="95"/>
                  </a:cubicBezTo>
                  <a:close/>
                  <a:moveTo>
                    <a:pt x="52" y="21"/>
                  </a:moveTo>
                  <a:lnTo>
                    <a:pt x="0" y="21"/>
                  </a:lnTo>
                  <a:lnTo>
                    <a:pt x="0" y="236"/>
                  </a:lnTo>
                  <a:lnTo>
                    <a:pt x="31" y="236"/>
                  </a:lnTo>
                  <a:lnTo>
                    <a:pt x="31" y="63"/>
                  </a:lnTo>
                  <a:cubicBezTo>
                    <a:pt x="34" y="79"/>
                    <a:pt x="74" y="233"/>
                    <a:pt x="74" y="233"/>
                  </a:cubicBezTo>
                  <a:lnTo>
                    <a:pt x="100" y="233"/>
                  </a:lnTo>
                  <a:cubicBezTo>
                    <a:pt x="100" y="233"/>
                    <a:pt x="140" y="77"/>
                    <a:pt x="145" y="63"/>
                  </a:cubicBezTo>
                  <a:lnTo>
                    <a:pt x="145" y="233"/>
                  </a:lnTo>
                  <a:lnTo>
                    <a:pt x="177" y="233"/>
                  </a:lnTo>
                  <a:lnTo>
                    <a:pt x="177" y="18"/>
                  </a:lnTo>
                  <a:lnTo>
                    <a:pt x="127" y="18"/>
                  </a:lnTo>
                  <a:cubicBezTo>
                    <a:pt x="127" y="18"/>
                    <a:pt x="90" y="167"/>
                    <a:pt x="90" y="175"/>
                  </a:cubicBezTo>
                  <a:cubicBezTo>
                    <a:pt x="87" y="167"/>
                    <a:pt x="52" y="21"/>
                    <a:pt x="52" y="21"/>
                  </a:cubicBezTo>
                  <a:close/>
                  <a:moveTo>
                    <a:pt x="312" y="74"/>
                  </a:moveTo>
                  <a:lnTo>
                    <a:pt x="278" y="74"/>
                  </a:lnTo>
                  <a:lnTo>
                    <a:pt x="278" y="164"/>
                  </a:lnTo>
                  <a:cubicBezTo>
                    <a:pt x="278" y="180"/>
                    <a:pt x="275" y="201"/>
                    <a:pt x="256" y="201"/>
                  </a:cubicBezTo>
                  <a:cubicBezTo>
                    <a:pt x="243" y="201"/>
                    <a:pt x="238" y="191"/>
                    <a:pt x="238" y="169"/>
                  </a:cubicBezTo>
                  <a:lnTo>
                    <a:pt x="238" y="74"/>
                  </a:lnTo>
                  <a:lnTo>
                    <a:pt x="203" y="74"/>
                  </a:lnTo>
                  <a:lnTo>
                    <a:pt x="203" y="175"/>
                  </a:lnTo>
                  <a:cubicBezTo>
                    <a:pt x="203" y="214"/>
                    <a:pt x="217" y="233"/>
                    <a:pt x="246" y="233"/>
                  </a:cubicBezTo>
                  <a:cubicBezTo>
                    <a:pt x="267" y="233"/>
                    <a:pt x="275" y="220"/>
                    <a:pt x="280" y="209"/>
                  </a:cubicBezTo>
                  <a:lnTo>
                    <a:pt x="280" y="220"/>
                  </a:lnTo>
                  <a:lnTo>
                    <a:pt x="280" y="230"/>
                  </a:lnTo>
                  <a:lnTo>
                    <a:pt x="312" y="230"/>
                  </a:lnTo>
                  <a:lnTo>
                    <a:pt x="312" y="228"/>
                  </a:lnTo>
                  <a:cubicBezTo>
                    <a:pt x="315" y="225"/>
                    <a:pt x="312" y="217"/>
                    <a:pt x="312" y="206"/>
                  </a:cubicBezTo>
                  <a:lnTo>
                    <a:pt x="312" y="74"/>
                  </a:lnTo>
                  <a:close/>
                  <a:moveTo>
                    <a:pt x="624" y="48"/>
                  </a:moveTo>
                  <a:lnTo>
                    <a:pt x="662" y="48"/>
                  </a:lnTo>
                  <a:lnTo>
                    <a:pt x="662" y="8"/>
                  </a:lnTo>
                  <a:lnTo>
                    <a:pt x="624" y="8"/>
                  </a:lnTo>
                  <a:lnTo>
                    <a:pt x="624" y="48"/>
                  </a:lnTo>
                  <a:close/>
                  <a:moveTo>
                    <a:pt x="593" y="3"/>
                  </a:moveTo>
                  <a:lnTo>
                    <a:pt x="558" y="3"/>
                  </a:lnTo>
                  <a:lnTo>
                    <a:pt x="558" y="93"/>
                  </a:lnTo>
                  <a:cubicBezTo>
                    <a:pt x="553" y="85"/>
                    <a:pt x="545" y="71"/>
                    <a:pt x="524" y="71"/>
                  </a:cubicBezTo>
                  <a:cubicBezTo>
                    <a:pt x="495" y="71"/>
                    <a:pt x="476" y="103"/>
                    <a:pt x="476" y="153"/>
                  </a:cubicBezTo>
                  <a:cubicBezTo>
                    <a:pt x="476" y="204"/>
                    <a:pt x="495" y="236"/>
                    <a:pt x="524" y="236"/>
                  </a:cubicBezTo>
                  <a:cubicBezTo>
                    <a:pt x="540" y="236"/>
                    <a:pt x="553" y="228"/>
                    <a:pt x="558" y="212"/>
                  </a:cubicBezTo>
                  <a:lnTo>
                    <a:pt x="558" y="233"/>
                  </a:lnTo>
                  <a:lnTo>
                    <a:pt x="590" y="233"/>
                  </a:lnTo>
                  <a:lnTo>
                    <a:pt x="590" y="230"/>
                  </a:lnTo>
                  <a:cubicBezTo>
                    <a:pt x="593" y="228"/>
                    <a:pt x="593" y="217"/>
                    <a:pt x="593" y="204"/>
                  </a:cubicBezTo>
                  <a:lnTo>
                    <a:pt x="593" y="3"/>
                  </a:lnTo>
                  <a:close/>
                  <a:moveTo>
                    <a:pt x="508" y="153"/>
                  </a:moveTo>
                  <a:cubicBezTo>
                    <a:pt x="508" y="119"/>
                    <a:pt x="516" y="103"/>
                    <a:pt x="532" y="103"/>
                  </a:cubicBezTo>
                  <a:cubicBezTo>
                    <a:pt x="553" y="103"/>
                    <a:pt x="556" y="135"/>
                    <a:pt x="556" y="153"/>
                  </a:cubicBezTo>
                  <a:cubicBezTo>
                    <a:pt x="558" y="177"/>
                    <a:pt x="553" y="206"/>
                    <a:pt x="532" y="206"/>
                  </a:cubicBezTo>
                  <a:cubicBezTo>
                    <a:pt x="516" y="206"/>
                    <a:pt x="508" y="193"/>
                    <a:pt x="508" y="153"/>
                  </a:cubicBezTo>
                  <a:close/>
                  <a:moveTo>
                    <a:pt x="826" y="233"/>
                  </a:moveTo>
                  <a:lnTo>
                    <a:pt x="860" y="233"/>
                  </a:lnTo>
                  <a:lnTo>
                    <a:pt x="860" y="5"/>
                  </a:lnTo>
                  <a:lnTo>
                    <a:pt x="826" y="5"/>
                  </a:lnTo>
                  <a:lnTo>
                    <a:pt x="826" y="233"/>
                  </a:lnTo>
                  <a:close/>
                  <a:moveTo>
                    <a:pt x="624" y="233"/>
                  </a:moveTo>
                  <a:lnTo>
                    <a:pt x="659" y="233"/>
                  </a:lnTo>
                  <a:lnTo>
                    <a:pt x="659" y="74"/>
                  </a:lnTo>
                  <a:lnTo>
                    <a:pt x="624" y="74"/>
                  </a:lnTo>
                  <a:lnTo>
                    <a:pt x="624" y="233"/>
                  </a:lnTo>
                  <a:close/>
                  <a:moveTo>
                    <a:pt x="1816" y="135"/>
                  </a:moveTo>
                  <a:cubicBezTo>
                    <a:pt x="1816" y="98"/>
                    <a:pt x="1808" y="71"/>
                    <a:pt x="1763" y="71"/>
                  </a:cubicBezTo>
                  <a:cubicBezTo>
                    <a:pt x="1742" y="71"/>
                    <a:pt x="1729" y="79"/>
                    <a:pt x="1721" y="82"/>
                  </a:cubicBezTo>
                  <a:lnTo>
                    <a:pt x="1723" y="116"/>
                  </a:lnTo>
                  <a:lnTo>
                    <a:pt x="1726" y="114"/>
                  </a:lnTo>
                  <a:cubicBezTo>
                    <a:pt x="1731" y="108"/>
                    <a:pt x="1745" y="98"/>
                    <a:pt x="1763" y="98"/>
                  </a:cubicBezTo>
                  <a:cubicBezTo>
                    <a:pt x="1784" y="98"/>
                    <a:pt x="1787" y="116"/>
                    <a:pt x="1787" y="127"/>
                  </a:cubicBezTo>
                  <a:lnTo>
                    <a:pt x="1787" y="132"/>
                  </a:lnTo>
                  <a:lnTo>
                    <a:pt x="1782" y="132"/>
                  </a:lnTo>
                  <a:cubicBezTo>
                    <a:pt x="1747" y="132"/>
                    <a:pt x="1710" y="138"/>
                    <a:pt x="1710" y="185"/>
                  </a:cubicBezTo>
                  <a:cubicBezTo>
                    <a:pt x="1710" y="217"/>
                    <a:pt x="1731" y="233"/>
                    <a:pt x="1752" y="233"/>
                  </a:cubicBezTo>
                  <a:cubicBezTo>
                    <a:pt x="1771" y="233"/>
                    <a:pt x="1782" y="222"/>
                    <a:pt x="1790" y="212"/>
                  </a:cubicBezTo>
                  <a:cubicBezTo>
                    <a:pt x="1790" y="217"/>
                    <a:pt x="1790" y="225"/>
                    <a:pt x="1792" y="230"/>
                  </a:cubicBezTo>
                  <a:lnTo>
                    <a:pt x="1824" y="230"/>
                  </a:lnTo>
                  <a:lnTo>
                    <a:pt x="1824" y="228"/>
                  </a:lnTo>
                  <a:cubicBezTo>
                    <a:pt x="1816" y="225"/>
                    <a:pt x="1816" y="214"/>
                    <a:pt x="1816" y="204"/>
                  </a:cubicBezTo>
                  <a:lnTo>
                    <a:pt x="1816" y="135"/>
                  </a:lnTo>
                  <a:close/>
                  <a:moveTo>
                    <a:pt x="1758" y="206"/>
                  </a:moveTo>
                  <a:cubicBezTo>
                    <a:pt x="1747" y="206"/>
                    <a:pt x="1739" y="199"/>
                    <a:pt x="1739" y="183"/>
                  </a:cubicBezTo>
                  <a:cubicBezTo>
                    <a:pt x="1739" y="161"/>
                    <a:pt x="1752" y="153"/>
                    <a:pt x="1782" y="153"/>
                  </a:cubicBezTo>
                  <a:lnTo>
                    <a:pt x="1784" y="153"/>
                  </a:lnTo>
                  <a:lnTo>
                    <a:pt x="1784" y="164"/>
                  </a:lnTo>
                  <a:cubicBezTo>
                    <a:pt x="1784" y="193"/>
                    <a:pt x="1776" y="206"/>
                    <a:pt x="1758" y="206"/>
                  </a:cubicBezTo>
                  <a:close/>
                  <a:moveTo>
                    <a:pt x="2025" y="74"/>
                  </a:moveTo>
                  <a:lnTo>
                    <a:pt x="1991" y="74"/>
                  </a:lnTo>
                  <a:lnTo>
                    <a:pt x="1991" y="164"/>
                  </a:lnTo>
                  <a:cubicBezTo>
                    <a:pt x="1991" y="180"/>
                    <a:pt x="1988" y="201"/>
                    <a:pt x="1970" y="201"/>
                  </a:cubicBezTo>
                  <a:cubicBezTo>
                    <a:pt x="1956" y="201"/>
                    <a:pt x="1951" y="191"/>
                    <a:pt x="1951" y="169"/>
                  </a:cubicBezTo>
                  <a:lnTo>
                    <a:pt x="1951" y="74"/>
                  </a:lnTo>
                  <a:lnTo>
                    <a:pt x="1917" y="74"/>
                  </a:lnTo>
                  <a:lnTo>
                    <a:pt x="1917" y="175"/>
                  </a:lnTo>
                  <a:cubicBezTo>
                    <a:pt x="1917" y="214"/>
                    <a:pt x="1930" y="233"/>
                    <a:pt x="1959" y="233"/>
                  </a:cubicBezTo>
                  <a:cubicBezTo>
                    <a:pt x="1980" y="233"/>
                    <a:pt x="1988" y="220"/>
                    <a:pt x="1993" y="209"/>
                  </a:cubicBezTo>
                  <a:lnTo>
                    <a:pt x="1993" y="220"/>
                  </a:lnTo>
                  <a:lnTo>
                    <a:pt x="1993" y="230"/>
                  </a:lnTo>
                  <a:lnTo>
                    <a:pt x="2025" y="230"/>
                  </a:lnTo>
                  <a:lnTo>
                    <a:pt x="2025" y="228"/>
                  </a:lnTo>
                  <a:lnTo>
                    <a:pt x="2025" y="206"/>
                  </a:lnTo>
                  <a:lnTo>
                    <a:pt x="2025" y="74"/>
                  </a:lnTo>
                  <a:close/>
                  <a:moveTo>
                    <a:pt x="1848" y="233"/>
                  </a:moveTo>
                  <a:lnTo>
                    <a:pt x="1882" y="233"/>
                  </a:lnTo>
                  <a:lnTo>
                    <a:pt x="1882" y="5"/>
                  </a:lnTo>
                  <a:lnTo>
                    <a:pt x="1848" y="5"/>
                  </a:lnTo>
                  <a:lnTo>
                    <a:pt x="1848" y="233"/>
                  </a:lnTo>
                  <a:close/>
                  <a:moveTo>
                    <a:pt x="2168" y="230"/>
                  </a:moveTo>
                  <a:lnTo>
                    <a:pt x="2168" y="204"/>
                  </a:lnTo>
                  <a:lnTo>
                    <a:pt x="2168" y="3"/>
                  </a:lnTo>
                  <a:lnTo>
                    <a:pt x="2134" y="3"/>
                  </a:lnTo>
                  <a:lnTo>
                    <a:pt x="2134" y="93"/>
                  </a:lnTo>
                  <a:cubicBezTo>
                    <a:pt x="2128" y="85"/>
                    <a:pt x="2121" y="71"/>
                    <a:pt x="2099" y="71"/>
                  </a:cubicBezTo>
                  <a:cubicBezTo>
                    <a:pt x="2070" y="71"/>
                    <a:pt x="2052" y="103"/>
                    <a:pt x="2052" y="153"/>
                  </a:cubicBezTo>
                  <a:cubicBezTo>
                    <a:pt x="2052" y="204"/>
                    <a:pt x="2070" y="236"/>
                    <a:pt x="2099" y="236"/>
                  </a:cubicBezTo>
                  <a:cubicBezTo>
                    <a:pt x="2115" y="236"/>
                    <a:pt x="2128" y="228"/>
                    <a:pt x="2134" y="212"/>
                  </a:cubicBezTo>
                  <a:lnTo>
                    <a:pt x="2134" y="233"/>
                  </a:lnTo>
                  <a:lnTo>
                    <a:pt x="2168" y="230"/>
                  </a:lnTo>
                  <a:close/>
                  <a:moveTo>
                    <a:pt x="2083" y="153"/>
                  </a:moveTo>
                  <a:cubicBezTo>
                    <a:pt x="2083" y="119"/>
                    <a:pt x="2091" y="103"/>
                    <a:pt x="2107" y="103"/>
                  </a:cubicBezTo>
                  <a:cubicBezTo>
                    <a:pt x="2128" y="103"/>
                    <a:pt x="2131" y="135"/>
                    <a:pt x="2131" y="153"/>
                  </a:cubicBezTo>
                  <a:cubicBezTo>
                    <a:pt x="2131" y="177"/>
                    <a:pt x="2126" y="206"/>
                    <a:pt x="2107" y="206"/>
                  </a:cubicBezTo>
                  <a:cubicBezTo>
                    <a:pt x="2091" y="206"/>
                    <a:pt x="2083" y="193"/>
                    <a:pt x="2083" y="153"/>
                  </a:cubicBezTo>
                  <a:close/>
                  <a:moveTo>
                    <a:pt x="1104" y="156"/>
                  </a:moveTo>
                  <a:cubicBezTo>
                    <a:pt x="1104" y="193"/>
                    <a:pt x="1120" y="236"/>
                    <a:pt x="1167" y="236"/>
                  </a:cubicBezTo>
                  <a:cubicBezTo>
                    <a:pt x="1188" y="236"/>
                    <a:pt x="1202" y="228"/>
                    <a:pt x="1207" y="225"/>
                  </a:cubicBezTo>
                  <a:lnTo>
                    <a:pt x="1204" y="193"/>
                  </a:lnTo>
                  <a:lnTo>
                    <a:pt x="1202" y="196"/>
                  </a:lnTo>
                  <a:cubicBezTo>
                    <a:pt x="1194" y="201"/>
                    <a:pt x="1186" y="206"/>
                    <a:pt x="1167" y="206"/>
                  </a:cubicBezTo>
                  <a:cubicBezTo>
                    <a:pt x="1146" y="206"/>
                    <a:pt x="1136" y="193"/>
                    <a:pt x="1136" y="167"/>
                  </a:cubicBezTo>
                  <a:lnTo>
                    <a:pt x="1212" y="167"/>
                  </a:lnTo>
                  <a:lnTo>
                    <a:pt x="1212" y="159"/>
                  </a:lnTo>
                  <a:cubicBezTo>
                    <a:pt x="1215" y="87"/>
                    <a:pt x="1183" y="71"/>
                    <a:pt x="1159" y="71"/>
                  </a:cubicBezTo>
                  <a:cubicBezTo>
                    <a:pt x="1125" y="71"/>
                    <a:pt x="1104" y="106"/>
                    <a:pt x="1104" y="156"/>
                  </a:cubicBezTo>
                  <a:close/>
                  <a:moveTo>
                    <a:pt x="1136" y="140"/>
                  </a:moveTo>
                  <a:cubicBezTo>
                    <a:pt x="1136" y="122"/>
                    <a:pt x="1141" y="101"/>
                    <a:pt x="1159" y="101"/>
                  </a:cubicBezTo>
                  <a:cubicBezTo>
                    <a:pt x="1175" y="101"/>
                    <a:pt x="1181" y="122"/>
                    <a:pt x="1181" y="140"/>
                  </a:cubicBezTo>
                  <a:lnTo>
                    <a:pt x="1136" y="140"/>
                  </a:lnTo>
                  <a:close/>
                  <a:moveTo>
                    <a:pt x="1310" y="233"/>
                  </a:moveTo>
                  <a:lnTo>
                    <a:pt x="1345" y="233"/>
                  </a:lnTo>
                  <a:lnTo>
                    <a:pt x="1345" y="0"/>
                  </a:lnTo>
                  <a:lnTo>
                    <a:pt x="1310" y="0"/>
                  </a:lnTo>
                  <a:lnTo>
                    <a:pt x="1310" y="233"/>
                  </a:lnTo>
                  <a:close/>
                  <a:moveTo>
                    <a:pt x="1077" y="3"/>
                  </a:moveTo>
                  <a:lnTo>
                    <a:pt x="1043" y="3"/>
                  </a:lnTo>
                  <a:lnTo>
                    <a:pt x="1043" y="93"/>
                  </a:lnTo>
                  <a:cubicBezTo>
                    <a:pt x="1038" y="85"/>
                    <a:pt x="1030" y="71"/>
                    <a:pt x="1008" y="71"/>
                  </a:cubicBezTo>
                  <a:cubicBezTo>
                    <a:pt x="979" y="71"/>
                    <a:pt x="961" y="103"/>
                    <a:pt x="961" y="153"/>
                  </a:cubicBezTo>
                  <a:cubicBezTo>
                    <a:pt x="961" y="204"/>
                    <a:pt x="979" y="236"/>
                    <a:pt x="1008" y="236"/>
                  </a:cubicBezTo>
                  <a:cubicBezTo>
                    <a:pt x="1024" y="236"/>
                    <a:pt x="1038" y="228"/>
                    <a:pt x="1043" y="212"/>
                  </a:cubicBezTo>
                  <a:lnTo>
                    <a:pt x="1043" y="233"/>
                  </a:lnTo>
                  <a:lnTo>
                    <a:pt x="1075" y="233"/>
                  </a:lnTo>
                  <a:lnTo>
                    <a:pt x="1075" y="230"/>
                  </a:lnTo>
                  <a:cubicBezTo>
                    <a:pt x="1077" y="228"/>
                    <a:pt x="1077" y="217"/>
                    <a:pt x="1077" y="204"/>
                  </a:cubicBezTo>
                  <a:lnTo>
                    <a:pt x="1077" y="3"/>
                  </a:lnTo>
                  <a:close/>
                  <a:moveTo>
                    <a:pt x="993" y="153"/>
                  </a:moveTo>
                  <a:cubicBezTo>
                    <a:pt x="993" y="119"/>
                    <a:pt x="1000" y="103"/>
                    <a:pt x="1016" y="103"/>
                  </a:cubicBezTo>
                  <a:cubicBezTo>
                    <a:pt x="1038" y="103"/>
                    <a:pt x="1040" y="135"/>
                    <a:pt x="1040" y="153"/>
                  </a:cubicBezTo>
                  <a:cubicBezTo>
                    <a:pt x="1043" y="177"/>
                    <a:pt x="1038" y="206"/>
                    <a:pt x="1016" y="206"/>
                  </a:cubicBezTo>
                  <a:cubicBezTo>
                    <a:pt x="1000" y="206"/>
                    <a:pt x="993" y="193"/>
                    <a:pt x="993" y="153"/>
                  </a:cubicBezTo>
                  <a:close/>
                  <a:moveTo>
                    <a:pt x="1636" y="101"/>
                  </a:moveTo>
                  <a:cubicBezTo>
                    <a:pt x="1625" y="95"/>
                    <a:pt x="1617" y="87"/>
                    <a:pt x="1617" y="74"/>
                  </a:cubicBezTo>
                  <a:cubicBezTo>
                    <a:pt x="1617" y="58"/>
                    <a:pt x="1625" y="50"/>
                    <a:pt x="1641" y="50"/>
                  </a:cubicBezTo>
                  <a:cubicBezTo>
                    <a:pt x="1655" y="50"/>
                    <a:pt x="1665" y="56"/>
                    <a:pt x="1673" y="58"/>
                  </a:cubicBezTo>
                  <a:lnTo>
                    <a:pt x="1676" y="61"/>
                  </a:lnTo>
                  <a:lnTo>
                    <a:pt x="1678" y="26"/>
                  </a:lnTo>
                  <a:lnTo>
                    <a:pt x="1676" y="26"/>
                  </a:lnTo>
                  <a:cubicBezTo>
                    <a:pt x="1670" y="24"/>
                    <a:pt x="1657" y="18"/>
                    <a:pt x="1639" y="18"/>
                  </a:cubicBezTo>
                  <a:cubicBezTo>
                    <a:pt x="1609" y="18"/>
                    <a:pt x="1580" y="37"/>
                    <a:pt x="1580" y="77"/>
                  </a:cubicBezTo>
                  <a:cubicBezTo>
                    <a:pt x="1580" y="103"/>
                    <a:pt x="1591" y="119"/>
                    <a:pt x="1609" y="132"/>
                  </a:cubicBezTo>
                  <a:lnTo>
                    <a:pt x="1625" y="143"/>
                  </a:lnTo>
                  <a:cubicBezTo>
                    <a:pt x="1641" y="153"/>
                    <a:pt x="1649" y="159"/>
                    <a:pt x="1649" y="175"/>
                  </a:cubicBezTo>
                  <a:cubicBezTo>
                    <a:pt x="1649" y="196"/>
                    <a:pt x="1636" y="204"/>
                    <a:pt x="1623" y="204"/>
                  </a:cubicBezTo>
                  <a:cubicBezTo>
                    <a:pt x="1604" y="204"/>
                    <a:pt x="1588" y="193"/>
                    <a:pt x="1586" y="191"/>
                  </a:cubicBezTo>
                  <a:lnTo>
                    <a:pt x="1583" y="188"/>
                  </a:lnTo>
                  <a:lnTo>
                    <a:pt x="1580" y="225"/>
                  </a:lnTo>
                  <a:cubicBezTo>
                    <a:pt x="1588" y="230"/>
                    <a:pt x="1604" y="236"/>
                    <a:pt x="1623" y="236"/>
                  </a:cubicBezTo>
                  <a:cubicBezTo>
                    <a:pt x="1662" y="236"/>
                    <a:pt x="1686" y="212"/>
                    <a:pt x="1686" y="172"/>
                  </a:cubicBezTo>
                  <a:cubicBezTo>
                    <a:pt x="1686" y="140"/>
                    <a:pt x="1676" y="127"/>
                    <a:pt x="1655" y="114"/>
                  </a:cubicBezTo>
                  <a:lnTo>
                    <a:pt x="1636" y="101"/>
                  </a:lnTo>
                  <a:close/>
                  <a:moveTo>
                    <a:pt x="1482" y="135"/>
                  </a:moveTo>
                  <a:cubicBezTo>
                    <a:pt x="1482" y="98"/>
                    <a:pt x="1474" y="71"/>
                    <a:pt x="1429" y="71"/>
                  </a:cubicBezTo>
                  <a:cubicBezTo>
                    <a:pt x="1408" y="71"/>
                    <a:pt x="1395" y="79"/>
                    <a:pt x="1387" y="82"/>
                  </a:cubicBezTo>
                  <a:lnTo>
                    <a:pt x="1390" y="116"/>
                  </a:lnTo>
                  <a:lnTo>
                    <a:pt x="1392" y="114"/>
                  </a:lnTo>
                  <a:cubicBezTo>
                    <a:pt x="1398" y="108"/>
                    <a:pt x="1411" y="98"/>
                    <a:pt x="1429" y="98"/>
                  </a:cubicBezTo>
                  <a:cubicBezTo>
                    <a:pt x="1451" y="98"/>
                    <a:pt x="1453" y="116"/>
                    <a:pt x="1453" y="127"/>
                  </a:cubicBezTo>
                  <a:lnTo>
                    <a:pt x="1453" y="132"/>
                  </a:lnTo>
                  <a:lnTo>
                    <a:pt x="1448" y="132"/>
                  </a:lnTo>
                  <a:cubicBezTo>
                    <a:pt x="1414" y="132"/>
                    <a:pt x="1376" y="138"/>
                    <a:pt x="1376" y="185"/>
                  </a:cubicBezTo>
                  <a:cubicBezTo>
                    <a:pt x="1376" y="217"/>
                    <a:pt x="1398" y="233"/>
                    <a:pt x="1419" y="233"/>
                  </a:cubicBezTo>
                  <a:cubicBezTo>
                    <a:pt x="1437" y="233"/>
                    <a:pt x="1448" y="222"/>
                    <a:pt x="1456" y="212"/>
                  </a:cubicBezTo>
                  <a:cubicBezTo>
                    <a:pt x="1456" y="217"/>
                    <a:pt x="1456" y="225"/>
                    <a:pt x="1459" y="230"/>
                  </a:cubicBezTo>
                  <a:lnTo>
                    <a:pt x="1490" y="230"/>
                  </a:lnTo>
                  <a:lnTo>
                    <a:pt x="1490" y="228"/>
                  </a:lnTo>
                  <a:cubicBezTo>
                    <a:pt x="1482" y="225"/>
                    <a:pt x="1482" y="217"/>
                    <a:pt x="1482" y="204"/>
                  </a:cubicBezTo>
                  <a:lnTo>
                    <a:pt x="1482" y="135"/>
                  </a:lnTo>
                  <a:close/>
                  <a:moveTo>
                    <a:pt x="1421" y="206"/>
                  </a:moveTo>
                  <a:cubicBezTo>
                    <a:pt x="1411" y="206"/>
                    <a:pt x="1403" y="199"/>
                    <a:pt x="1403" y="183"/>
                  </a:cubicBezTo>
                  <a:cubicBezTo>
                    <a:pt x="1403" y="161"/>
                    <a:pt x="1416" y="153"/>
                    <a:pt x="1445" y="153"/>
                  </a:cubicBezTo>
                  <a:lnTo>
                    <a:pt x="1448" y="153"/>
                  </a:lnTo>
                  <a:lnTo>
                    <a:pt x="1448" y="164"/>
                  </a:lnTo>
                  <a:cubicBezTo>
                    <a:pt x="1448" y="193"/>
                    <a:pt x="1440" y="206"/>
                    <a:pt x="1421" y="20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1" name="Freeform 222">
              <a:extLst>
                <a:ext uri="{FF2B5EF4-FFF2-40B4-BE49-F238E27FC236}">
                  <a16:creationId xmlns:a16="http://schemas.microsoft.com/office/drawing/2014/main" id="{FAEE200F-BC1E-7A4E-AF95-E20296DB51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938" y="4752975"/>
              <a:ext cx="19050" cy="33338"/>
            </a:xfrm>
            <a:custGeom>
              <a:avLst/>
              <a:gdLst>
                <a:gd name="T0" fmla="*/ 18697 w 54"/>
                <a:gd name="T1" fmla="*/ 16486 h 91"/>
                <a:gd name="T2" fmla="*/ 9172 w 54"/>
                <a:gd name="T3" fmla="*/ 32972 h 91"/>
                <a:gd name="T4" fmla="*/ 0 w 54"/>
                <a:gd name="T5" fmla="*/ 16486 h 91"/>
                <a:gd name="T6" fmla="*/ 9172 w 54"/>
                <a:gd name="T7" fmla="*/ 0 h 91"/>
                <a:gd name="T8" fmla="*/ 18697 w 54"/>
                <a:gd name="T9" fmla="*/ 16486 h 91"/>
                <a:gd name="T10" fmla="*/ 14111 w 54"/>
                <a:gd name="T11" fmla="*/ 15753 h 91"/>
                <a:gd name="T12" fmla="*/ 9172 w 54"/>
                <a:gd name="T13" fmla="*/ 4030 h 91"/>
                <a:gd name="T14" fmla="*/ 4586 w 54"/>
                <a:gd name="T15" fmla="*/ 15753 h 91"/>
                <a:gd name="T16" fmla="*/ 9172 w 54"/>
                <a:gd name="T17" fmla="*/ 27110 h 91"/>
                <a:gd name="T18" fmla="*/ 14111 w 54"/>
                <a:gd name="T19" fmla="*/ 15753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4" h="91">
                  <a:moveTo>
                    <a:pt x="53" y="45"/>
                  </a:moveTo>
                  <a:cubicBezTo>
                    <a:pt x="53" y="77"/>
                    <a:pt x="40" y="90"/>
                    <a:pt x="26" y="90"/>
                  </a:cubicBezTo>
                  <a:cubicBezTo>
                    <a:pt x="13" y="90"/>
                    <a:pt x="0" y="77"/>
                    <a:pt x="0" y="45"/>
                  </a:cubicBezTo>
                  <a:cubicBezTo>
                    <a:pt x="0" y="13"/>
                    <a:pt x="13" y="0"/>
                    <a:pt x="26" y="0"/>
                  </a:cubicBezTo>
                  <a:cubicBezTo>
                    <a:pt x="40" y="0"/>
                    <a:pt x="53" y="13"/>
                    <a:pt x="53" y="45"/>
                  </a:cubicBezTo>
                  <a:close/>
                  <a:moveTo>
                    <a:pt x="40" y="43"/>
                  </a:moveTo>
                  <a:cubicBezTo>
                    <a:pt x="40" y="20"/>
                    <a:pt x="34" y="11"/>
                    <a:pt x="26" y="11"/>
                  </a:cubicBezTo>
                  <a:cubicBezTo>
                    <a:pt x="19" y="11"/>
                    <a:pt x="13" y="20"/>
                    <a:pt x="13" y="43"/>
                  </a:cubicBezTo>
                  <a:cubicBezTo>
                    <a:pt x="13" y="67"/>
                    <a:pt x="19" y="74"/>
                    <a:pt x="26" y="74"/>
                  </a:cubicBezTo>
                  <a:cubicBezTo>
                    <a:pt x="34" y="74"/>
                    <a:pt x="40" y="67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" name="Freeform 223">
              <a:extLst>
                <a:ext uri="{FF2B5EF4-FFF2-40B4-BE49-F238E27FC236}">
                  <a16:creationId xmlns:a16="http://schemas.microsoft.com/office/drawing/2014/main" id="{2B0BF525-FD61-6D42-B200-9BB246290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2750" y="475297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12337 w 35"/>
                <a:gd name="T3" fmla="*/ 0 h 86"/>
                <a:gd name="T4" fmla="*/ 12337 w 35"/>
                <a:gd name="T5" fmla="*/ 4799 h 86"/>
                <a:gd name="T6" fmla="*/ 4717 w 35"/>
                <a:gd name="T7" fmla="*/ 4799 h 86"/>
                <a:gd name="T8" fmla="*/ 4717 w 35"/>
                <a:gd name="T9" fmla="*/ 13660 h 86"/>
                <a:gd name="T10" fmla="*/ 12337 w 35"/>
                <a:gd name="T11" fmla="*/ 13660 h 86"/>
                <a:gd name="T12" fmla="*/ 12337 w 35"/>
                <a:gd name="T13" fmla="*/ 17721 h 86"/>
                <a:gd name="T14" fmla="*/ 4717 w 35"/>
                <a:gd name="T15" fmla="*/ 17721 h 86"/>
                <a:gd name="T16" fmla="*/ 4717 w 35"/>
                <a:gd name="T17" fmla="*/ 31381 h 86"/>
                <a:gd name="T18" fmla="*/ 0 w 35"/>
                <a:gd name="T19" fmla="*/ 31381 h 86"/>
                <a:gd name="T20" fmla="*/ 0 w 35"/>
                <a:gd name="T21" fmla="*/ 0 h 8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34" y="0"/>
                  </a:lnTo>
                  <a:lnTo>
                    <a:pt x="34" y="13"/>
                  </a:lnTo>
                  <a:lnTo>
                    <a:pt x="13" y="13"/>
                  </a:lnTo>
                  <a:lnTo>
                    <a:pt x="13" y="37"/>
                  </a:lnTo>
                  <a:lnTo>
                    <a:pt x="34" y="37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" name="Freeform 224">
              <a:extLst>
                <a:ext uri="{FF2B5EF4-FFF2-40B4-BE49-F238E27FC236}">
                  <a16:creationId xmlns:a16="http://schemas.microsoft.com/office/drawing/2014/main" id="{FB7E5D64-E8ED-5742-9814-693DA2BFD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7038" y="4752975"/>
              <a:ext cx="4762" cy="31750"/>
            </a:xfrm>
            <a:custGeom>
              <a:avLst/>
              <a:gdLst>
                <a:gd name="T0" fmla="*/ 2381 w 14"/>
                <a:gd name="T1" fmla="*/ 31381 h 86"/>
                <a:gd name="T2" fmla="*/ 0 w 14"/>
                <a:gd name="T3" fmla="*/ 31381 h 86"/>
                <a:gd name="T4" fmla="*/ 0 w 14"/>
                <a:gd name="T5" fmla="*/ 0 h 86"/>
                <a:gd name="T6" fmla="*/ 4422 w 14"/>
                <a:gd name="T7" fmla="*/ 0 h 86"/>
                <a:gd name="T8" fmla="*/ 4422 w 14"/>
                <a:gd name="T9" fmla="*/ 31381 h 86"/>
                <a:gd name="T10" fmla="*/ 2381 w 14"/>
                <a:gd name="T11" fmla="*/ 3138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86">
                  <a:moveTo>
                    <a:pt x="7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7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" name="Freeform 225">
              <a:extLst>
                <a:ext uri="{FF2B5EF4-FFF2-40B4-BE49-F238E27FC236}">
                  <a16:creationId xmlns:a16="http://schemas.microsoft.com/office/drawing/2014/main" id="{E23B20C6-D76C-C84E-8B6E-E46663FF2D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4975" y="4751388"/>
              <a:ext cx="17463" cy="33337"/>
            </a:xfrm>
            <a:custGeom>
              <a:avLst/>
              <a:gdLst>
                <a:gd name="T0" fmla="*/ 17107 w 49"/>
                <a:gd name="T1" fmla="*/ 31872 h 91"/>
                <a:gd name="T2" fmla="*/ 11404 w 49"/>
                <a:gd name="T3" fmla="*/ 32971 h 91"/>
                <a:gd name="T4" fmla="*/ 0 w 49"/>
                <a:gd name="T5" fmla="*/ 16485 h 91"/>
                <a:gd name="T6" fmla="*/ 11404 w 49"/>
                <a:gd name="T7" fmla="*/ 0 h 91"/>
                <a:gd name="T8" fmla="*/ 17107 w 49"/>
                <a:gd name="T9" fmla="*/ 733 h 91"/>
                <a:gd name="T10" fmla="*/ 17107 w 49"/>
                <a:gd name="T11" fmla="*/ 5495 h 91"/>
                <a:gd name="T12" fmla="*/ 12474 w 49"/>
                <a:gd name="T13" fmla="*/ 3663 h 91"/>
                <a:gd name="T14" fmla="*/ 5702 w 49"/>
                <a:gd name="T15" fmla="*/ 15386 h 91"/>
                <a:gd name="T16" fmla="*/ 12474 w 49"/>
                <a:gd name="T17" fmla="*/ 27109 h 91"/>
                <a:gd name="T18" fmla="*/ 17107 w 49"/>
                <a:gd name="T19" fmla="*/ 24911 h 91"/>
                <a:gd name="T20" fmla="*/ 17107 w 49"/>
                <a:gd name="T21" fmla="*/ 31872 h 9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9" h="91">
                  <a:moveTo>
                    <a:pt x="48" y="87"/>
                  </a:moveTo>
                  <a:cubicBezTo>
                    <a:pt x="45" y="90"/>
                    <a:pt x="40" y="90"/>
                    <a:pt x="32" y="90"/>
                  </a:cubicBezTo>
                  <a:cubicBezTo>
                    <a:pt x="11" y="90"/>
                    <a:pt x="0" y="71"/>
                    <a:pt x="0" y="45"/>
                  </a:cubicBezTo>
                  <a:cubicBezTo>
                    <a:pt x="0" y="21"/>
                    <a:pt x="11" y="0"/>
                    <a:pt x="32" y="0"/>
                  </a:cubicBezTo>
                  <a:cubicBezTo>
                    <a:pt x="40" y="0"/>
                    <a:pt x="45" y="2"/>
                    <a:pt x="48" y="2"/>
                  </a:cubicBezTo>
                  <a:lnTo>
                    <a:pt x="48" y="15"/>
                  </a:lnTo>
                  <a:cubicBezTo>
                    <a:pt x="45" y="13"/>
                    <a:pt x="42" y="10"/>
                    <a:pt x="35" y="10"/>
                  </a:cubicBezTo>
                  <a:cubicBezTo>
                    <a:pt x="24" y="10"/>
                    <a:pt x="16" y="18"/>
                    <a:pt x="16" y="42"/>
                  </a:cubicBezTo>
                  <a:cubicBezTo>
                    <a:pt x="16" y="63"/>
                    <a:pt x="24" y="74"/>
                    <a:pt x="35" y="74"/>
                  </a:cubicBezTo>
                  <a:cubicBezTo>
                    <a:pt x="40" y="74"/>
                    <a:pt x="45" y="71"/>
                    <a:pt x="48" y="68"/>
                  </a:cubicBezTo>
                  <a:lnTo>
                    <a:pt x="48" y="8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" name="Freeform 226">
              <a:extLst>
                <a:ext uri="{FF2B5EF4-FFF2-40B4-BE49-F238E27FC236}">
                  <a16:creationId xmlns:a16="http://schemas.microsoft.com/office/drawing/2014/main" id="{F8F228A3-2152-A94F-86BC-22B51A5E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5613" y="4752975"/>
              <a:ext cx="4762" cy="31750"/>
            </a:xfrm>
            <a:custGeom>
              <a:avLst/>
              <a:gdLst>
                <a:gd name="T0" fmla="*/ 2222 w 15"/>
                <a:gd name="T1" fmla="*/ 31381 h 86"/>
                <a:gd name="T2" fmla="*/ 0 w 15"/>
                <a:gd name="T3" fmla="*/ 31381 h 86"/>
                <a:gd name="T4" fmla="*/ 0 w 15"/>
                <a:gd name="T5" fmla="*/ 0 h 86"/>
                <a:gd name="T6" fmla="*/ 4445 w 15"/>
                <a:gd name="T7" fmla="*/ 0 h 86"/>
                <a:gd name="T8" fmla="*/ 4445 w 15"/>
                <a:gd name="T9" fmla="*/ 31381 h 86"/>
                <a:gd name="T10" fmla="*/ 2222 w 15"/>
                <a:gd name="T11" fmla="*/ 3138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86">
                  <a:moveTo>
                    <a:pt x="7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85"/>
                  </a:lnTo>
                  <a:lnTo>
                    <a:pt x="7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" name="Freeform 227">
              <a:extLst>
                <a:ext uri="{FF2B5EF4-FFF2-40B4-BE49-F238E27FC236}">
                  <a16:creationId xmlns:a16="http://schemas.microsoft.com/office/drawing/2014/main" id="{3260C9BA-C8CD-4D40-8F44-E81B9EBB9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138" y="4752975"/>
              <a:ext cx="17462" cy="31750"/>
            </a:xfrm>
            <a:custGeom>
              <a:avLst/>
              <a:gdLst>
                <a:gd name="T0" fmla="*/ 0 w 49"/>
                <a:gd name="T1" fmla="*/ 0 h 86"/>
                <a:gd name="T2" fmla="*/ 4633 w 49"/>
                <a:gd name="T3" fmla="*/ 0 h 86"/>
                <a:gd name="T4" fmla="*/ 13186 w 49"/>
                <a:gd name="T5" fmla="*/ 24366 h 86"/>
                <a:gd name="T6" fmla="*/ 13186 w 49"/>
                <a:gd name="T7" fmla="*/ 24366 h 86"/>
                <a:gd name="T8" fmla="*/ 13186 w 49"/>
                <a:gd name="T9" fmla="*/ 0 h 86"/>
                <a:gd name="T10" fmla="*/ 17106 w 49"/>
                <a:gd name="T11" fmla="*/ 0 h 86"/>
                <a:gd name="T12" fmla="*/ 17106 w 49"/>
                <a:gd name="T13" fmla="*/ 31381 h 86"/>
                <a:gd name="T14" fmla="*/ 12473 w 49"/>
                <a:gd name="T15" fmla="*/ 31381 h 86"/>
                <a:gd name="T16" fmla="*/ 3920 w 49"/>
                <a:gd name="T17" fmla="*/ 7015 h 86"/>
                <a:gd name="T18" fmla="*/ 3920 w 49"/>
                <a:gd name="T19" fmla="*/ 7015 h 86"/>
                <a:gd name="T20" fmla="*/ 3920 w 49"/>
                <a:gd name="T21" fmla="*/ 31381 h 86"/>
                <a:gd name="T22" fmla="*/ 0 w 49"/>
                <a:gd name="T23" fmla="*/ 31381 h 86"/>
                <a:gd name="T24" fmla="*/ 0 w 49"/>
                <a:gd name="T25" fmla="*/ 0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9" h="86">
                  <a:moveTo>
                    <a:pt x="0" y="0"/>
                  </a:moveTo>
                  <a:lnTo>
                    <a:pt x="13" y="0"/>
                  </a:lnTo>
                  <a:lnTo>
                    <a:pt x="37" y="66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48" y="85"/>
                  </a:lnTo>
                  <a:lnTo>
                    <a:pt x="35" y="85"/>
                  </a:lnTo>
                  <a:lnTo>
                    <a:pt x="11" y="19"/>
                  </a:lnTo>
                  <a:lnTo>
                    <a:pt x="11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" name="Freeform 228">
              <a:extLst>
                <a:ext uri="{FF2B5EF4-FFF2-40B4-BE49-F238E27FC236}">
                  <a16:creationId xmlns:a16="http://schemas.microsoft.com/office/drawing/2014/main" id="{A16F6450-716B-4E42-926D-4170ABF90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4188" y="4754563"/>
              <a:ext cx="20637" cy="31750"/>
            </a:xfrm>
            <a:custGeom>
              <a:avLst/>
              <a:gdLst>
                <a:gd name="T0" fmla="*/ 15041 w 59"/>
                <a:gd name="T1" fmla="*/ 23259 h 86"/>
                <a:gd name="T2" fmla="*/ 664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7 w 59"/>
                <a:gd name="T13" fmla="*/ 31381 h 86"/>
                <a:gd name="T14" fmla="*/ 15740 w 59"/>
                <a:gd name="T15" fmla="*/ 31381 h 86"/>
                <a:gd name="T16" fmla="*/ 15041 w 59"/>
                <a:gd name="T17" fmla="*/ 23259 h 86"/>
                <a:gd name="T18" fmla="*/ 13991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5 w 59"/>
                <a:gd name="T25" fmla="*/ 18459 h 86"/>
                <a:gd name="T26" fmla="*/ 13991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3" y="63"/>
                  </a:moveTo>
                  <a:lnTo>
                    <a:pt x="19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3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8" name="Freeform 229">
              <a:extLst>
                <a:ext uri="{FF2B5EF4-FFF2-40B4-BE49-F238E27FC236}">
                  <a16:creationId xmlns:a16="http://schemas.microsoft.com/office/drawing/2014/main" id="{1F5CB686-DE3D-E640-808A-EFE6141A1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752975"/>
              <a:ext cx="17463" cy="31750"/>
            </a:xfrm>
            <a:custGeom>
              <a:avLst/>
              <a:gdLst>
                <a:gd name="T0" fmla="*/ 1069 w 49"/>
                <a:gd name="T1" fmla="*/ 0 h 89"/>
                <a:gd name="T2" fmla="*/ 8553 w 49"/>
                <a:gd name="T3" fmla="*/ 0 h 89"/>
                <a:gd name="T4" fmla="*/ 16037 w 49"/>
                <a:gd name="T5" fmla="*/ 8562 h 89"/>
                <a:gd name="T6" fmla="*/ 11404 w 49"/>
                <a:gd name="T7" fmla="*/ 16053 h 89"/>
                <a:gd name="T8" fmla="*/ 11404 w 49"/>
                <a:gd name="T9" fmla="*/ 16053 h 89"/>
                <a:gd name="T10" fmla="*/ 14256 w 49"/>
                <a:gd name="T11" fmla="*/ 19978 h 89"/>
                <a:gd name="T12" fmla="*/ 17107 w 49"/>
                <a:gd name="T13" fmla="*/ 31393 h 89"/>
                <a:gd name="T14" fmla="*/ 12117 w 49"/>
                <a:gd name="T15" fmla="*/ 31393 h 89"/>
                <a:gd name="T16" fmla="*/ 9266 w 49"/>
                <a:gd name="T17" fmla="*/ 20691 h 89"/>
                <a:gd name="T18" fmla="*/ 5702 w 49"/>
                <a:gd name="T19" fmla="*/ 18194 h 89"/>
                <a:gd name="T20" fmla="*/ 4633 w 49"/>
                <a:gd name="T21" fmla="*/ 18194 h 89"/>
                <a:gd name="T22" fmla="*/ 4633 w 49"/>
                <a:gd name="T23" fmla="*/ 31393 h 89"/>
                <a:gd name="T24" fmla="*/ 0 w 49"/>
                <a:gd name="T25" fmla="*/ 31393 h 89"/>
                <a:gd name="T26" fmla="*/ 0 w 49"/>
                <a:gd name="T27" fmla="*/ 0 h 89"/>
                <a:gd name="T28" fmla="*/ 1069 w 49"/>
                <a:gd name="T29" fmla="*/ 0 h 89"/>
                <a:gd name="T30" fmla="*/ 7484 w 49"/>
                <a:gd name="T31" fmla="*/ 13199 h 89"/>
                <a:gd name="T32" fmla="*/ 11404 w 49"/>
                <a:gd name="T33" fmla="*/ 8562 h 89"/>
                <a:gd name="T34" fmla="*/ 7484 w 49"/>
                <a:gd name="T35" fmla="*/ 3924 h 89"/>
                <a:gd name="T36" fmla="*/ 5702 w 49"/>
                <a:gd name="T37" fmla="*/ 3924 h 89"/>
                <a:gd name="T38" fmla="*/ 5702 w 49"/>
                <a:gd name="T39" fmla="*/ 13199 h 89"/>
                <a:gd name="T40" fmla="*/ 7484 w 49"/>
                <a:gd name="T41" fmla="*/ 13199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9" h="89">
                  <a:moveTo>
                    <a:pt x="3" y="0"/>
                  </a:moveTo>
                  <a:lnTo>
                    <a:pt x="24" y="0"/>
                  </a:lnTo>
                  <a:cubicBezTo>
                    <a:pt x="37" y="0"/>
                    <a:pt x="45" y="8"/>
                    <a:pt x="45" y="24"/>
                  </a:cubicBezTo>
                  <a:cubicBezTo>
                    <a:pt x="45" y="35"/>
                    <a:pt x="40" y="43"/>
                    <a:pt x="32" y="45"/>
                  </a:cubicBezTo>
                  <a:cubicBezTo>
                    <a:pt x="34" y="45"/>
                    <a:pt x="37" y="48"/>
                    <a:pt x="40" y="56"/>
                  </a:cubicBezTo>
                  <a:lnTo>
                    <a:pt x="48" y="88"/>
                  </a:lnTo>
                  <a:lnTo>
                    <a:pt x="34" y="88"/>
                  </a:lnTo>
                  <a:lnTo>
                    <a:pt x="26" y="58"/>
                  </a:lnTo>
                  <a:cubicBezTo>
                    <a:pt x="24" y="51"/>
                    <a:pt x="21" y="51"/>
                    <a:pt x="16" y="51"/>
                  </a:cubicBezTo>
                  <a:lnTo>
                    <a:pt x="13" y="51"/>
                  </a:lnTo>
                  <a:lnTo>
                    <a:pt x="13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21" y="37"/>
                  </a:moveTo>
                  <a:cubicBezTo>
                    <a:pt x="29" y="37"/>
                    <a:pt x="32" y="32"/>
                    <a:pt x="32" y="24"/>
                  </a:cubicBezTo>
                  <a:cubicBezTo>
                    <a:pt x="32" y="13"/>
                    <a:pt x="26" y="11"/>
                    <a:pt x="21" y="11"/>
                  </a:cubicBezTo>
                  <a:lnTo>
                    <a:pt x="16" y="11"/>
                  </a:lnTo>
                  <a:lnTo>
                    <a:pt x="16" y="37"/>
                  </a:lnTo>
                  <a:lnTo>
                    <a:pt x="21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9" name="Freeform 230">
              <a:extLst>
                <a:ext uri="{FF2B5EF4-FFF2-40B4-BE49-F238E27FC236}">
                  <a16:creationId xmlns:a16="http://schemas.microsoft.com/office/drawing/2014/main" id="{5FF7CDB3-2DBD-384A-BE2A-7884183AAE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4988" y="4752975"/>
              <a:ext cx="14287" cy="31750"/>
            </a:xfrm>
            <a:custGeom>
              <a:avLst/>
              <a:gdLst>
                <a:gd name="T0" fmla="*/ 0 w 38"/>
                <a:gd name="T1" fmla="*/ 0 h 86"/>
                <a:gd name="T2" fmla="*/ 13911 w 38"/>
                <a:gd name="T3" fmla="*/ 0 h 86"/>
                <a:gd name="T4" fmla="*/ 13911 w 38"/>
                <a:gd name="T5" fmla="*/ 4799 h 86"/>
                <a:gd name="T6" fmla="*/ 4888 w 38"/>
                <a:gd name="T7" fmla="*/ 4799 h 86"/>
                <a:gd name="T8" fmla="*/ 4888 w 38"/>
                <a:gd name="T9" fmla="*/ 12922 h 86"/>
                <a:gd name="T10" fmla="*/ 12783 w 38"/>
                <a:gd name="T11" fmla="*/ 12922 h 86"/>
                <a:gd name="T12" fmla="*/ 12783 w 38"/>
                <a:gd name="T13" fmla="*/ 17721 h 86"/>
                <a:gd name="T14" fmla="*/ 4888 w 38"/>
                <a:gd name="T15" fmla="*/ 17721 h 86"/>
                <a:gd name="T16" fmla="*/ 4888 w 38"/>
                <a:gd name="T17" fmla="*/ 27320 h 86"/>
                <a:gd name="T18" fmla="*/ 13911 w 38"/>
                <a:gd name="T19" fmla="*/ 27320 h 86"/>
                <a:gd name="T20" fmla="*/ 13911 w 38"/>
                <a:gd name="T21" fmla="*/ 31381 h 86"/>
                <a:gd name="T22" fmla="*/ 0 w 38"/>
                <a:gd name="T23" fmla="*/ 31381 h 86"/>
                <a:gd name="T24" fmla="*/ 0 w 38"/>
                <a:gd name="T25" fmla="*/ 0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7" y="0"/>
                  </a:lnTo>
                  <a:lnTo>
                    <a:pt x="37" y="13"/>
                  </a:lnTo>
                  <a:lnTo>
                    <a:pt x="13" y="13"/>
                  </a:lnTo>
                  <a:lnTo>
                    <a:pt x="13" y="35"/>
                  </a:lnTo>
                  <a:lnTo>
                    <a:pt x="34" y="35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74"/>
                  </a:lnTo>
                  <a:lnTo>
                    <a:pt x="37" y="74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0" name="Freeform 231">
              <a:extLst>
                <a:ext uri="{FF2B5EF4-FFF2-40B4-BE49-F238E27FC236}">
                  <a16:creationId xmlns:a16="http://schemas.microsoft.com/office/drawing/2014/main" id="{D00D9456-9305-2649-9936-D0197E1355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9275" y="4751388"/>
              <a:ext cx="19050" cy="33337"/>
            </a:xfrm>
            <a:custGeom>
              <a:avLst/>
              <a:gdLst>
                <a:gd name="T0" fmla="*/ 11289 w 54"/>
                <a:gd name="T1" fmla="*/ 14287 h 91"/>
                <a:gd name="T2" fmla="*/ 18697 w 54"/>
                <a:gd name="T3" fmla="*/ 14287 h 91"/>
                <a:gd name="T4" fmla="*/ 18697 w 54"/>
                <a:gd name="T5" fmla="*/ 30773 h 91"/>
                <a:gd name="T6" fmla="*/ 11994 w 54"/>
                <a:gd name="T7" fmla="*/ 32971 h 91"/>
                <a:gd name="T8" fmla="*/ 0 w 54"/>
                <a:gd name="T9" fmla="*/ 16485 h 91"/>
                <a:gd name="T10" fmla="*/ 11994 w 54"/>
                <a:gd name="T11" fmla="*/ 0 h 91"/>
                <a:gd name="T12" fmla="*/ 17639 w 54"/>
                <a:gd name="T13" fmla="*/ 733 h 91"/>
                <a:gd name="T14" fmla="*/ 17639 w 54"/>
                <a:gd name="T15" fmla="*/ 5495 h 91"/>
                <a:gd name="T16" fmla="*/ 11994 w 54"/>
                <a:gd name="T17" fmla="*/ 3663 h 91"/>
                <a:gd name="T18" fmla="*/ 4586 w 54"/>
                <a:gd name="T19" fmla="*/ 15386 h 91"/>
                <a:gd name="T20" fmla="*/ 11289 w 54"/>
                <a:gd name="T21" fmla="*/ 27109 h 91"/>
                <a:gd name="T22" fmla="*/ 14111 w 54"/>
                <a:gd name="T23" fmla="*/ 26010 h 91"/>
                <a:gd name="T24" fmla="*/ 14111 w 54"/>
                <a:gd name="T25" fmla="*/ 17218 h 91"/>
                <a:gd name="T26" fmla="*/ 10231 w 54"/>
                <a:gd name="T27" fmla="*/ 17218 h 91"/>
                <a:gd name="T28" fmla="*/ 10231 w 54"/>
                <a:gd name="T29" fmla="*/ 14287 h 91"/>
                <a:gd name="T30" fmla="*/ 11289 w 54"/>
                <a:gd name="T31" fmla="*/ 14287 h 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4" h="91">
                  <a:moveTo>
                    <a:pt x="32" y="39"/>
                  </a:moveTo>
                  <a:lnTo>
                    <a:pt x="53" y="39"/>
                  </a:lnTo>
                  <a:lnTo>
                    <a:pt x="53" y="84"/>
                  </a:lnTo>
                  <a:cubicBezTo>
                    <a:pt x="50" y="87"/>
                    <a:pt x="42" y="90"/>
                    <a:pt x="34" y="90"/>
                  </a:cubicBezTo>
                  <a:cubicBezTo>
                    <a:pt x="13" y="90"/>
                    <a:pt x="0" y="72"/>
                    <a:pt x="0" y="45"/>
                  </a:cubicBezTo>
                  <a:cubicBezTo>
                    <a:pt x="0" y="19"/>
                    <a:pt x="10" y="0"/>
                    <a:pt x="34" y="0"/>
                  </a:cubicBezTo>
                  <a:cubicBezTo>
                    <a:pt x="42" y="0"/>
                    <a:pt x="48" y="2"/>
                    <a:pt x="50" y="2"/>
                  </a:cubicBezTo>
                  <a:lnTo>
                    <a:pt x="50" y="15"/>
                  </a:lnTo>
                  <a:cubicBezTo>
                    <a:pt x="45" y="13"/>
                    <a:pt x="40" y="10"/>
                    <a:pt x="34" y="10"/>
                  </a:cubicBezTo>
                  <a:cubicBezTo>
                    <a:pt x="21" y="10"/>
                    <a:pt x="13" y="24"/>
                    <a:pt x="13" y="42"/>
                  </a:cubicBezTo>
                  <a:cubicBezTo>
                    <a:pt x="13" y="61"/>
                    <a:pt x="21" y="74"/>
                    <a:pt x="32" y="74"/>
                  </a:cubicBezTo>
                  <a:cubicBezTo>
                    <a:pt x="34" y="74"/>
                    <a:pt x="37" y="74"/>
                    <a:pt x="40" y="71"/>
                  </a:cubicBezTo>
                  <a:lnTo>
                    <a:pt x="40" y="47"/>
                  </a:lnTo>
                  <a:lnTo>
                    <a:pt x="29" y="47"/>
                  </a:lnTo>
                  <a:lnTo>
                    <a:pt x="29" y="39"/>
                  </a:lnTo>
                  <a:lnTo>
                    <a:pt x="32" y="3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1" name="Freeform 232">
              <a:extLst>
                <a:ext uri="{FF2B5EF4-FFF2-40B4-BE49-F238E27FC236}">
                  <a16:creationId xmlns:a16="http://schemas.microsoft.com/office/drawing/2014/main" id="{F7F99B10-6CD3-E342-B332-A343F80EE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4752975"/>
              <a:ext cx="4762" cy="31750"/>
            </a:xfrm>
            <a:custGeom>
              <a:avLst/>
              <a:gdLst>
                <a:gd name="T0" fmla="*/ 2381 w 14"/>
                <a:gd name="T1" fmla="*/ 31381 h 86"/>
                <a:gd name="T2" fmla="*/ 0 w 14"/>
                <a:gd name="T3" fmla="*/ 31381 h 86"/>
                <a:gd name="T4" fmla="*/ 0 w 14"/>
                <a:gd name="T5" fmla="*/ 0 h 86"/>
                <a:gd name="T6" fmla="*/ 4422 w 14"/>
                <a:gd name="T7" fmla="*/ 0 h 86"/>
                <a:gd name="T8" fmla="*/ 4422 w 14"/>
                <a:gd name="T9" fmla="*/ 31381 h 86"/>
                <a:gd name="T10" fmla="*/ 2381 w 14"/>
                <a:gd name="T11" fmla="*/ 3138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86">
                  <a:moveTo>
                    <a:pt x="7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7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" name="Freeform 233">
              <a:extLst>
                <a:ext uri="{FF2B5EF4-FFF2-40B4-BE49-F238E27FC236}">
                  <a16:creationId xmlns:a16="http://schemas.microsoft.com/office/drawing/2014/main" id="{D335E79F-F01B-F34F-9744-89429E4F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4752975"/>
              <a:ext cx="20638" cy="33338"/>
            </a:xfrm>
            <a:custGeom>
              <a:avLst/>
              <a:gdLst>
                <a:gd name="T0" fmla="*/ 20276 w 57"/>
                <a:gd name="T1" fmla="*/ 16486 h 91"/>
                <a:gd name="T2" fmla="*/ 10500 w 57"/>
                <a:gd name="T3" fmla="*/ 32972 h 91"/>
                <a:gd name="T4" fmla="*/ 1086 w 57"/>
                <a:gd name="T5" fmla="*/ 16486 h 91"/>
                <a:gd name="T6" fmla="*/ 10500 w 57"/>
                <a:gd name="T7" fmla="*/ 0 h 91"/>
                <a:gd name="T8" fmla="*/ 20276 w 57"/>
                <a:gd name="T9" fmla="*/ 16486 h 91"/>
                <a:gd name="T10" fmla="*/ 15569 w 57"/>
                <a:gd name="T11" fmla="*/ 15753 h 91"/>
                <a:gd name="T12" fmla="*/ 10500 w 57"/>
                <a:gd name="T13" fmla="*/ 4030 h 91"/>
                <a:gd name="T14" fmla="*/ 5793 w 57"/>
                <a:gd name="T15" fmla="*/ 15753 h 91"/>
                <a:gd name="T16" fmla="*/ 10500 w 57"/>
                <a:gd name="T17" fmla="*/ 27110 h 91"/>
                <a:gd name="T18" fmla="*/ 15569 w 57"/>
                <a:gd name="T19" fmla="*/ 15753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7" h="91">
                  <a:moveTo>
                    <a:pt x="56" y="45"/>
                  </a:moveTo>
                  <a:cubicBezTo>
                    <a:pt x="56" y="77"/>
                    <a:pt x="43" y="90"/>
                    <a:pt x="29" y="90"/>
                  </a:cubicBezTo>
                  <a:cubicBezTo>
                    <a:pt x="16" y="90"/>
                    <a:pt x="3" y="77"/>
                    <a:pt x="3" y="45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3" y="0"/>
                    <a:pt x="56" y="13"/>
                    <a:pt x="56" y="45"/>
                  </a:cubicBezTo>
                  <a:close/>
                  <a:moveTo>
                    <a:pt x="43" y="43"/>
                  </a:moveTo>
                  <a:cubicBezTo>
                    <a:pt x="43" y="20"/>
                    <a:pt x="37" y="11"/>
                    <a:pt x="29" y="11"/>
                  </a:cubicBezTo>
                  <a:cubicBezTo>
                    <a:pt x="21" y="11"/>
                    <a:pt x="16" y="19"/>
                    <a:pt x="16" y="43"/>
                  </a:cubicBezTo>
                  <a:cubicBezTo>
                    <a:pt x="13" y="66"/>
                    <a:pt x="21" y="74"/>
                    <a:pt x="29" y="74"/>
                  </a:cubicBezTo>
                  <a:cubicBezTo>
                    <a:pt x="37" y="74"/>
                    <a:pt x="43" y="67"/>
                    <a:pt x="43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" name="Freeform 234">
              <a:extLst>
                <a:ext uri="{FF2B5EF4-FFF2-40B4-BE49-F238E27FC236}">
                  <a16:creationId xmlns:a16="http://schemas.microsoft.com/office/drawing/2014/main" id="{77D261B4-1EE8-A349-8ACC-BDBEF757B1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0" y="4752975"/>
              <a:ext cx="19050" cy="31750"/>
            </a:xfrm>
            <a:custGeom>
              <a:avLst/>
              <a:gdLst>
                <a:gd name="T0" fmla="*/ 0 w 51"/>
                <a:gd name="T1" fmla="*/ 0 h 86"/>
                <a:gd name="T2" fmla="*/ 5976 w 51"/>
                <a:gd name="T3" fmla="*/ 0 h 86"/>
                <a:gd name="T4" fmla="*/ 14941 w 51"/>
                <a:gd name="T5" fmla="*/ 24366 h 86"/>
                <a:gd name="T6" fmla="*/ 14941 w 51"/>
                <a:gd name="T7" fmla="*/ 24366 h 86"/>
                <a:gd name="T8" fmla="*/ 14941 w 51"/>
                <a:gd name="T9" fmla="*/ 0 h 86"/>
                <a:gd name="T10" fmla="*/ 18676 w 51"/>
                <a:gd name="T11" fmla="*/ 0 h 86"/>
                <a:gd name="T12" fmla="*/ 18676 w 51"/>
                <a:gd name="T13" fmla="*/ 31381 h 86"/>
                <a:gd name="T14" fmla="*/ 12700 w 51"/>
                <a:gd name="T15" fmla="*/ 31381 h 86"/>
                <a:gd name="T16" fmla="*/ 4856 w 51"/>
                <a:gd name="T17" fmla="*/ 7015 h 86"/>
                <a:gd name="T18" fmla="*/ 4856 w 51"/>
                <a:gd name="T19" fmla="*/ 7015 h 86"/>
                <a:gd name="T20" fmla="*/ 4856 w 51"/>
                <a:gd name="T21" fmla="*/ 31381 h 86"/>
                <a:gd name="T22" fmla="*/ 0 w 51"/>
                <a:gd name="T23" fmla="*/ 31381 h 86"/>
                <a:gd name="T24" fmla="*/ 0 w 51"/>
                <a:gd name="T25" fmla="*/ 0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1" h="86">
                  <a:moveTo>
                    <a:pt x="0" y="0"/>
                  </a:moveTo>
                  <a:lnTo>
                    <a:pt x="16" y="0"/>
                  </a:lnTo>
                  <a:lnTo>
                    <a:pt x="40" y="66"/>
                  </a:lnTo>
                  <a:lnTo>
                    <a:pt x="40" y="0"/>
                  </a:lnTo>
                  <a:lnTo>
                    <a:pt x="50" y="0"/>
                  </a:lnTo>
                  <a:lnTo>
                    <a:pt x="50" y="85"/>
                  </a:lnTo>
                  <a:lnTo>
                    <a:pt x="34" y="85"/>
                  </a:lnTo>
                  <a:lnTo>
                    <a:pt x="13" y="19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" name="Freeform 235">
              <a:extLst>
                <a:ext uri="{FF2B5EF4-FFF2-40B4-BE49-F238E27FC236}">
                  <a16:creationId xmlns:a16="http://schemas.microsoft.com/office/drawing/2014/main" id="{DF081B46-1036-4A4D-B24E-F004022BE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3888" y="4754563"/>
              <a:ext cx="22225" cy="31750"/>
            </a:xfrm>
            <a:custGeom>
              <a:avLst/>
              <a:gdLst>
                <a:gd name="T0" fmla="*/ 15928 w 60"/>
                <a:gd name="T1" fmla="*/ 23259 h 86"/>
                <a:gd name="T2" fmla="*/ 7038 w 60"/>
                <a:gd name="T3" fmla="*/ 23259 h 86"/>
                <a:gd name="T4" fmla="*/ 5186 w 60"/>
                <a:gd name="T5" fmla="*/ 31381 h 86"/>
                <a:gd name="T6" fmla="*/ 0 w 60"/>
                <a:gd name="T7" fmla="*/ 31381 h 86"/>
                <a:gd name="T8" fmla="*/ 8890 w 60"/>
                <a:gd name="T9" fmla="*/ 0 h 86"/>
                <a:gd name="T10" fmla="*/ 13705 w 60"/>
                <a:gd name="T11" fmla="*/ 0 h 86"/>
                <a:gd name="T12" fmla="*/ 21855 w 60"/>
                <a:gd name="T13" fmla="*/ 31381 h 86"/>
                <a:gd name="T14" fmla="*/ 16669 w 60"/>
                <a:gd name="T15" fmla="*/ 31381 h 86"/>
                <a:gd name="T16" fmla="*/ 15928 w 60"/>
                <a:gd name="T17" fmla="*/ 23259 h 86"/>
                <a:gd name="T18" fmla="*/ 14817 w 60"/>
                <a:gd name="T19" fmla="*/ 18459 h 86"/>
                <a:gd name="T20" fmla="*/ 11853 w 60"/>
                <a:gd name="T21" fmla="*/ 3692 h 86"/>
                <a:gd name="T22" fmla="*/ 11853 w 60"/>
                <a:gd name="T23" fmla="*/ 3692 h 86"/>
                <a:gd name="T24" fmla="*/ 8149 w 60"/>
                <a:gd name="T25" fmla="*/ 18459 h 86"/>
                <a:gd name="T26" fmla="*/ 14817 w 60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0" h="86">
                  <a:moveTo>
                    <a:pt x="43" y="63"/>
                  </a:moveTo>
                  <a:lnTo>
                    <a:pt x="19" y="63"/>
                  </a:lnTo>
                  <a:lnTo>
                    <a:pt x="14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9" y="85"/>
                  </a:lnTo>
                  <a:lnTo>
                    <a:pt x="45" y="85"/>
                  </a:lnTo>
                  <a:lnTo>
                    <a:pt x="43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2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" name="Freeform 236">
              <a:extLst>
                <a:ext uri="{FF2B5EF4-FFF2-40B4-BE49-F238E27FC236}">
                  <a16:creationId xmlns:a16="http://schemas.microsoft.com/office/drawing/2014/main" id="{C7168DBC-447D-7A43-8D92-718D96B557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6113" y="475297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4717 w 35"/>
                <a:gd name="T3" fmla="*/ 0 h 86"/>
                <a:gd name="T4" fmla="*/ 4717 w 35"/>
                <a:gd name="T5" fmla="*/ 27320 h 86"/>
                <a:gd name="T6" fmla="*/ 12337 w 35"/>
                <a:gd name="T7" fmla="*/ 27320 h 86"/>
                <a:gd name="T8" fmla="*/ 12337 w 35"/>
                <a:gd name="T9" fmla="*/ 31381 h 86"/>
                <a:gd name="T10" fmla="*/ 0 w 35"/>
                <a:gd name="T11" fmla="*/ 31381 h 86"/>
                <a:gd name="T12" fmla="*/ 0 w 35"/>
                <a:gd name="T13" fmla="*/ 0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34" y="74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6" name="Freeform 237">
              <a:extLst>
                <a:ext uri="{FF2B5EF4-FFF2-40B4-BE49-F238E27FC236}">
                  <a16:creationId xmlns:a16="http://schemas.microsoft.com/office/drawing/2014/main" id="{CED4F060-7A00-B34E-B93E-A19A02EF7E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338" y="4752975"/>
              <a:ext cx="15875" cy="31750"/>
            </a:xfrm>
            <a:custGeom>
              <a:avLst/>
              <a:gdLst>
                <a:gd name="T0" fmla="*/ 1108 w 43"/>
                <a:gd name="T1" fmla="*/ 0 h 89"/>
                <a:gd name="T2" fmla="*/ 7753 w 43"/>
                <a:gd name="T3" fmla="*/ 0 h 89"/>
                <a:gd name="T4" fmla="*/ 15506 w 43"/>
                <a:gd name="T5" fmla="*/ 9632 h 89"/>
                <a:gd name="T6" fmla="*/ 7753 w 43"/>
                <a:gd name="T7" fmla="*/ 18907 h 89"/>
                <a:gd name="T8" fmla="*/ 4799 w 43"/>
                <a:gd name="T9" fmla="*/ 18907 h 89"/>
                <a:gd name="T10" fmla="*/ 4799 w 43"/>
                <a:gd name="T11" fmla="*/ 31393 h 89"/>
                <a:gd name="T12" fmla="*/ 0 w 43"/>
                <a:gd name="T13" fmla="*/ 31393 h 89"/>
                <a:gd name="T14" fmla="*/ 0 w 43"/>
                <a:gd name="T15" fmla="*/ 0 h 89"/>
                <a:gd name="T16" fmla="*/ 1108 w 43"/>
                <a:gd name="T17" fmla="*/ 0 h 89"/>
                <a:gd name="T18" fmla="*/ 7753 w 43"/>
                <a:gd name="T19" fmla="*/ 14270 h 89"/>
                <a:gd name="T20" fmla="*/ 11814 w 43"/>
                <a:gd name="T21" fmla="*/ 9632 h 89"/>
                <a:gd name="T22" fmla="*/ 7753 w 43"/>
                <a:gd name="T23" fmla="*/ 4638 h 89"/>
                <a:gd name="T24" fmla="*/ 5907 w 43"/>
                <a:gd name="T25" fmla="*/ 4638 h 89"/>
                <a:gd name="T26" fmla="*/ 5907 w 43"/>
                <a:gd name="T27" fmla="*/ 15340 h 89"/>
                <a:gd name="T28" fmla="*/ 7753 w 43"/>
                <a:gd name="T29" fmla="*/ 15340 h 89"/>
                <a:gd name="T30" fmla="*/ 7753 w 43"/>
                <a:gd name="T31" fmla="*/ 14270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89">
                  <a:moveTo>
                    <a:pt x="3" y="0"/>
                  </a:moveTo>
                  <a:lnTo>
                    <a:pt x="21" y="0"/>
                  </a:lnTo>
                  <a:cubicBezTo>
                    <a:pt x="34" y="0"/>
                    <a:pt x="42" y="11"/>
                    <a:pt x="42" y="27"/>
                  </a:cubicBezTo>
                  <a:cubicBezTo>
                    <a:pt x="42" y="43"/>
                    <a:pt x="34" y="53"/>
                    <a:pt x="21" y="53"/>
                  </a:cubicBezTo>
                  <a:lnTo>
                    <a:pt x="13" y="53"/>
                  </a:lnTo>
                  <a:lnTo>
                    <a:pt x="13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21" y="40"/>
                  </a:moveTo>
                  <a:cubicBezTo>
                    <a:pt x="29" y="40"/>
                    <a:pt x="32" y="35"/>
                    <a:pt x="32" y="27"/>
                  </a:cubicBezTo>
                  <a:cubicBezTo>
                    <a:pt x="32" y="16"/>
                    <a:pt x="29" y="13"/>
                    <a:pt x="21" y="13"/>
                  </a:cubicBezTo>
                  <a:lnTo>
                    <a:pt x="16" y="13"/>
                  </a:lnTo>
                  <a:lnTo>
                    <a:pt x="16" y="43"/>
                  </a:lnTo>
                  <a:lnTo>
                    <a:pt x="21" y="43"/>
                  </a:lnTo>
                  <a:lnTo>
                    <a:pt x="21" y="4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7" name="Freeform 238">
              <a:extLst>
                <a:ext uri="{FF2B5EF4-FFF2-40B4-BE49-F238E27FC236}">
                  <a16:creationId xmlns:a16="http://schemas.microsoft.com/office/drawing/2014/main" id="{A164606C-32AB-4E47-80EC-2B4DC6B3B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2625" y="4754563"/>
              <a:ext cx="20638" cy="31750"/>
            </a:xfrm>
            <a:custGeom>
              <a:avLst/>
              <a:gdLst>
                <a:gd name="T0" fmla="*/ 14691 w 59"/>
                <a:gd name="T1" fmla="*/ 23259 h 86"/>
                <a:gd name="T2" fmla="*/ 629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8 w 59"/>
                <a:gd name="T13" fmla="*/ 31381 h 86"/>
                <a:gd name="T14" fmla="*/ 15741 w 59"/>
                <a:gd name="T15" fmla="*/ 31381 h 86"/>
                <a:gd name="T16" fmla="*/ 14691 w 59"/>
                <a:gd name="T17" fmla="*/ 23259 h 86"/>
                <a:gd name="T18" fmla="*/ 13992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6 w 59"/>
                <a:gd name="T25" fmla="*/ 18459 h 86"/>
                <a:gd name="T26" fmla="*/ 13992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2" y="63"/>
                  </a:moveTo>
                  <a:lnTo>
                    <a:pt x="18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2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8" name="Freeform 239">
              <a:extLst>
                <a:ext uri="{FF2B5EF4-FFF2-40B4-BE49-F238E27FC236}">
                  <a16:creationId xmlns:a16="http://schemas.microsoft.com/office/drawing/2014/main" id="{E5F91B5F-10C4-8748-80D9-4C79364235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4850" y="4752975"/>
              <a:ext cx="17463" cy="31750"/>
            </a:xfrm>
            <a:custGeom>
              <a:avLst/>
              <a:gdLst>
                <a:gd name="T0" fmla="*/ 1069 w 49"/>
                <a:gd name="T1" fmla="*/ 0 h 89"/>
                <a:gd name="T2" fmla="*/ 8553 w 49"/>
                <a:gd name="T3" fmla="*/ 0 h 89"/>
                <a:gd name="T4" fmla="*/ 16394 w 49"/>
                <a:gd name="T5" fmla="*/ 8562 h 89"/>
                <a:gd name="T6" fmla="*/ 11404 w 49"/>
                <a:gd name="T7" fmla="*/ 16053 h 89"/>
                <a:gd name="T8" fmla="*/ 11404 w 49"/>
                <a:gd name="T9" fmla="*/ 16053 h 89"/>
                <a:gd name="T10" fmla="*/ 14256 w 49"/>
                <a:gd name="T11" fmla="*/ 19978 h 89"/>
                <a:gd name="T12" fmla="*/ 17107 w 49"/>
                <a:gd name="T13" fmla="*/ 31393 h 89"/>
                <a:gd name="T14" fmla="*/ 12474 w 49"/>
                <a:gd name="T15" fmla="*/ 31393 h 89"/>
                <a:gd name="T16" fmla="*/ 9622 w 49"/>
                <a:gd name="T17" fmla="*/ 20691 h 89"/>
                <a:gd name="T18" fmla="*/ 5702 w 49"/>
                <a:gd name="T19" fmla="*/ 18194 h 89"/>
                <a:gd name="T20" fmla="*/ 4989 w 49"/>
                <a:gd name="T21" fmla="*/ 18194 h 89"/>
                <a:gd name="T22" fmla="*/ 4989 w 49"/>
                <a:gd name="T23" fmla="*/ 31393 h 89"/>
                <a:gd name="T24" fmla="*/ 0 w 49"/>
                <a:gd name="T25" fmla="*/ 31393 h 89"/>
                <a:gd name="T26" fmla="*/ 0 w 49"/>
                <a:gd name="T27" fmla="*/ 0 h 89"/>
                <a:gd name="T28" fmla="*/ 1069 w 49"/>
                <a:gd name="T29" fmla="*/ 0 h 89"/>
                <a:gd name="T30" fmla="*/ 6771 w 49"/>
                <a:gd name="T31" fmla="*/ 13199 h 89"/>
                <a:gd name="T32" fmla="*/ 10692 w 49"/>
                <a:gd name="T33" fmla="*/ 8562 h 89"/>
                <a:gd name="T34" fmla="*/ 6771 w 49"/>
                <a:gd name="T35" fmla="*/ 3924 h 89"/>
                <a:gd name="T36" fmla="*/ 4989 w 49"/>
                <a:gd name="T37" fmla="*/ 3924 h 89"/>
                <a:gd name="T38" fmla="*/ 4989 w 49"/>
                <a:gd name="T39" fmla="*/ 13199 h 89"/>
                <a:gd name="T40" fmla="*/ 6771 w 49"/>
                <a:gd name="T41" fmla="*/ 13199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9" h="89">
                  <a:moveTo>
                    <a:pt x="3" y="0"/>
                  </a:moveTo>
                  <a:lnTo>
                    <a:pt x="24" y="0"/>
                  </a:lnTo>
                  <a:cubicBezTo>
                    <a:pt x="38" y="0"/>
                    <a:pt x="46" y="8"/>
                    <a:pt x="46" y="24"/>
                  </a:cubicBezTo>
                  <a:cubicBezTo>
                    <a:pt x="46" y="35"/>
                    <a:pt x="40" y="43"/>
                    <a:pt x="32" y="45"/>
                  </a:cubicBezTo>
                  <a:cubicBezTo>
                    <a:pt x="35" y="45"/>
                    <a:pt x="38" y="48"/>
                    <a:pt x="40" y="56"/>
                  </a:cubicBezTo>
                  <a:lnTo>
                    <a:pt x="48" y="88"/>
                  </a:lnTo>
                  <a:lnTo>
                    <a:pt x="35" y="88"/>
                  </a:lnTo>
                  <a:lnTo>
                    <a:pt x="27" y="58"/>
                  </a:lnTo>
                  <a:cubicBezTo>
                    <a:pt x="24" y="51"/>
                    <a:pt x="22" y="51"/>
                    <a:pt x="16" y="51"/>
                  </a:cubicBezTo>
                  <a:lnTo>
                    <a:pt x="14" y="51"/>
                  </a:lnTo>
                  <a:lnTo>
                    <a:pt x="14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19" y="37"/>
                  </a:moveTo>
                  <a:cubicBezTo>
                    <a:pt x="27" y="37"/>
                    <a:pt x="30" y="32"/>
                    <a:pt x="30" y="24"/>
                  </a:cubicBezTo>
                  <a:cubicBezTo>
                    <a:pt x="30" y="13"/>
                    <a:pt x="24" y="11"/>
                    <a:pt x="19" y="11"/>
                  </a:cubicBezTo>
                  <a:lnTo>
                    <a:pt x="14" y="11"/>
                  </a:lnTo>
                  <a:lnTo>
                    <a:pt x="14" y="37"/>
                  </a:lnTo>
                  <a:lnTo>
                    <a:pt x="19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9" name="Freeform 240">
              <a:extLst>
                <a:ext uri="{FF2B5EF4-FFF2-40B4-BE49-F238E27FC236}">
                  <a16:creationId xmlns:a16="http://schemas.microsoft.com/office/drawing/2014/main" id="{E51FB50B-0EDD-D245-9389-67FF282603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4754563"/>
              <a:ext cx="20637" cy="31750"/>
            </a:xfrm>
            <a:custGeom>
              <a:avLst/>
              <a:gdLst>
                <a:gd name="T0" fmla="*/ 15041 w 59"/>
                <a:gd name="T1" fmla="*/ 23259 h 86"/>
                <a:gd name="T2" fmla="*/ 664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7 w 59"/>
                <a:gd name="T13" fmla="*/ 31381 h 86"/>
                <a:gd name="T14" fmla="*/ 15740 w 59"/>
                <a:gd name="T15" fmla="*/ 31381 h 86"/>
                <a:gd name="T16" fmla="*/ 15041 w 59"/>
                <a:gd name="T17" fmla="*/ 23259 h 86"/>
                <a:gd name="T18" fmla="*/ 13991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5 w 59"/>
                <a:gd name="T25" fmla="*/ 18459 h 86"/>
                <a:gd name="T26" fmla="*/ 13991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3" y="63"/>
                  </a:moveTo>
                  <a:lnTo>
                    <a:pt x="19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3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0" name="Freeform 241">
              <a:extLst>
                <a:ext uri="{FF2B5EF4-FFF2-40B4-BE49-F238E27FC236}">
                  <a16:creationId xmlns:a16="http://schemas.microsoft.com/office/drawing/2014/main" id="{14E47700-EA8A-7C43-B488-186334F7A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75297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4717 w 35"/>
                <a:gd name="T3" fmla="*/ 0 h 86"/>
                <a:gd name="T4" fmla="*/ 4717 w 35"/>
                <a:gd name="T5" fmla="*/ 27320 h 86"/>
                <a:gd name="T6" fmla="*/ 12337 w 35"/>
                <a:gd name="T7" fmla="*/ 27320 h 86"/>
                <a:gd name="T8" fmla="*/ 12337 w 35"/>
                <a:gd name="T9" fmla="*/ 31381 h 86"/>
                <a:gd name="T10" fmla="*/ 0 w 35"/>
                <a:gd name="T11" fmla="*/ 31381 h 86"/>
                <a:gd name="T12" fmla="*/ 0 w 35"/>
                <a:gd name="T13" fmla="*/ 0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34" y="74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1" name="Freeform 242">
              <a:extLst>
                <a:ext uri="{FF2B5EF4-FFF2-40B4-BE49-F238E27FC236}">
                  <a16:creationId xmlns:a16="http://schemas.microsoft.com/office/drawing/2014/main" id="{45BEDD45-99CC-BA42-AD5E-33CC175B4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763" y="4754563"/>
              <a:ext cx="20637" cy="31750"/>
            </a:xfrm>
            <a:custGeom>
              <a:avLst/>
              <a:gdLst>
                <a:gd name="T0" fmla="*/ 14691 w 59"/>
                <a:gd name="T1" fmla="*/ 23259 h 86"/>
                <a:gd name="T2" fmla="*/ 629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7 w 59"/>
                <a:gd name="T13" fmla="*/ 31381 h 86"/>
                <a:gd name="T14" fmla="*/ 15740 w 59"/>
                <a:gd name="T15" fmla="*/ 31381 h 86"/>
                <a:gd name="T16" fmla="*/ 14691 w 59"/>
                <a:gd name="T17" fmla="*/ 23259 h 86"/>
                <a:gd name="T18" fmla="*/ 13991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5 w 59"/>
                <a:gd name="T25" fmla="*/ 18459 h 86"/>
                <a:gd name="T26" fmla="*/ 13991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2" y="63"/>
                  </a:moveTo>
                  <a:lnTo>
                    <a:pt x="18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2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2" name="Freeform 243">
              <a:extLst>
                <a:ext uri="{FF2B5EF4-FFF2-40B4-BE49-F238E27FC236}">
                  <a16:creationId xmlns:a16="http://schemas.microsoft.com/office/drawing/2014/main" id="{BE8100F3-BDA0-BE4A-A806-7D0C58EF5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7400" y="4751388"/>
              <a:ext cx="14288" cy="33337"/>
            </a:xfrm>
            <a:custGeom>
              <a:avLst/>
              <a:gdLst>
                <a:gd name="T0" fmla="*/ 1045 w 41"/>
                <a:gd name="T1" fmla="*/ 26010 h 91"/>
                <a:gd name="T2" fmla="*/ 5576 w 41"/>
                <a:gd name="T3" fmla="*/ 27842 h 91"/>
                <a:gd name="T4" fmla="*/ 9061 w 41"/>
                <a:gd name="T5" fmla="*/ 23079 h 91"/>
                <a:gd name="T6" fmla="*/ 6273 w 41"/>
                <a:gd name="T7" fmla="*/ 18317 h 91"/>
                <a:gd name="T8" fmla="*/ 4530 w 41"/>
                <a:gd name="T9" fmla="*/ 16485 h 91"/>
                <a:gd name="T10" fmla="*/ 1045 w 41"/>
                <a:gd name="T11" fmla="*/ 8426 h 91"/>
                <a:gd name="T12" fmla="*/ 8364 w 41"/>
                <a:gd name="T13" fmla="*/ 0 h 91"/>
                <a:gd name="T14" fmla="*/ 12894 w 41"/>
                <a:gd name="T15" fmla="*/ 733 h 91"/>
                <a:gd name="T16" fmla="*/ 12894 w 41"/>
                <a:gd name="T17" fmla="*/ 5495 h 91"/>
                <a:gd name="T18" fmla="*/ 8364 w 41"/>
                <a:gd name="T19" fmla="*/ 4762 h 91"/>
                <a:gd name="T20" fmla="*/ 4530 w 41"/>
                <a:gd name="T21" fmla="*/ 8426 h 91"/>
                <a:gd name="T22" fmla="*/ 7318 w 41"/>
                <a:gd name="T23" fmla="*/ 12456 h 91"/>
                <a:gd name="T24" fmla="*/ 10106 w 41"/>
                <a:gd name="T25" fmla="*/ 14287 h 91"/>
                <a:gd name="T26" fmla="*/ 13940 w 41"/>
                <a:gd name="T27" fmla="*/ 23079 h 91"/>
                <a:gd name="T28" fmla="*/ 5576 w 41"/>
                <a:gd name="T29" fmla="*/ 32971 h 91"/>
                <a:gd name="T30" fmla="*/ 0 w 41"/>
                <a:gd name="T31" fmla="*/ 31872 h 91"/>
                <a:gd name="T32" fmla="*/ 1045 w 41"/>
                <a:gd name="T33" fmla="*/ 26010 h 9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1" h="91">
                  <a:moveTo>
                    <a:pt x="3" y="71"/>
                  </a:moveTo>
                  <a:cubicBezTo>
                    <a:pt x="5" y="74"/>
                    <a:pt x="11" y="76"/>
                    <a:pt x="16" y="76"/>
                  </a:cubicBezTo>
                  <a:cubicBezTo>
                    <a:pt x="22" y="76"/>
                    <a:pt x="26" y="74"/>
                    <a:pt x="26" y="63"/>
                  </a:cubicBezTo>
                  <a:cubicBezTo>
                    <a:pt x="26" y="58"/>
                    <a:pt x="24" y="55"/>
                    <a:pt x="18" y="50"/>
                  </a:cubicBezTo>
                  <a:lnTo>
                    <a:pt x="13" y="45"/>
                  </a:lnTo>
                  <a:cubicBezTo>
                    <a:pt x="5" y="39"/>
                    <a:pt x="3" y="34"/>
                    <a:pt x="3" y="23"/>
                  </a:cubicBezTo>
                  <a:cubicBezTo>
                    <a:pt x="3" y="8"/>
                    <a:pt x="13" y="0"/>
                    <a:pt x="24" y="0"/>
                  </a:cubicBezTo>
                  <a:cubicBezTo>
                    <a:pt x="32" y="0"/>
                    <a:pt x="37" y="2"/>
                    <a:pt x="37" y="2"/>
                  </a:cubicBezTo>
                  <a:lnTo>
                    <a:pt x="37" y="15"/>
                  </a:lnTo>
                  <a:cubicBezTo>
                    <a:pt x="34" y="13"/>
                    <a:pt x="30" y="13"/>
                    <a:pt x="24" y="13"/>
                  </a:cubicBezTo>
                  <a:cubicBezTo>
                    <a:pt x="19" y="13"/>
                    <a:pt x="13" y="18"/>
                    <a:pt x="13" y="23"/>
                  </a:cubicBezTo>
                  <a:cubicBezTo>
                    <a:pt x="13" y="29"/>
                    <a:pt x="16" y="31"/>
                    <a:pt x="21" y="34"/>
                  </a:cubicBezTo>
                  <a:lnTo>
                    <a:pt x="29" y="39"/>
                  </a:lnTo>
                  <a:cubicBezTo>
                    <a:pt x="37" y="45"/>
                    <a:pt x="40" y="50"/>
                    <a:pt x="40" y="63"/>
                  </a:cubicBezTo>
                  <a:cubicBezTo>
                    <a:pt x="40" y="82"/>
                    <a:pt x="29" y="90"/>
                    <a:pt x="16" y="90"/>
                  </a:cubicBezTo>
                  <a:cubicBezTo>
                    <a:pt x="8" y="90"/>
                    <a:pt x="3" y="90"/>
                    <a:pt x="0" y="87"/>
                  </a:cubicBezTo>
                  <a:lnTo>
                    <a:pt x="3" y="7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3" name="Freeform 244">
              <a:extLst>
                <a:ext uri="{FF2B5EF4-FFF2-40B4-BE49-F238E27FC236}">
                  <a16:creationId xmlns:a16="http://schemas.microsoft.com/office/drawing/2014/main" id="{E4255347-CFCD-C246-9CB3-27935E3B8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4175" y="4418013"/>
              <a:ext cx="346075" cy="271462"/>
            </a:xfrm>
            <a:custGeom>
              <a:avLst/>
              <a:gdLst>
                <a:gd name="T0" fmla="*/ 62955 w 962"/>
                <a:gd name="T1" fmla="*/ 206931 h 753"/>
                <a:gd name="T2" fmla="*/ 74108 w 962"/>
                <a:gd name="T3" fmla="*/ 191790 h 753"/>
                <a:gd name="T4" fmla="*/ 289595 w 962"/>
                <a:gd name="T5" fmla="*/ 161147 h 753"/>
                <a:gd name="T6" fmla="*/ 114399 w 962"/>
                <a:gd name="T7" fmla="*/ 258484 h 753"/>
                <a:gd name="T8" fmla="*/ 232395 w 962"/>
                <a:gd name="T9" fmla="*/ 258484 h 753"/>
                <a:gd name="T10" fmla="*/ 28420 w 962"/>
                <a:gd name="T11" fmla="*/ 105989 h 753"/>
                <a:gd name="T12" fmla="*/ 298229 w 962"/>
                <a:gd name="T13" fmla="*/ 74265 h 753"/>
                <a:gd name="T14" fmla="*/ 311539 w 962"/>
                <a:gd name="T15" fmla="*/ 157542 h 753"/>
                <a:gd name="T16" fmla="*/ 182751 w 962"/>
                <a:gd name="T17" fmla="*/ 45784 h 753"/>
                <a:gd name="T18" fmla="*/ 183830 w 962"/>
                <a:gd name="T19" fmla="*/ 13339 h 753"/>
                <a:gd name="T20" fmla="*/ 119076 w 962"/>
                <a:gd name="T21" fmla="*/ 63089 h 753"/>
                <a:gd name="T22" fmla="*/ 238151 w 962"/>
                <a:gd name="T23" fmla="*/ 44703 h 753"/>
                <a:gd name="T24" fmla="*/ 222682 w 962"/>
                <a:gd name="T25" fmla="*/ 29562 h 753"/>
                <a:gd name="T26" fmla="*/ 220884 w 962"/>
                <a:gd name="T27" fmla="*/ 66694 h 753"/>
                <a:gd name="T28" fmla="*/ 191385 w 962"/>
                <a:gd name="T29" fmla="*/ 89766 h 753"/>
                <a:gd name="T30" fmla="*/ 183830 w 962"/>
                <a:gd name="T31" fmla="*/ 111757 h 753"/>
                <a:gd name="T32" fmla="*/ 252181 w 962"/>
                <a:gd name="T33" fmla="*/ 193592 h 753"/>
                <a:gd name="T34" fmla="*/ 133106 w 962"/>
                <a:gd name="T35" fmla="*/ 172683 h 753"/>
                <a:gd name="T36" fmla="*/ 160806 w 962"/>
                <a:gd name="T37" fmla="*/ 132667 h 753"/>
                <a:gd name="T38" fmla="*/ 144618 w 962"/>
                <a:gd name="T39" fmla="*/ 79312 h 753"/>
                <a:gd name="T40" fmla="*/ 112241 w 962"/>
                <a:gd name="T41" fmla="*/ 53355 h 753"/>
                <a:gd name="T42" fmla="*/ 164763 w 962"/>
                <a:gd name="T43" fmla="*/ 3605 h 753"/>
                <a:gd name="T44" fmla="*/ 200018 w 962"/>
                <a:gd name="T45" fmla="*/ 83998 h 753"/>
                <a:gd name="T46" fmla="*/ 198220 w 962"/>
                <a:gd name="T47" fmla="*/ 84719 h 753"/>
                <a:gd name="T48" fmla="*/ 283839 w 962"/>
                <a:gd name="T49" fmla="*/ 113560 h 753"/>
                <a:gd name="T50" fmla="*/ 229518 w 962"/>
                <a:gd name="T51" fmla="*/ 63089 h 753"/>
                <a:gd name="T52" fmla="*/ 239950 w 962"/>
                <a:gd name="T53" fmla="*/ 100221 h 753"/>
                <a:gd name="T54" fmla="*/ 235273 w 962"/>
                <a:gd name="T55" fmla="*/ 75346 h 753"/>
                <a:gd name="T56" fmla="*/ 235273 w 962"/>
                <a:gd name="T57" fmla="*/ 81835 h 753"/>
                <a:gd name="T58" fmla="*/ 229518 w 962"/>
                <a:gd name="T59" fmla="*/ 63089 h 753"/>
                <a:gd name="T60" fmla="*/ 237072 w 962"/>
                <a:gd name="T61" fmla="*/ 106710 h 753"/>
                <a:gd name="T62" fmla="*/ 225560 w 962"/>
                <a:gd name="T63" fmla="*/ 106710 h 753"/>
                <a:gd name="T64" fmla="*/ 206494 w 962"/>
                <a:gd name="T65" fmla="*/ 94453 h 753"/>
                <a:gd name="T66" fmla="*/ 204695 w 962"/>
                <a:gd name="T67" fmla="*/ 149611 h 753"/>
                <a:gd name="T68" fmla="*/ 235273 w 962"/>
                <a:gd name="T69" fmla="*/ 97337 h 753"/>
                <a:gd name="T70" fmla="*/ 227719 w 962"/>
                <a:gd name="T71" fmla="*/ 92650 h 753"/>
                <a:gd name="T72" fmla="*/ 220884 w 962"/>
                <a:gd name="T73" fmla="*/ 92650 h 753"/>
                <a:gd name="T74" fmla="*/ 221963 w 962"/>
                <a:gd name="T75" fmla="*/ 70659 h 753"/>
                <a:gd name="T76" fmla="*/ 212250 w 962"/>
                <a:gd name="T77" fmla="*/ 139156 h 753"/>
                <a:gd name="T78" fmla="*/ 223762 w 962"/>
                <a:gd name="T79" fmla="*/ 130864 h 753"/>
                <a:gd name="T80" fmla="*/ 223762 w 962"/>
                <a:gd name="T81" fmla="*/ 118246 h 753"/>
                <a:gd name="T82" fmla="*/ 221963 w 962"/>
                <a:gd name="T83" fmla="*/ 183138 h 753"/>
                <a:gd name="T84" fmla="*/ 219804 w 962"/>
                <a:gd name="T85" fmla="*/ 187824 h 753"/>
                <a:gd name="T86" fmla="*/ 224841 w 962"/>
                <a:gd name="T87" fmla="*/ 164031 h 753"/>
                <a:gd name="T88" fmla="*/ 125551 w 962"/>
                <a:gd name="T89" fmla="*/ 161147 h 753"/>
                <a:gd name="T90" fmla="*/ 114399 w 962"/>
                <a:gd name="T91" fmla="*/ 121130 h 753"/>
                <a:gd name="T92" fmla="*/ 122673 w 962"/>
                <a:gd name="T93" fmla="*/ 126899 h 753"/>
                <a:gd name="T94" fmla="*/ 127710 w 962"/>
                <a:gd name="T95" fmla="*/ 116444 h 753"/>
                <a:gd name="T96" fmla="*/ 119795 w 962"/>
                <a:gd name="T97" fmla="*/ 111757 h 753"/>
                <a:gd name="T98" fmla="*/ 141740 w 962"/>
                <a:gd name="T99" fmla="*/ 126899 h 753"/>
                <a:gd name="T100" fmla="*/ 152172 w 962"/>
                <a:gd name="T101" fmla="*/ 128701 h 753"/>
                <a:gd name="T102" fmla="*/ 130588 w 962"/>
                <a:gd name="T103" fmla="*/ 94453 h 753"/>
                <a:gd name="T104" fmla="*/ 121954 w 962"/>
                <a:gd name="T105" fmla="*/ 100221 h 753"/>
                <a:gd name="T106" fmla="*/ 112241 w 962"/>
                <a:gd name="T107" fmla="*/ 174486 h 753"/>
                <a:gd name="T108" fmla="*/ 91375 w 962"/>
                <a:gd name="T109" fmla="*/ 143121 h 753"/>
                <a:gd name="T110" fmla="*/ 74108 w 962"/>
                <a:gd name="T111" fmla="*/ 140237 h 753"/>
                <a:gd name="T112" fmla="*/ 74108 w 962"/>
                <a:gd name="T113" fmla="*/ 150692 h 753"/>
                <a:gd name="T114" fmla="*/ 85619 w 962"/>
                <a:gd name="T115" fmla="*/ 159344 h 753"/>
                <a:gd name="T116" fmla="*/ 83821 w 962"/>
                <a:gd name="T117" fmla="*/ 142040 h 753"/>
                <a:gd name="T118" fmla="*/ 219804 w 962"/>
                <a:gd name="T119" fmla="*/ 81114 h 753"/>
                <a:gd name="T120" fmla="*/ 219085 w 962"/>
                <a:gd name="T121" fmla="*/ 85801 h 753"/>
                <a:gd name="T122" fmla="*/ 164763 w 962"/>
                <a:gd name="T123" fmla="*/ 100942 h 75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962" h="753">
                  <a:moveTo>
                    <a:pt x="837" y="140"/>
                  </a:moveTo>
                  <a:cubicBezTo>
                    <a:pt x="823" y="77"/>
                    <a:pt x="776" y="26"/>
                    <a:pt x="717" y="16"/>
                  </a:cubicBezTo>
                  <a:cubicBezTo>
                    <a:pt x="747" y="34"/>
                    <a:pt x="752" y="63"/>
                    <a:pt x="770" y="84"/>
                  </a:cubicBezTo>
                  <a:cubicBezTo>
                    <a:pt x="789" y="106"/>
                    <a:pt x="818" y="119"/>
                    <a:pt x="837" y="140"/>
                  </a:cubicBezTo>
                  <a:close/>
                  <a:moveTo>
                    <a:pt x="209" y="95"/>
                  </a:moveTo>
                  <a:cubicBezTo>
                    <a:pt x="196" y="119"/>
                    <a:pt x="132" y="130"/>
                    <a:pt x="100" y="196"/>
                  </a:cubicBezTo>
                  <a:cubicBezTo>
                    <a:pt x="116" y="159"/>
                    <a:pt x="108" y="100"/>
                    <a:pt x="135" y="69"/>
                  </a:cubicBezTo>
                  <a:cubicBezTo>
                    <a:pt x="58" y="124"/>
                    <a:pt x="90" y="214"/>
                    <a:pt x="87" y="243"/>
                  </a:cubicBezTo>
                  <a:cubicBezTo>
                    <a:pt x="127" y="159"/>
                    <a:pt x="185" y="177"/>
                    <a:pt x="209" y="95"/>
                  </a:cubicBezTo>
                  <a:close/>
                  <a:moveTo>
                    <a:pt x="175" y="574"/>
                  </a:moveTo>
                  <a:cubicBezTo>
                    <a:pt x="140" y="537"/>
                    <a:pt x="69" y="527"/>
                    <a:pt x="39" y="468"/>
                  </a:cubicBezTo>
                  <a:cubicBezTo>
                    <a:pt x="77" y="611"/>
                    <a:pt x="172" y="582"/>
                    <a:pt x="214" y="611"/>
                  </a:cubicBezTo>
                  <a:cubicBezTo>
                    <a:pt x="180" y="561"/>
                    <a:pt x="209" y="527"/>
                    <a:pt x="156" y="447"/>
                  </a:cubicBezTo>
                  <a:cubicBezTo>
                    <a:pt x="164" y="482"/>
                    <a:pt x="143" y="529"/>
                    <a:pt x="175" y="574"/>
                  </a:cubicBezTo>
                  <a:close/>
                  <a:moveTo>
                    <a:pt x="132" y="355"/>
                  </a:moveTo>
                  <a:cubicBezTo>
                    <a:pt x="130" y="397"/>
                    <a:pt x="100" y="418"/>
                    <a:pt x="119" y="498"/>
                  </a:cubicBezTo>
                  <a:cubicBezTo>
                    <a:pt x="85" y="431"/>
                    <a:pt x="32" y="408"/>
                    <a:pt x="18" y="360"/>
                  </a:cubicBezTo>
                  <a:cubicBezTo>
                    <a:pt x="21" y="484"/>
                    <a:pt x="122" y="503"/>
                    <a:pt x="145" y="537"/>
                  </a:cubicBezTo>
                  <a:cubicBezTo>
                    <a:pt x="124" y="458"/>
                    <a:pt x="161" y="431"/>
                    <a:pt x="132" y="355"/>
                  </a:cubicBezTo>
                  <a:close/>
                  <a:moveTo>
                    <a:pt x="206" y="532"/>
                  </a:moveTo>
                  <a:cubicBezTo>
                    <a:pt x="225" y="558"/>
                    <a:pt x="206" y="593"/>
                    <a:pt x="262" y="646"/>
                  </a:cubicBezTo>
                  <a:cubicBezTo>
                    <a:pt x="206" y="614"/>
                    <a:pt x="132" y="627"/>
                    <a:pt x="95" y="585"/>
                  </a:cubicBezTo>
                  <a:cubicBezTo>
                    <a:pt x="159" y="704"/>
                    <a:pt x="267" y="654"/>
                    <a:pt x="299" y="670"/>
                  </a:cubicBezTo>
                  <a:cubicBezTo>
                    <a:pt x="270" y="630"/>
                    <a:pt x="288" y="606"/>
                    <a:pt x="206" y="532"/>
                  </a:cubicBezTo>
                  <a:close/>
                  <a:moveTo>
                    <a:pt x="754" y="532"/>
                  </a:moveTo>
                  <a:cubicBezTo>
                    <a:pt x="672" y="606"/>
                    <a:pt x="691" y="630"/>
                    <a:pt x="662" y="670"/>
                  </a:cubicBezTo>
                  <a:cubicBezTo>
                    <a:pt x="694" y="654"/>
                    <a:pt x="802" y="704"/>
                    <a:pt x="866" y="585"/>
                  </a:cubicBezTo>
                  <a:cubicBezTo>
                    <a:pt x="829" y="627"/>
                    <a:pt x="754" y="614"/>
                    <a:pt x="699" y="646"/>
                  </a:cubicBezTo>
                  <a:cubicBezTo>
                    <a:pt x="754" y="593"/>
                    <a:pt x="736" y="558"/>
                    <a:pt x="754" y="532"/>
                  </a:cubicBezTo>
                  <a:close/>
                  <a:moveTo>
                    <a:pt x="805" y="447"/>
                  </a:moveTo>
                  <a:cubicBezTo>
                    <a:pt x="752" y="527"/>
                    <a:pt x="781" y="561"/>
                    <a:pt x="747" y="611"/>
                  </a:cubicBezTo>
                  <a:cubicBezTo>
                    <a:pt x="789" y="580"/>
                    <a:pt x="884" y="609"/>
                    <a:pt x="921" y="468"/>
                  </a:cubicBezTo>
                  <a:cubicBezTo>
                    <a:pt x="892" y="527"/>
                    <a:pt x="821" y="537"/>
                    <a:pt x="786" y="574"/>
                  </a:cubicBezTo>
                  <a:cubicBezTo>
                    <a:pt x="818" y="529"/>
                    <a:pt x="799" y="482"/>
                    <a:pt x="805" y="447"/>
                  </a:cubicBezTo>
                  <a:close/>
                  <a:moveTo>
                    <a:pt x="564" y="662"/>
                  </a:moveTo>
                  <a:cubicBezTo>
                    <a:pt x="532" y="662"/>
                    <a:pt x="506" y="667"/>
                    <a:pt x="482" y="675"/>
                  </a:cubicBezTo>
                  <a:cubicBezTo>
                    <a:pt x="458" y="667"/>
                    <a:pt x="431" y="659"/>
                    <a:pt x="400" y="662"/>
                  </a:cubicBezTo>
                  <a:cubicBezTo>
                    <a:pt x="376" y="662"/>
                    <a:pt x="341" y="667"/>
                    <a:pt x="310" y="675"/>
                  </a:cubicBezTo>
                  <a:cubicBezTo>
                    <a:pt x="259" y="688"/>
                    <a:pt x="217" y="699"/>
                    <a:pt x="180" y="680"/>
                  </a:cubicBezTo>
                  <a:cubicBezTo>
                    <a:pt x="217" y="712"/>
                    <a:pt x="257" y="723"/>
                    <a:pt x="318" y="717"/>
                  </a:cubicBezTo>
                  <a:cubicBezTo>
                    <a:pt x="368" y="712"/>
                    <a:pt x="408" y="686"/>
                    <a:pt x="455" y="688"/>
                  </a:cubicBezTo>
                  <a:lnTo>
                    <a:pt x="458" y="688"/>
                  </a:lnTo>
                  <a:cubicBezTo>
                    <a:pt x="408" y="715"/>
                    <a:pt x="378" y="749"/>
                    <a:pt x="378" y="749"/>
                  </a:cubicBezTo>
                  <a:lnTo>
                    <a:pt x="402" y="752"/>
                  </a:lnTo>
                  <a:cubicBezTo>
                    <a:pt x="402" y="752"/>
                    <a:pt x="426" y="704"/>
                    <a:pt x="482" y="691"/>
                  </a:cubicBezTo>
                  <a:cubicBezTo>
                    <a:pt x="537" y="704"/>
                    <a:pt x="561" y="752"/>
                    <a:pt x="561" y="752"/>
                  </a:cubicBezTo>
                  <a:lnTo>
                    <a:pt x="585" y="749"/>
                  </a:lnTo>
                  <a:cubicBezTo>
                    <a:pt x="585" y="749"/>
                    <a:pt x="556" y="715"/>
                    <a:pt x="506" y="688"/>
                  </a:cubicBezTo>
                  <a:lnTo>
                    <a:pt x="508" y="688"/>
                  </a:lnTo>
                  <a:cubicBezTo>
                    <a:pt x="556" y="688"/>
                    <a:pt x="596" y="712"/>
                    <a:pt x="646" y="717"/>
                  </a:cubicBezTo>
                  <a:cubicBezTo>
                    <a:pt x="707" y="723"/>
                    <a:pt x="749" y="712"/>
                    <a:pt x="784" y="680"/>
                  </a:cubicBezTo>
                  <a:cubicBezTo>
                    <a:pt x="747" y="699"/>
                    <a:pt x="704" y="688"/>
                    <a:pt x="654" y="675"/>
                  </a:cubicBezTo>
                  <a:cubicBezTo>
                    <a:pt x="622" y="667"/>
                    <a:pt x="588" y="662"/>
                    <a:pt x="564" y="662"/>
                  </a:cubicBezTo>
                  <a:close/>
                  <a:moveTo>
                    <a:pt x="87" y="397"/>
                  </a:moveTo>
                  <a:cubicBezTo>
                    <a:pt x="71" y="325"/>
                    <a:pt x="29" y="299"/>
                    <a:pt x="29" y="251"/>
                  </a:cubicBezTo>
                  <a:cubicBezTo>
                    <a:pt x="0" y="370"/>
                    <a:pt x="77" y="386"/>
                    <a:pt x="95" y="437"/>
                  </a:cubicBezTo>
                  <a:cubicBezTo>
                    <a:pt x="95" y="365"/>
                    <a:pt x="140" y="352"/>
                    <a:pt x="137" y="267"/>
                  </a:cubicBezTo>
                  <a:cubicBezTo>
                    <a:pt x="116" y="307"/>
                    <a:pt x="85" y="315"/>
                    <a:pt x="87" y="397"/>
                  </a:cubicBezTo>
                  <a:close/>
                  <a:moveTo>
                    <a:pt x="135" y="204"/>
                  </a:moveTo>
                  <a:cubicBezTo>
                    <a:pt x="108" y="225"/>
                    <a:pt x="87" y="254"/>
                    <a:pt x="79" y="294"/>
                  </a:cubicBezTo>
                  <a:cubicBezTo>
                    <a:pt x="82" y="249"/>
                    <a:pt x="53" y="185"/>
                    <a:pt x="71" y="140"/>
                  </a:cubicBezTo>
                  <a:cubicBezTo>
                    <a:pt x="0" y="238"/>
                    <a:pt x="77" y="299"/>
                    <a:pt x="77" y="333"/>
                  </a:cubicBezTo>
                  <a:cubicBezTo>
                    <a:pt x="98" y="267"/>
                    <a:pt x="137" y="267"/>
                    <a:pt x="167" y="175"/>
                  </a:cubicBezTo>
                  <a:cubicBezTo>
                    <a:pt x="159" y="185"/>
                    <a:pt x="153" y="188"/>
                    <a:pt x="135" y="204"/>
                  </a:cubicBezTo>
                  <a:close/>
                  <a:moveTo>
                    <a:pt x="829" y="206"/>
                  </a:moveTo>
                  <a:cubicBezTo>
                    <a:pt x="810" y="190"/>
                    <a:pt x="805" y="185"/>
                    <a:pt x="797" y="177"/>
                  </a:cubicBezTo>
                  <a:cubicBezTo>
                    <a:pt x="823" y="270"/>
                    <a:pt x="866" y="270"/>
                    <a:pt x="884" y="339"/>
                  </a:cubicBezTo>
                  <a:cubicBezTo>
                    <a:pt x="887" y="302"/>
                    <a:pt x="961" y="243"/>
                    <a:pt x="892" y="145"/>
                  </a:cubicBezTo>
                  <a:cubicBezTo>
                    <a:pt x="908" y="188"/>
                    <a:pt x="882" y="251"/>
                    <a:pt x="884" y="296"/>
                  </a:cubicBezTo>
                  <a:cubicBezTo>
                    <a:pt x="876" y="257"/>
                    <a:pt x="855" y="227"/>
                    <a:pt x="829" y="206"/>
                  </a:cubicBezTo>
                  <a:close/>
                  <a:moveTo>
                    <a:pt x="842" y="498"/>
                  </a:moveTo>
                  <a:cubicBezTo>
                    <a:pt x="860" y="418"/>
                    <a:pt x="831" y="400"/>
                    <a:pt x="829" y="355"/>
                  </a:cubicBezTo>
                  <a:cubicBezTo>
                    <a:pt x="799" y="431"/>
                    <a:pt x="837" y="458"/>
                    <a:pt x="815" y="537"/>
                  </a:cubicBezTo>
                  <a:cubicBezTo>
                    <a:pt x="842" y="503"/>
                    <a:pt x="942" y="484"/>
                    <a:pt x="942" y="360"/>
                  </a:cubicBezTo>
                  <a:cubicBezTo>
                    <a:pt x="927" y="405"/>
                    <a:pt x="874" y="431"/>
                    <a:pt x="842" y="498"/>
                  </a:cubicBezTo>
                  <a:close/>
                  <a:moveTo>
                    <a:pt x="866" y="437"/>
                  </a:moveTo>
                  <a:cubicBezTo>
                    <a:pt x="884" y="386"/>
                    <a:pt x="961" y="373"/>
                    <a:pt x="932" y="251"/>
                  </a:cubicBezTo>
                  <a:cubicBezTo>
                    <a:pt x="932" y="296"/>
                    <a:pt x="892" y="325"/>
                    <a:pt x="874" y="397"/>
                  </a:cubicBezTo>
                  <a:cubicBezTo>
                    <a:pt x="876" y="318"/>
                    <a:pt x="844" y="307"/>
                    <a:pt x="826" y="267"/>
                  </a:cubicBezTo>
                  <a:cubicBezTo>
                    <a:pt x="823" y="349"/>
                    <a:pt x="868" y="365"/>
                    <a:pt x="866" y="437"/>
                  </a:cubicBezTo>
                  <a:close/>
                  <a:moveTo>
                    <a:pt x="243" y="13"/>
                  </a:moveTo>
                  <a:cubicBezTo>
                    <a:pt x="188" y="26"/>
                    <a:pt x="137" y="77"/>
                    <a:pt x="124" y="137"/>
                  </a:cubicBezTo>
                  <a:cubicBezTo>
                    <a:pt x="143" y="119"/>
                    <a:pt x="175" y="106"/>
                    <a:pt x="193" y="84"/>
                  </a:cubicBezTo>
                  <a:cubicBezTo>
                    <a:pt x="212" y="63"/>
                    <a:pt x="217" y="34"/>
                    <a:pt x="243" y="13"/>
                  </a:cubicBezTo>
                  <a:close/>
                  <a:moveTo>
                    <a:pt x="876" y="243"/>
                  </a:moveTo>
                  <a:cubicBezTo>
                    <a:pt x="871" y="214"/>
                    <a:pt x="905" y="124"/>
                    <a:pt x="829" y="66"/>
                  </a:cubicBezTo>
                  <a:cubicBezTo>
                    <a:pt x="855" y="98"/>
                    <a:pt x="847" y="156"/>
                    <a:pt x="863" y="193"/>
                  </a:cubicBezTo>
                  <a:cubicBezTo>
                    <a:pt x="831" y="130"/>
                    <a:pt x="768" y="119"/>
                    <a:pt x="754" y="95"/>
                  </a:cubicBezTo>
                  <a:cubicBezTo>
                    <a:pt x="778" y="177"/>
                    <a:pt x="837" y="159"/>
                    <a:pt x="876" y="243"/>
                  </a:cubicBezTo>
                  <a:close/>
                  <a:moveTo>
                    <a:pt x="508" y="127"/>
                  </a:moveTo>
                  <a:lnTo>
                    <a:pt x="508" y="137"/>
                  </a:lnTo>
                  <a:cubicBezTo>
                    <a:pt x="524" y="140"/>
                    <a:pt x="537" y="143"/>
                    <a:pt x="551" y="148"/>
                  </a:cubicBezTo>
                  <a:cubicBezTo>
                    <a:pt x="553" y="148"/>
                    <a:pt x="553" y="145"/>
                    <a:pt x="556" y="140"/>
                  </a:cubicBezTo>
                  <a:cubicBezTo>
                    <a:pt x="540" y="135"/>
                    <a:pt x="527" y="130"/>
                    <a:pt x="508" y="127"/>
                  </a:cubicBezTo>
                  <a:close/>
                  <a:moveTo>
                    <a:pt x="543" y="39"/>
                  </a:moveTo>
                  <a:lnTo>
                    <a:pt x="545" y="37"/>
                  </a:lnTo>
                  <a:lnTo>
                    <a:pt x="540" y="34"/>
                  </a:lnTo>
                  <a:lnTo>
                    <a:pt x="524" y="34"/>
                  </a:lnTo>
                  <a:lnTo>
                    <a:pt x="519" y="37"/>
                  </a:lnTo>
                  <a:lnTo>
                    <a:pt x="511" y="37"/>
                  </a:lnTo>
                  <a:lnTo>
                    <a:pt x="511" y="39"/>
                  </a:lnTo>
                  <a:cubicBezTo>
                    <a:pt x="516" y="39"/>
                    <a:pt x="521" y="39"/>
                    <a:pt x="527" y="42"/>
                  </a:cubicBezTo>
                  <a:lnTo>
                    <a:pt x="535" y="42"/>
                  </a:lnTo>
                  <a:lnTo>
                    <a:pt x="543" y="39"/>
                  </a:lnTo>
                  <a:close/>
                  <a:moveTo>
                    <a:pt x="506" y="370"/>
                  </a:moveTo>
                  <a:lnTo>
                    <a:pt x="506" y="389"/>
                  </a:lnTo>
                  <a:cubicBezTo>
                    <a:pt x="508" y="384"/>
                    <a:pt x="513" y="381"/>
                    <a:pt x="513" y="378"/>
                  </a:cubicBezTo>
                  <a:cubicBezTo>
                    <a:pt x="513" y="376"/>
                    <a:pt x="511" y="373"/>
                    <a:pt x="506" y="370"/>
                  </a:cubicBezTo>
                  <a:close/>
                  <a:moveTo>
                    <a:pt x="331" y="180"/>
                  </a:moveTo>
                  <a:lnTo>
                    <a:pt x="331" y="175"/>
                  </a:lnTo>
                  <a:lnTo>
                    <a:pt x="325" y="175"/>
                  </a:lnTo>
                  <a:lnTo>
                    <a:pt x="331" y="180"/>
                  </a:lnTo>
                  <a:close/>
                  <a:moveTo>
                    <a:pt x="802" y="318"/>
                  </a:moveTo>
                  <a:cubicBezTo>
                    <a:pt x="802" y="153"/>
                    <a:pt x="675" y="16"/>
                    <a:pt x="516" y="0"/>
                  </a:cubicBezTo>
                  <a:lnTo>
                    <a:pt x="516" y="2"/>
                  </a:lnTo>
                  <a:cubicBezTo>
                    <a:pt x="516" y="5"/>
                    <a:pt x="516" y="8"/>
                    <a:pt x="513" y="10"/>
                  </a:cubicBezTo>
                  <a:cubicBezTo>
                    <a:pt x="585" y="18"/>
                    <a:pt x="651" y="50"/>
                    <a:pt x="699" y="98"/>
                  </a:cubicBezTo>
                  <a:lnTo>
                    <a:pt x="664" y="132"/>
                  </a:lnTo>
                  <a:lnTo>
                    <a:pt x="667" y="127"/>
                  </a:lnTo>
                  <a:lnTo>
                    <a:pt x="662" y="124"/>
                  </a:lnTo>
                  <a:lnTo>
                    <a:pt x="656" y="124"/>
                  </a:lnTo>
                  <a:lnTo>
                    <a:pt x="659" y="119"/>
                  </a:lnTo>
                  <a:lnTo>
                    <a:pt x="654" y="106"/>
                  </a:lnTo>
                  <a:lnTo>
                    <a:pt x="646" y="95"/>
                  </a:lnTo>
                  <a:lnTo>
                    <a:pt x="638" y="91"/>
                  </a:lnTo>
                  <a:lnTo>
                    <a:pt x="638" y="87"/>
                  </a:lnTo>
                  <a:lnTo>
                    <a:pt x="635" y="82"/>
                  </a:lnTo>
                  <a:lnTo>
                    <a:pt x="627" y="79"/>
                  </a:lnTo>
                  <a:lnTo>
                    <a:pt x="623" y="84"/>
                  </a:lnTo>
                  <a:lnTo>
                    <a:pt x="619" y="82"/>
                  </a:lnTo>
                  <a:lnTo>
                    <a:pt x="617" y="84"/>
                  </a:lnTo>
                  <a:lnTo>
                    <a:pt x="611" y="87"/>
                  </a:lnTo>
                  <a:cubicBezTo>
                    <a:pt x="622" y="100"/>
                    <a:pt x="627" y="116"/>
                    <a:pt x="627" y="132"/>
                  </a:cubicBezTo>
                  <a:lnTo>
                    <a:pt x="627" y="137"/>
                  </a:lnTo>
                  <a:lnTo>
                    <a:pt x="641" y="153"/>
                  </a:lnTo>
                  <a:lnTo>
                    <a:pt x="635" y="156"/>
                  </a:lnTo>
                  <a:lnTo>
                    <a:pt x="641" y="161"/>
                  </a:lnTo>
                  <a:lnTo>
                    <a:pt x="627" y="175"/>
                  </a:lnTo>
                  <a:lnTo>
                    <a:pt x="622" y="167"/>
                  </a:lnTo>
                  <a:cubicBezTo>
                    <a:pt x="619" y="172"/>
                    <a:pt x="617" y="180"/>
                    <a:pt x="614" y="185"/>
                  </a:cubicBezTo>
                  <a:lnTo>
                    <a:pt x="617" y="188"/>
                  </a:lnTo>
                  <a:lnTo>
                    <a:pt x="580" y="225"/>
                  </a:lnTo>
                  <a:cubicBezTo>
                    <a:pt x="577" y="222"/>
                    <a:pt x="574" y="220"/>
                    <a:pt x="572" y="220"/>
                  </a:cubicBezTo>
                  <a:cubicBezTo>
                    <a:pt x="569" y="222"/>
                    <a:pt x="564" y="222"/>
                    <a:pt x="561" y="225"/>
                  </a:cubicBezTo>
                  <a:lnTo>
                    <a:pt x="564" y="227"/>
                  </a:lnTo>
                  <a:cubicBezTo>
                    <a:pt x="564" y="227"/>
                    <a:pt x="566" y="227"/>
                    <a:pt x="566" y="230"/>
                  </a:cubicBezTo>
                  <a:lnTo>
                    <a:pt x="551" y="246"/>
                  </a:lnTo>
                  <a:lnTo>
                    <a:pt x="551" y="243"/>
                  </a:lnTo>
                  <a:lnTo>
                    <a:pt x="535" y="246"/>
                  </a:lnTo>
                  <a:lnTo>
                    <a:pt x="532" y="249"/>
                  </a:lnTo>
                  <a:lnTo>
                    <a:pt x="531" y="249"/>
                  </a:lnTo>
                  <a:lnTo>
                    <a:pt x="529" y="251"/>
                  </a:lnTo>
                  <a:lnTo>
                    <a:pt x="532" y="251"/>
                  </a:lnTo>
                  <a:lnTo>
                    <a:pt x="532" y="257"/>
                  </a:lnTo>
                  <a:lnTo>
                    <a:pt x="535" y="257"/>
                  </a:lnTo>
                  <a:lnTo>
                    <a:pt x="535" y="262"/>
                  </a:lnTo>
                  <a:lnTo>
                    <a:pt x="529" y="262"/>
                  </a:lnTo>
                  <a:lnTo>
                    <a:pt x="524" y="262"/>
                  </a:lnTo>
                  <a:lnTo>
                    <a:pt x="511" y="254"/>
                  </a:lnTo>
                  <a:lnTo>
                    <a:pt x="511" y="310"/>
                  </a:lnTo>
                  <a:cubicBezTo>
                    <a:pt x="543" y="320"/>
                    <a:pt x="577" y="336"/>
                    <a:pt x="577" y="376"/>
                  </a:cubicBezTo>
                  <a:cubicBezTo>
                    <a:pt x="577" y="394"/>
                    <a:pt x="569" y="408"/>
                    <a:pt x="553" y="418"/>
                  </a:cubicBezTo>
                  <a:cubicBezTo>
                    <a:pt x="540" y="426"/>
                    <a:pt x="524" y="431"/>
                    <a:pt x="508" y="437"/>
                  </a:cubicBezTo>
                  <a:lnTo>
                    <a:pt x="508" y="466"/>
                  </a:lnTo>
                  <a:cubicBezTo>
                    <a:pt x="532" y="476"/>
                    <a:pt x="558" y="495"/>
                    <a:pt x="556" y="540"/>
                  </a:cubicBezTo>
                  <a:cubicBezTo>
                    <a:pt x="556" y="551"/>
                    <a:pt x="551" y="556"/>
                    <a:pt x="548" y="556"/>
                  </a:cubicBezTo>
                  <a:cubicBezTo>
                    <a:pt x="535" y="558"/>
                    <a:pt x="521" y="561"/>
                    <a:pt x="506" y="561"/>
                  </a:cubicBezTo>
                  <a:lnTo>
                    <a:pt x="506" y="572"/>
                  </a:lnTo>
                  <a:cubicBezTo>
                    <a:pt x="566" y="566"/>
                    <a:pt x="622" y="543"/>
                    <a:pt x="664" y="500"/>
                  </a:cubicBezTo>
                  <a:lnTo>
                    <a:pt x="701" y="537"/>
                  </a:lnTo>
                  <a:cubicBezTo>
                    <a:pt x="646" y="590"/>
                    <a:pt x="572" y="625"/>
                    <a:pt x="487" y="625"/>
                  </a:cubicBezTo>
                  <a:cubicBezTo>
                    <a:pt x="405" y="625"/>
                    <a:pt x="328" y="593"/>
                    <a:pt x="275" y="540"/>
                  </a:cubicBezTo>
                  <a:lnTo>
                    <a:pt x="312" y="503"/>
                  </a:lnTo>
                  <a:cubicBezTo>
                    <a:pt x="355" y="543"/>
                    <a:pt x="408" y="569"/>
                    <a:pt x="468" y="572"/>
                  </a:cubicBezTo>
                  <a:lnTo>
                    <a:pt x="468" y="561"/>
                  </a:lnTo>
                  <a:cubicBezTo>
                    <a:pt x="410" y="556"/>
                    <a:pt x="360" y="532"/>
                    <a:pt x="320" y="495"/>
                  </a:cubicBezTo>
                  <a:lnTo>
                    <a:pt x="331" y="484"/>
                  </a:lnTo>
                  <a:lnTo>
                    <a:pt x="344" y="487"/>
                  </a:lnTo>
                  <a:lnTo>
                    <a:pt x="352" y="479"/>
                  </a:lnTo>
                  <a:lnTo>
                    <a:pt x="370" y="479"/>
                  </a:lnTo>
                  <a:lnTo>
                    <a:pt x="373" y="474"/>
                  </a:lnTo>
                  <a:lnTo>
                    <a:pt x="373" y="471"/>
                  </a:lnTo>
                  <a:cubicBezTo>
                    <a:pt x="400" y="492"/>
                    <a:pt x="434" y="506"/>
                    <a:pt x="471" y="508"/>
                  </a:cubicBezTo>
                  <a:lnTo>
                    <a:pt x="471" y="498"/>
                  </a:lnTo>
                  <a:cubicBezTo>
                    <a:pt x="431" y="492"/>
                    <a:pt x="394" y="476"/>
                    <a:pt x="368" y="450"/>
                  </a:cubicBezTo>
                  <a:lnTo>
                    <a:pt x="405" y="413"/>
                  </a:lnTo>
                  <a:cubicBezTo>
                    <a:pt x="413" y="421"/>
                    <a:pt x="423" y="429"/>
                    <a:pt x="434" y="434"/>
                  </a:cubicBezTo>
                  <a:cubicBezTo>
                    <a:pt x="434" y="431"/>
                    <a:pt x="437" y="426"/>
                    <a:pt x="437" y="423"/>
                  </a:cubicBezTo>
                  <a:cubicBezTo>
                    <a:pt x="426" y="418"/>
                    <a:pt x="418" y="413"/>
                    <a:pt x="410" y="405"/>
                  </a:cubicBezTo>
                  <a:lnTo>
                    <a:pt x="447" y="368"/>
                  </a:lnTo>
                  <a:cubicBezTo>
                    <a:pt x="453" y="373"/>
                    <a:pt x="461" y="376"/>
                    <a:pt x="468" y="378"/>
                  </a:cubicBezTo>
                  <a:lnTo>
                    <a:pt x="468" y="368"/>
                  </a:lnTo>
                  <a:cubicBezTo>
                    <a:pt x="463" y="365"/>
                    <a:pt x="461" y="363"/>
                    <a:pt x="455" y="360"/>
                  </a:cubicBezTo>
                  <a:lnTo>
                    <a:pt x="466" y="349"/>
                  </a:lnTo>
                  <a:cubicBezTo>
                    <a:pt x="463" y="349"/>
                    <a:pt x="458" y="347"/>
                    <a:pt x="455" y="347"/>
                  </a:cubicBezTo>
                  <a:lnTo>
                    <a:pt x="447" y="355"/>
                  </a:lnTo>
                  <a:cubicBezTo>
                    <a:pt x="445" y="352"/>
                    <a:pt x="442" y="347"/>
                    <a:pt x="439" y="341"/>
                  </a:cubicBezTo>
                  <a:cubicBezTo>
                    <a:pt x="434" y="339"/>
                    <a:pt x="426" y="336"/>
                    <a:pt x="421" y="331"/>
                  </a:cubicBezTo>
                  <a:cubicBezTo>
                    <a:pt x="397" y="315"/>
                    <a:pt x="386" y="294"/>
                    <a:pt x="386" y="267"/>
                  </a:cubicBezTo>
                  <a:cubicBezTo>
                    <a:pt x="386" y="246"/>
                    <a:pt x="392" y="230"/>
                    <a:pt x="402" y="220"/>
                  </a:cubicBezTo>
                  <a:lnTo>
                    <a:pt x="365" y="182"/>
                  </a:lnTo>
                  <a:cubicBezTo>
                    <a:pt x="392" y="156"/>
                    <a:pt x="426" y="140"/>
                    <a:pt x="463" y="135"/>
                  </a:cubicBezTo>
                  <a:lnTo>
                    <a:pt x="463" y="124"/>
                  </a:lnTo>
                  <a:cubicBezTo>
                    <a:pt x="423" y="130"/>
                    <a:pt x="386" y="148"/>
                    <a:pt x="357" y="177"/>
                  </a:cubicBezTo>
                  <a:lnTo>
                    <a:pt x="352" y="172"/>
                  </a:lnTo>
                  <a:cubicBezTo>
                    <a:pt x="349" y="175"/>
                    <a:pt x="349" y="177"/>
                    <a:pt x="347" y="182"/>
                  </a:cubicBezTo>
                  <a:lnTo>
                    <a:pt x="349" y="185"/>
                  </a:lnTo>
                  <a:cubicBezTo>
                    <a:pt x="318" y="220"/>
                    <a:pt x="296" y="265"/>
                    <a:pt x="296" y="315"/>
                  </a:cubicBezTo>
                  <a:lnTo>
                    <a:pt x="243" y="315"/>
                  </a:lnTo>
                  <a:cubicBezTo>
                    <a:pt x="243" y="251"/>
                    <a:pt x="270" y="193"/>
                    <a:pt x="312" y="148"/>
                  </a:cubicBezTo>
                  <a:lnTo>
                    <a:pt x="328" y="164"/>
                  </a:lnTo>
                  <a:lnTo>
                    <a:pt x="331" y="164"/>
                  </a:lnTo>
                  <a:cubicBezTo>
                    <a:pt x="333" y="164"/>
                    <a:pt x="336" y="164"/>
                    <a:pt x="341" y="161"/>
                  </a:cubicBezTo>
                  <a:lnTo>
                    <a:pt x="320" y="140"/>
                  </a:lnTo>
                  <a:cubicBezTo>
                    <a:pt x="331" y="130"/>
                    <a:pt x="344" y="119"/>
                    <a:pt x="357" y="111"/>
                  </a:cubicBezTo>
                  <a:cubicBezTo>
                    <a:pt x="357" y="108"/>
                    <a:pt x="360" y="106"/>
                    <a:pt x="360" y="103"/>
                  </a:cubicBezTo>
                  <a:cubicBezTo>
                    <a:pt x="360" y="103"/>
                    <a:pt x="365" y="98"/>
                    <a:pt x="368" y="92"/>
                  </a:cubicBezTo>
                  <a:cubicBezTo>
                    <a:pt x="347" y="103"/>
                    <a:pt x="331" y="116"/>
                    <a:pt x="312" y="132"/>
                  </a:cubicBezTo>
                  <a:lnTo>
                    <a:pt x="275" y="95"/>
                  </a:lnTo>
                  <a:cubicBezTo>
                    <a:pt x="323" y="47"/>
                    <a:pt x="389" y="16"/>
                    <a:pt x="458" y="10"/>
                  </a:cubicBezTo>
                  <a:lnTo>
                    <a:pt x="458" y="8"/>
                  </a:lnTo>
                  <a:cubicBezTo>
                    <a:pt x="458" y="5"/>
                    <a:pt x="458" y="2"/>
                    <a:pt x="455" y="0"/>
                  </a:cubicBezTo>
                  <a:cubicBezTo>
                    <a:pt x="294" y="16"/>
                    <a:pt x="169" y="153"/>
                    <a:pt x="169" y="318"/>
                  </a:cubicBezTo>
                  <a:cubicBezTo>
                    <a:pt x="161" y="495"/>
                    <a:pt x="304" y="638"/>
                    <a:pt x="482" y="638"/>
                  </a:cubicBezTo>
                  <a:cubicBezTo>
                    <a:pt x="656" y="638"/>
                    <a:pt x="802" y="495"/>
                    <a:pt x="802" y="318"/>
                  </a:cubicBezTo>
                  <a:close/>
                  <a:moveTo>
                    <a:pt x="561" y="230"/>
                  </a:moveTo>
                  <a:lnTo>
                    <a:pt x="556" y="233"/>
                  </a:lnTo>
                  <a:lnTo>
                    <a:pt x="553" y="238"/>
                  </a:lnTo>
                  <a:lnTo>
                    <a:pt x="553" y="235"/>
                  </a:lnTo>
                  <a:lnTo>
                    <a:pt x="556" y="233"/>
                  </a:lnTo>
                  <a:lnTo>
                    <a:pt x="556" y="230"/>
                  </a:lnTo>
                  <a:lnTo>
                    <a:pt x="561" y="227"/>
                  </a:lnTo>
                  <a:lnTo>
                    <a:pt x="564" y="227"/>
                  </a:lnTo>
                  <a:lnTo>
                    <a:pt x="561" y="230"/>
                  </a:lnTo>
                  <a:close/>
                  <a:moveTo>
                    <a:pt x="551" y="235"/>
                  </a:moveTo>
                  <a:lnTo>
                    <a:pt x="543" y="238"/>
                  </a:lnTo>
                  <a:lnTo>
                    <a:pt x="545" y="241"/>
                  </a:lnTo>
                  <a:lnTo>
                    <a:pt x="551" y="238"/>
                  </a:lnTo>
                  <a:lnTo>
                    <a:pt x="553" y="238"/>
                  </a:lnTo>
                  <a:lnTo>
                    <a:pt x="551" y="235"/>
                  </a:lnTo>
                  <a:close/>
                  <a:moveTo>
                    <a:pt x="529" y="249"/>
                  </a:moveTo>
                  <a:lnTo>
                    <a:pt x="532" y="247"/>
                  </a:lnTo>
                  <a:lnTo>
                    <a:pt x="531" y="249"/>
                  </a:lnTo>
                  <a:lnTo>
                    <a:pt x="529" y="249"/>
                  </a:lnTo>
                  <a:close/>
                  <a:moveTo>
                    <a:pt x="540" y="241"/>
                  </a:moveTo>
                  <a:lnTo>
                    <a:pt x="537" y="238"/>
                  </a:lnTo>
                  <a:lnTo>
                    <a:pt x="532" y="247"/>
                  </a:lnTo>
                  <a:lnTo>
                    <a:pt x="540" y="241"/>
                  </a:lnTo>
                  <a:close/>
                  <a:moveTo>
                    <a:pt x="704" y="106"/>
                  </a:moveTo>
                  <a:cubicBezTo>
                    <a:pt x="757" y="161"/>
                    <a:pt x="789" y="235"/>
                    <a:pt x="789" y="315"/>
                  </a:cubicBezTo>
                  <a:lnTo>
                    <a:pt x="736" y="315"/>
                  </a:lnTo>
                  <a:cubicBezTo>
                    <a:pt x="736" y="275"/>
                    <a:pt x="725" y="235"/>
                    <a:pt x="709" y="204"/>
                  </a:cubicBezTo>
                  <a:lnTo>
                    <a:pt x="712" y="206"/>
                  </a:lnTo>
                  <a:lnTo>
                    <a:pt x="712" y="204"/>
                  </a:lnTo>
                  <a:lnTo>
                    <a:pt x="701" y="188"/>
                  </a:lnTo>
                  <a:lnTo>
                    <a:pt x="691" y="172"/>
                  </a:lnTo>
                  <a:lnTo>
                    <a:pt x="678" y="161"/>
                  </a:lnTo>
                  <a:cubicBezTo>
                    <a:pt x="672" y="156"/>
                    <a:pt x="670" y="151"/>
                    <a:pt x="664" y="145"/>
                  </a:cubicBezTo>
                  <a:lnTo>
                    <a:pt x="704" y="106"/>
                  </a:lnTo>
                  <a:close/>
                  <a:moveTo>
                    <a:pt x="638" y="175"/>
                  </a:moveTo>
                  <a:lnTo>
                    <a:pt x="651" y="175"/>
                  </a:lnTo>
                  <a:lnTo>
                    <a:pt x="654" y="177"/>
                  </a:lnTo>
                  <a:lnTo>
                    <a:pt x="651" y="182"/>
                  </a:lnTo>
                  <a:lnTo>
                    <a:pt x="670" y="193"/>
                  </a:lnTo>
                  <a:lnTo>
                    <a:pt x="672" y="193"/>
                  </a:lnTo>
                  <a:lnTo>
                    <a:pt x="694" y="220"/>
                  </a:lnTo>
                  <a:lnTo>
                    <a:pt x="701" y="217"/>
                  </a:lnTo>
                  <a:cubicBezTo>
                    <a:pt x="715" y="249"/>
                    <a:pt x="723" y="280"/>
                    <a:pt x="725" y="318"/>
                  </a:cubicBezTo>
                  <a:lnTo>
                    <a:pt x="672" y="318"/>
                  </a:lnTo>
                  <a:cubicBezTo>
                    <a:pt x="672" y="304"/>
                    <a:pt x="670" y="291"/>
                    <a:pt x="667" y="278"/>
                  </a:cubicBezTo>
                  <a:lnTo>
                    <a:pt x="670" y="275"/>
                  </a:lnTo>
                  <a:lnTo>
                    <a:pt x="672" y="259"/>
                  </a:lnTo>
                  <a:lnTo>
                    <a:pt x="670" y="241"/>
                  </a:lnTo>
                  <a:lnTo>
                    <a:pt x="664" y="220"/>
                  </a:lnTo>
                  <a:lnTo>
                    <a:pt x="649" y="198"/>
                  </a:lnTo>
                  <a:lnTo>
                    <a:pt x="651" y="201"/>
                  </a:lnTo>
                  <a:lnTo>
                    <a:pt x="654" y="198"/>
                  </a:lnTo>
                  <a:lnTo>
                    <a:pt x="643" y="190"/>
                  </a:lnTo>
                  <a:lnTo>
                    <a:pt x="643" y="193"/>
                  </a:lnTo>
                  <a:lnTo>
                    <a:pt x="654" y="209"/>
                  </a:lnTo>
                  <a:lnTo>
                    <a:pt x="662" y="222"/>
                  </a:lnTo>
                  <a:lnTo>
                    <a:pt x="667" y="235"/>
                  </a:lnTo>
                  <a:lnTo>
                    <a:pt x="670" y="243"/>
                  </a:lnTo>
                  <a:lnTo>
                    <a:pt x="672" y="259"/>
                  </a:lnTo>
                  <a:lnTo>
                    <a:pt x="667" y="259"/>
                  </a:lnTo>
                  <a:cubicBezTo>
                    <a:pt x="667" y="259"/>
                    <a:pt x="662" y="249"/>
                    <a:pt x="659" y="246"/>
                  </a:cubicBezTo>
                  <a:lnTo>
                    <a:pt x="662" y="243"/>
                  </a:lnTo>
                  <a:lnTo>
                    <a:pt x="656" y="238"/>
                  </a:lnTo>
                  <a:lnTo>
                    <a:pt x="656" y="233"/>
                  </a:lnTo>
                  <a:lnTo>
                    <a:pt x="654" y="227"/>
                  </a:lnTo>
                  <a:lnTo>
                    <a:pt x="649" y="227"/>
                  </a:lnTo>
                  <a:cubicBezTo>
                    <a:pt x="646" y="225"/>
                    <a:pt x="646" y="222"/>
                    <a:pt x="643" y="220"/>
                  </a:cubicBezTo>
                  <a:lnTo>
                    <a:pt x="646" y="217"/>
                  </a:lnTo>
                  <a:lnTo>
                    <a:pt x="643" y="214"/>
                  </a:lnTo>
                  <a:lnTo>
                    <a:pt x="638" y="217"/>
                  </a:lnTo>
                  <a:lnTo>
                    <a:pt x="641" y="209"/>
                  </a:lnTo>
                  <a:lnTo>
                    <a:pt x="638" y="206"/>
                  </a:lnTo>
                  <a:lnTo>
                    <a:pt x="635" y="212"/>
                  </a:lnTo>
                  <a:cubicBezTo>
                    <a:pt x="630" y="204"/>
                    <a:pt x="622" y="196"/>
                    <a:pt x="617" y="188"/>
                  </a:cubicBezTo>
                  <a:lnTo>
                    <a:pt x="638" y="175"/>
                  </a:lnTo>
                  <a:close/>
                  <a:moveTo>
                    <a:pt x="627" y="296"/>
                  </a:moveTo>
                  <a:lnTo>
                    <a:pt x="638" y="291"/>
                  </a:lnTo>
                  <a:lnTo>
                    <a:pt x="649" y="288"/>
                  </a:lnTo>
                  <a:lnTo>
                    <a:pt x="651" y="283"/>
                  </a:lnTo>
                  <a:lnTo>
                    <a:pt x="656" y="280"/>
                  </a:lnTo>
                  <a:lnTo>
                    <a:pt x="659" y="275"/>
                  </a:lnTo>
                  <a:lnTo>
                    <a:pt x="662" y="267"/>
                  </a:lnTo>
                  <a:cubicBezTo>
                    <a:pt x="662" y="270"/>
                    <a:pt x="664" y="273"/>
                    <a:pt x="664" y="275"/>
                  </a:cubicBezTo>
                  <a:lnTo>
                    <a:pt x="659" y="291"/>
                  </a:lnTo>
                  <a:lnTo>
                    <a:pt x="659" y="296"/>
                  </a:lnTo>
                  <a:lnTo>
                    <a:pt x="667" y="286"/>
                  </a:lnTo>
                  <a:cubicBezTo>
                    <a:pt x="670" y="294"/>
                    <a:pt x="670" y="304"/>
                    <a:pt x="670" y="312"/>
                  </a:cubicBezTo>
                  <a:lnTo>
                    <a:pt x="625" y="312"/>
                  </a:lnTo>
                  <a:lnTo>
                    <a:pt x="625" y="307"/>
                  </a:lnTo>
                  <a:lnTo>
                    <a:pt x="630" y="302"/>
                  </a:lnTo>
                  <a:lnTo>
                    <a:pt x="630" y="299"/>
                  </a:lnTo>
                  <a:lnTo>
                    <a:pt x="633" y="296"/>
                  </a:lnTo>
                  <a:lnTo>
                    <a:pt x="638" y="296"/>
                  </a:lnTo>
                  <a:lnTo>
                    <a:pt x="638" y="294"/>
                  </a:lnTo>
                  <a:lnTo>
                    <a:pt x="627" y="296"/>
                  </a:lnTo>
                  <a:close/>
                  <a:moveTo>
                    <a:pt x="564" y="262"/>
                  </a:moveTo>
                  <a:lnTo>
                    <a:pt x="569" y="262"/>
                  </a:lnTo>
                  <a:lnTo>
                    <a:pt x="564" y="259"/>
                  </a:lnTo>
                  <a:lnTo>
                    <a:pt x="566" y="249"/>
                  </a:lnTo>
                  <a:lnTo>
                    <a:pt x="572" y="243"/>
                  </a:lnTo>
                  <a:cubicBezTo>
                    <a:pt x="574" y="249"/>
                    <a:pt x="580" y="251"/>
                    <a:pt x="582" y="257"/>
                  </a:cubicBezTo>
                  <a:lnTo>
                    <a:pt x="580" y="262"/>
                  </a:lnTo>
                  <a:lnTo>
                    <a:pt x="574" y="259"/>
                  </a:lnTo>
                  <a:lnTo>
                    <a:pt x="572" y="259"/>
                  </a:lnTo>
                  <a:lnTo>
                    <a:pt x="574" y="262"/>
                  </a:lnTo>
                  <a:lnTo>
                    <a:pt x="577" y="262"/>
                  </a:lnTo>
                  <a:lnTo>
                    <a:pt x="574" y="267"/>
                  </a:lnTo>
                  <a:lnTo>
                    <a:pt x="572" y="265"/>
                  </a:lnTo>
                  <a:lnTo>
                    <a:pt x="564" y="262"/>
                  </a:lnTo>
                  <a:close/>
                  <a:moveTo>
                    <a:pt x="585" y="434"/>
                  </a:moveTo>
                  <a:lnTo>
                    <a:pt x="574" y="431"/>
                  </a:lnTo>
                  <a:lnTo>
                    <a:pt x="572" y="431"/>
                  </a:lnTo>
                  <a:lnTo>
                    <a:pt x="566" y="426"/>
                  </a:lnTo>
                  <a:lnTo>
                    <a:pt x="561" y="423"/>
                  </a:lnTo>
                  <a:lnTo>
                    <a:pt x="569" y="415"/>
                  </a:lnTo>
                  <a:lnTo>
                    <a:pt x="580" y="421"/>
                  </a:lnTo>
                  <a:lnTo>
                    <a:pt x="588" y="423"/>
                  </a:lnTo>
                  <a:lnTo>
                    <a:pt x="585" y="434"/>
                  </a:lnTo>
                  <a:close/>
                  <a:moveTo>
                    <a:pt x="617" y="196"/>
                  </a:moveTo>
                  <a:cubicBezTo>
                    <a:pt x="625" y="206"/>
                    <a:pt x="633" y="214"/>
                    <a:pt x="641" y="227"/>
                  </a:cubicBezTo>
                  <a:lnTo>
                    <a:pt x="635" y="227"/>
                  </a:lnTo>
                  <a:lnTo>
                    <a:pt x="635" y="235"/>
                  </a:lnTo>
                  <a:lnTo>
                    <a:pt x="649" y="243"/>
                  </a:lnTo>
                  <a:lnTo>
                    <a:pt x="656" y="267"/>
                  </a:lnTo>
                  <a:lnTo>
                    <a:pt x="654" y="270"/>
                  </a:lnTo>
                  <a:lnTo>
                    <a:pt x="649" y="273"/>
                  </a:lnTo>
                  <a:lnTo>
                    <a:pt x="649" y="280"/>
                  </a:lnTo>
                  <a:lnTo>
                    <a:pt x="646" y="283"/>
                  </a:lnTo>
                  <a:lnTo>
                    <a:pt x="643" y="286"/>
                  </a:lnTo>
                  <a:lnTo>
                    <a:pt x="641" y="286"/>
                  </a:lnTo>
                  <a:lnTo>
                    <a:pt x="635" y="286"/>
                  </a:lnTo>
                  <a:lnTo>
                    <a:pt x="638" y="280"/>
                  </a:lnTo>
                  <a:lnTo>
                    <a:pt x="641" y="270"/>
                  </a:lnTo>
                  <a:lnTo>
                    <a:pt x="643" y="267"/>
                  </a:lnTo>
                  <a:lnTo>
                    <a:pt x="633" y="257"/>
                  </a:lnTo>
                  <a:lnTo>
                    <a:pt x="625" y="259"/>
                  </a:lnTo>
                  <a:lnTo>
                    <a:pt x="622" y="267"/>
                  </a:lnTo>
                  <a:lnTo>
                    <a:pt x="617" y="273"/>
                  </a:lnTo>
                  <a:lnTo>
                    <a:pt x="611" y="267"/>
                  </a:lnTo>
                  <a:lnTo>
                    <a:pt x="609" y="262"/>
                  </a:lnTo>
                  <a:lnTo>
                    <a:pt x="611" y="259"/>
                  </a:lnTo>
                  <a:lnTo>
                    <a:pt x="614" y="262"/>
                  </a:lnTo>
                  <a:lnTo>
                    <a:pt x="617" y="262"/>
                  </a:lnTo>
                  <a:lnTo>
                    <a:pt x="617" y="257"/>
                  </a:lnTo>
                  <a:lnTo>
                    <a:pt x="614" y="257"/>
                  </a:lnTo>
                  <a:lnTo>
                    <a:pt x="614" y="259"/>
                  </a:lnTo>
                  <a:lnTo>
                    <a:pt x="611" y="259"/>
                  </a:lnTo>
                  <a:lnTo>
                    <a:pt x="601" y="246"/>
                  </a:lnTo>
                  <a:lnTo>
                    <a:pt x="598" y="243"/>
                  </a:lnTo>
                  <a:lnTo>
                    <a:pt x="601" y="241"/>
                  </a:lnTo>
                  <a:lnTo>
                    <a:pt x="596" y="241"/>
                  </a:lnTo>
                  <a:lnTo>
                    <a:pt x="598" y="243"/>
                  </a:lnTo>
                  <a:lnTo>
                    <a:pt x="593" y="243"/>
                  </a:lnTo>
                  <a:cubicBezTo>
                    <a:pt x="588" y="243"/>
                    <a:pt x="582" y="238"/>
                    <a:pt x="580" y="233"/>
                  </a:cubicBezTo>
                  <a:lnTo>
                    <a:pt x="617" y="196"/>
                  </a:lnTo>
                  <a:close/>
                  <a:moveTo>
                    <a:pt x="598" y="431"/>
                  </a:moveTo>
                  <a:lnTo>
                    <a:pt x="593" y="426"/>
                  </a:lnTo>
                  <a:lnTo>
                    <a:pt x="596" y="421"/>
                  </a:lnTo>
                  <a:lnTo>
                    <a:pt x="601" y="410"/>
                  </a:lnTo>
                  <a:lnTo>
                    <a:pt x="598" y="408"/>
                  </a:lnTo>
                  <a:lnTo>
                    <a:pt x="601" y="400"/>
                  </a:lnTo>
                  <a:lnTo>
                    <a:pt x="601" y="394"/>
                  </a:lnTo>
                  <a:lnTo>
                    <a:pt x="598" y="386"/>
                  </a:lnTo>
                  <a:lnTo>
                    <a:pt x="593" y="384"/>
                  </a:lnTo>
                  <a:lnTo>
                    <a:pt x="590" y="386"/>
                  </a:lnTo>
                  <a:lnTo>
                    <a:pt x="588" y="386"/>
                  </a:lnTo>
                  <a:cubicBezTo>
                    <a:pt x="590" y="381"/>
                    <a:pt x="596" y="373"/>
                    <a:pt x="598" y="368"/>
                  </a:cubicBezTo>
                  <a:lnTo>
                    <a:pt x="604" y="365"/>
                  </a:lnTo>
                  <a:lnTo>
                    <a:pt x="606" y="363"/>
                  </a:lnTo>
                  <a:lnTo>
                    <a:pt x="606" y="365"/>
                  </a:lnTo>
                  <a:lnTo>
                    <a:pt x="609" y="363"/>
                  </a:lnTo>
                  <a:lnTo>
                    <a:pt x="606" y="360"/>
                  </a:lnTo>
                  <a:lnTo>
                    <a:pt x="609" y="360"/>
                  </a:lnTo>
                  <a:lnTo>
                    <a:pt x="614" y="363"/>
                  </a:lnTo>
                  <a:lnTo>
                    <a:pt x="622" y="363"/>
                  </a:lnTo>
                  <a:lnTo>
                    <a:pt x="627" y="360"/>
                  </a:lnTo>
                  <a:lnTo>
                    <a:pt x="641" y="357"/>
                  </a:lnTo>
                  <a:lnTo>
                    <a:pt x="638" y="352"/>
                  </a:lnTo>
                  <a:lnTo>
                    <a:pt x="638" y="347"/>
                  </a:lnTo>
                  <a:lnTo>
                    <a:pt x="646" y="349"/>
                  </a:lnTo>
                  <a:lnTo>
                    <a:pt x="649" y="347"/>
                  </a:lnTo>
                  <a:lnTo>
                    <a:pt x="649" y="341"/>
                  </a:lnTo>
                  <a:lnTo>
                    <a:pt x="641" y="344"/>
                  </a:lnTo>
                  <a:lnTo>
                    <a:pt x="630" y="341"/>
                  </a:lnTo>
                  <a:lnTo>
                    <a:pt x="622" y="328"/>
                  </a:lnTo>
                  <a:lnTo>
                    <a:pt x="662" y="328"/>
                  </a:lnTo>
                  <a:cubicBezTo>
                    <a:pt x="659" y="373"/>
                    <a:pt x="641" y="415"/>
                    <a:pt x="611" y="447"/>
                  </a:cubicBezTo>
                  <a:lnTo>
                    <a:pt x="606" y="442"/>
                  </a:lnTo>
                  <a:lnTo>
                    <a:pt x="609" y="434"/>
                  </a:lnTo>
                  <a:lnTo>
                    <a:pt x="604" y="418"/>
                  </a:lnTo>
                  <a:lnTo>
                    <a:pt x="598" y="431"/>
                  </a:lnTo>
                  <a:close/>
                  <a:moveTo>
                    <a:pt x="611" y="521"/>
                  </a:moveTo>
                  <a:lnTo>
                    <a:pt x="609" y="516"/>
                  </a:lnTo>
                  <a:lnTo>
                    <a:pt x="617" y="511"/>
                  </a:lnTo>
                  <a:lnTo>
                    <a:pt x="617" y="508"/>
                  </a:lnTo>
                  <a:lnTo>
                    <a:pt x="611" y="506"/>
                  </a:lnTo>
                  <a:lnTo>
                    <a:pt x="617" y="495"/>
                  </a:lnTo>
                  <a:lnTo>
                    <a:pt x="625" y="484"/>
                  </a:lnTo>
                  <a:lnTo>
                    <a:pt x="617" y="476"/>
                  </a:lnTo>
                  <a:lnTo>
                    <a:pt x="611" y="476"/>
                  </a:lnTo>
                  <a:lnTo>
                    <a:pt x="609" y="471"/>
                  </a:lnTo>
                  <a:lnTo>
                    <a:pt x="617" y="463"/>
                  </a:lnTo>
                  <a:lnTo>
                    <a:pt x="654" y="500"/>
                  </a:lnTo>
                  <a:cubicBezTo>
                    <a:pt x="638" y="511"/>
                    <a:pt x="622" y="524"/>
                    <a:pt x="606" y="532"/>
                  </a:cubicBezTo>
                  <a:lnTo>
                    <a:pt x="611" y="521"/>
                  </a:lnTo>
                  <a:close/>
                  <a:moveTo>
                    <a:pt x="651" y="484"/>
                  </a:moveTo>
                  <a:lnTo>
                    <a:pt x="656" y="479"/>
                  </a:lnTo>
                  <a:lnTo>
                    <a:pt x="654" y="458"/>
                  </a:lnTo>
                  <a:lnTo>
                    <a:pt x="651" y="458"/>
                  </a:lnTo>
                  <a:lnTo>
                    <a:pt x="654" y="455"/>
                  </a:lnTo>
                  <a:lnTo>
                    <a:pt x="646" y="453"/>
                  </a:lnTo>
                  <a:lnTo>
                    <a:pt x="643" y="461"/>
                  </a:lnTo>
                  <a:lnTo>
                    <a:pt x="643" y="468"/>
                  </a:lnTo>
                  <a:lnTo>
                    <a:pt x="641" y="471"/>
                  </a:lnTo>
                  <a:lnTo>
                    <a:pt x="625" y="455"/>
                  </a:lnTo>
                  <a:cubicBezTo>
                    <a:pt x="656" y="421"/>
                    <a:pt x="678" y="378"/>
                    <a:pt x="678" y="328"/>
                  </a:cubicBezTo>
                  <a:lnTo>
                    <a:pt x="731" y="328"/>
                  </a:lnTo>
                  <a:cubicBezTo>
                    <a:pt x="728" y="392"/>
                    <a:pt x="701" y="450"/>
                    <a:pt x="662" y="492"/>
                  </a:cubicBezTo>
                  <a:lnTo>
                    <a:pt x="651" y="484"/>
                  </a:lnTo>
                  <a:close/>
                  <a:moveTo>
                    <a:pt x="667" y="498"/>
                  </a:moveTo>
                  <a:cubicBezTo>
                    <a:pt x="709" y="453"/>
                    <a:pt x="739" y="392"/>
                    <a:pt x="739" y="325"/>
                  </a:cubicBezTo>
                  <a:lnTo>
                    <a:pt x="792" y="325"/>
                  </a:lnTo>
                  <a:cubicBezTo>
                    <a:pt x="789" y="408"/>
                    <a:pt x="757" y="479"/>
                    <a:pt x="704" y="535"/>
                  </a:cubicBezTo>
                  <a:lnTo>
                    <a:pt x="667" y="498"/>
                  </a:lnTo>
                  <a:close/>
                  <a:moveTo>
                    <a:pt x="349" y="447"/>
                  </a:moveTo>
                  <a:cubicBezTo>
                    <a:pt x="347" y="445"/>
                    <a:pt x="341" y="439"/>
                    <a:pt x="339" y="434"/>
                  </a:cubicBezTo>
                  <a:lnTo>
                    <a:pt x="341" y="421"/>
                  </a:lnTo>
                  <a:lnTo>
                    <a:pt x="336" y="408"/>
                  </a:lnTo>
                  <a:lnTo>
                    <a:pt x="336" y="386"/>
                  </a:lnTo>
                  <a:lnTo>
                    <a:pt x="331" y="373"/>
                  </a:lnTo>
                  <a:lnTo>
                    <a:pt x="331" y="365"/>
                  </a:lnTo>
                  <a:lnTo>
                    <a:pt x="323" y="352"/>
                  </a:lnTo>
                  <a:lnTo>
                    <a:pt x="318" y="349"/>
                  </a:lnTo>
                  <a:lnTo>
                    <a:pt x="320" y="341"/>
                  </a:lnTo>
                  <a:lnTo>
                    <a:pt x="318" y="336"/>
                  </a:lnTo>
                  <a:lnTo>
                    <a:pt x="320" y="328"/>
                  </a:lnTo>
                  <a:lnTo>
                    <a:pt x="328" y="328"/>
                  </a:lnTo>
                  <a:lnTo>
                    <a:pt x="331" y="323"/>
                  </a:lnTo>
                  <a:lnTo>
                    <a:pt x="344" y="323"/>
                  </a:lnTo>
                  <a:lnTo>
                    <a:pt x="347" y="325"/>
                  </a:lnTo>
                  <a:lnTo>
                    <a:pt x="344" y="339"/>
                  </a:lnTo>
                  <a:lnTo>
                    <a:pt x="341" y="341"/>
                  </a:lnTo>
                  <a:lnTo>
                    <a:pt x="347" y="352"/>
                  </a:lnTo>
                  <a:lnTo>
                    <a:pt x="344" y="355"/>
                  </a:lnTo>
                  <a:lnTo>
                    <a:pt x="341" y="352"/>
                  </a:lnTo>
                  <a:lnTo>
                    <a:pt x="344" y="357"/>
                  </a:lnTo>
                  <a:lnTo>
                    <a:pt x="347" y="365"/>
                  </a:lnTo>
                  <a:lnTo>
                    <a:pt x="349" y="365"/>
                  </a:lnTo>
                  <a:lnTo>
                    <a:pt x="349" y="360"/>
                  </a:lnTo>
                  <a:lnTo>
                    <a:pt x="347" y="357"/>
                  </a:lnTo>
                  <a:lnTo>
                    <a:pt x="347" y="352"/>
                  </a:lnTo>
                  <a:lnTo>
                    <a:pt x="347" y="344"/>
                  </a:lnTo>
                  <a:lnTo>
                    <a:pt x="349" y="328"/>
                  </a:lnTo>
                  <a:lnTo>
                    <a:pt x="347" y="323"/>
                  </a:lnTo>
                  <a:lnTo>
                    <a:pt x="355" y="323"/>
                  </a:lnTo>
                  <a:cubicBezTo>
                    <a:pt x="357" y="355"/>
                    <a:pt x="370" y="384"/>
                    <a:pt x="392" y="405"/>
                  </a:cubicBezTo>
                  <a:lnTo>
                    <a:pt x="349" y="447"/>
                  </a:lnTo>
                  <a:close/>
                  <a:moveTo>
                    <a:pt x="315" y="344"/>
                  </a:moveTo>
                  <a:lnTo>
                    <a:pt x="310" y="352"/>
                  </a:lnTo>
                  <a:lnTo>
                    <a:pt x="302" y="352"/>
                  </a:lnTo>
                  <a:cubicBezTo>
                    <a:pt x="299" y="344"/>
                    <a:pt x="299" y="336"/>
                    <a:pt x="299" y="328"/>
                  </a:cubicBezTo>
                  <a:lnTo>
                    <a:pt x="315" y="328"/>
                  </a:lnTo>
                  <a:lnTo>
                    <a:pt x="312" y="341"/>
                  </a:lnTo>
                  <a:lnTo>
                    <a:pt x="315" y="344"/>
                  </a:lnTo>
                  <a:close/>
                  <a:moveTo>
                    <a:pt x="333" y="310"/>
                  </a:moveTo>
                  <a:lnTo>
                    <a:pt x="333" y="299"/>
                  </a:lnTo>
                  <a:lnTo>
                    <a:pt x="339" y="296"/>
                  </a:lnTo>
                  <a:lnTo>
                    <a:pt x="349" y="299"/>
                  </a:lnTo>
                  <a:lnTo>
                    <a:pt x="352" y="302"/>
                  </a:lnTo>
                  <a:cubicBezTo>
                    <a:pt x="352" y="307"/>
                    <a:pt x="349" y="315"/>
                    <a:pt x="349" y="320"/>
                  </a:cubicBezTo>
                  <a:lnTo>
                    <a:pt x="336" y="320"/>
                  </a:lnTo>
                  <a:lnTo>
                    <a:pt x="333" y="310"/>
                  </a:lnTo>
                  <a:close/>
                  <a:moveTo>
                    <a:pt x="386" y="347"/>
                  </a:moveTo>
                  <a:lnTo>
                    <a:pt x="397" y="349"/>
                  </a:lnTo>
                  <a:lnTo>
                    <a:pt x="394" y="352"/>
                  </a:lnTo>
                  <a:lnTo>
                    <a:pt x="402" y="357"/>
                  </a:lnTo>
                  <a:lnTo>
                    <a:pt x="402" y="352"/>
                  </a:lnTo>
                  <a:lnTo>
                    <a:pt x="408" y="344"/>
                  </a:lnTo>
                  <a:lnTo>
                    <a:pt x="413" y="349"/>
                  </a:lnTo>
                  <a:lnTo>
                    <a:pt x="418" y="355"/>
                  </a:lnTo>
                  <a:lnTo>
                    <a:pt x="410" y="357"/>
                  </a:lnTo>
                  <a:lnTo>
                    <a:pt x="413" y="365"/>
                  </a:lnTo>
                  <a:lnTo>
                    <a:pt x="418" y="363"/>
                  </a:lnTo>
                  <a:lnTo>
                    <a:pt x="418" y="360"/>
                  </a:lnTo>
                  <a:lnTo>
                    <a:pt x="423" y="357"/>
                  </a:lnTo>
                  <a:lnTo>
                    <a:pt x="426" y="347"/>
                  </a:lnTo>
                  <a:cubicBezTo>
                    <a:pt x="429" y="355"/>
                    <a:pt x="434" y="360"/>
                    <a:pt x="439" y="365"/>
                  </a:cubicBezTo>
                  <a:lnTo>
                    <a:pt x="402" y="402"/>
                  </a:lnTo>
                  <a:cubicBezTo>
                    <a:pt x="384" y="384"/>
                    <a:pt x="373" y="360"/>
                    <a:pt x="370" y="333"/>
                  </a:cubicBezTo>
                  <a:lnTo>
                    <a:pt x="378" y="341"/>
                  </a:lnTo>
                  <a:lnTo>
                    <a:pt x="386" y="341"/>
                  </a:lnTo>
                  <a:lnTo>
                    <a:pt x="386" y="347"/>
                  </a:lnTo>
                  <a:close/>
                  <a:moveTo>
                    <a:pt x="384" y="233"/>
                  </a:moveTo>
                  <a:cubicBezTo>
                    <a:pt x="376" y="241"/>
                    <a:pt x="370" y="251"/>
                    <a:pt x="365" y="262"/>
                  </a:cubicBezTo>
                  <a:lnTo>
                    <a:pt x="363" y="262"/>
                  </a:lnTo>
                  <a:lnTo>
                    <a:pt x="357" y="265"/>
                  </a:lnTo>
                  <a:lnTo>
                    <a:pt x="355" y="265"/>
                  </a:lnTo>
                  <a:lnTo>
                    <a:pt x="349" y="270"/>
                  </a:lnTo>
                  <a:lnTo>
                    <a:pt x="357" y="270"/>
                  </a:lnTo>
                  <a:lnTo>
                    <a:pt x="363" y="267"/>
                  </a:lnTo>
                  <a:lnTo>
                    <a:pt x="363" y="270"/>
                  </a:lnTo>
                  <a:lnTo>
                    <a:pt x="357" y="273"/>
                  </a:lnTo>
                  <a:lnTo>
                    <a:pt x="355" y="273"/>
                  </a:lnTo>
                  <a:lnTo>
                    <a:pt x="347" y="278"/>
                  </a:lnTo>
                  <a:lnTo>
                    <a:pt x="339" y="278"/>
                  </a:lnTo>
                  <a:lnTo>
                    <a:pt x="328" y="299"/>
                  </a:lnTo>
                  <a:lnTo>
                    <a:pt x="331" y="304"/>
                  </a:lnTo>
                  <a:lnTo>
                    <a:pt x="325" y="312"/>
                  </a:lnTo>
                  <a:lnTo>
                    <a:pt x="325" y="320"/>
                  </a:lnTo>
                  <a:lnTo>
                    <a:pt x="302" y="320"/>
                  </a:lnTo>
                  <a:cubicBezTo>
                    <a:pt x="299" y="270"/>
                    <a:pt x="318" y="227"/>
                    <a:pt x="347" y="196"/>
                  </a:cubicBezTo>
                  <a:lnTo>
                    <a:pt x="384" y="233"/>
                  </a:lnTo>
                  <a:close/>
                  <a:moveTo>
                    <a:pt x="299" y="474"/>
                  </a:moveTo>
                  <a:lnTo>
                    <a:pt x="310" y="482"/>
                  </a:lnTo>
                  <a:lnTo>
                    <a:pt x="312" y="484"/>
                  </a:lnTo>
                  <a:lnTo>
                    <a:pt x="304" y="492"/>
                  </a:lnTo>
                  <a:cubicBezTo>
                    <a:pt x="299" y="487"/>
                    <a:pt x="296" y="484"/>
                    <a:pt x="294" y="479"/>
                  </a:cubicBezTo>
                  <a:lnTo>
                    <a:pt x="299" y="474"/>
                  </a:lnTo>
                  <a:close/>
                  <a:moveTo>
                    <a:pt x="288" y="328"/>
                  </a:moveTo>
                  <a:lnTo>
                    <a:pt x="288" y="344"/>
                  </a:lnTo>
                  <a:lnTo>
                    <a:pt x="283" y="347"/>
                  </a:lnTo>
                  <a:lnTo>
                    <a:pt x="280" y="352"/>
                  </a:lnTo>
                  <a:lnTo>
                    <a:pt x="267" y="368"/>
                  </a:lnTo>
                  <a:lnTo>
                    <a:pt x="267" y="392"/>
                  </a:lnTo>
                  <a:lnTo>
                    <a:pt x="254" y="397"/>
                  </a:lnTo>
                  <a:lnTo>
                    <a:pt x="246" y="397"/>
                  </a:lnTo>
                  <a:cubicBezTo>
                    <a:pt x="238" y="376"/>
                    <a:pt x="235" y="352"/>
                    <a:pt x="235" y="328"/>
                  </a:cubicBezTo>
                  <a:lnTo>
                    <a:pt x="288" y="328"/>
                  </a:lnTo>
                  <a:close/>
                  <a:moveTo>
                    <a:pt x="233" y="394"/>
                  </a:moveTo>
                  <a:lnTo>
                    <a:pt x="230" y="392"/>
                  </a:lnTo>
                  <a:lnTo>
                    <a:pt x="214" y="392"/>
                  </a:lnTo>
                  <a:lnTo>
                    <a:pt x="220" y="397"/>
                  </a:lnTo>
                  <a:lnTo>
                    <a:pt x="206" y="394"/>
                  </a:lnTo>
                  <a:lnTo>
                    <a:pt x="209" y="392"/>
                  </a:lnTo>
                  <a:lnTo>
                    <a:pt x="206" y="389"/>
                  </a:lnTo>
                  <a:lnTo>
                    <a:pt x="196" y="394"/>
                  </a:lnTo>
                  <a:lnTo>
                    <a:pt x="193" y="400"/>
                  </a:lnTo>
                  <a:lnTo>
                    <a:pt x="196" y="415"/>
                  </a:lnTo>
                  <a:lnTo>
                    <a:pt x="206" y="442"/>
                  </a:lnTo>
                  <a:lnTo>
                    <a:pt x="212" y="450"/>
                  </a:lnTo>
                  <a:lnTo>
                    <a:pt x="214" y="450"/>
                  </a:lnTo>
                  <a:lnTo>
                    <a:pt x="206" y="434"/>
                  </a:lnTo>
                  <a:lnTo>
                    <a:pt x="204" y="426"/>
                  </a:lnTo>
                  <a:lnTo>
                    <a:pt x="206" y="423"/>
                  </a:lnTo>
                  <a:lnTo>
                    <a:pt x="206" y="418"/>
                  </a:lnTo>
                  <a:lnTo>
                    <a:pt x="212" y="418"/>
                  </a:lnTo>
                  <a:lnTo>
                    <a:pt x="220" y="431"/>
                  </a:lnTo>
                  <a:lnTo>
                    <a:pt x="222" y="431"/>
                  </a:lnTo>
                  <a:lnTo>
                    <a:pt x="222" y="423"/>
                  </a:lnTo>
                  <a:lnTo>
                    <a:pt x="225" y="426"/>
                  </a:lnTo>
                  <a:lnTo>
                    <a:pt x="225" y="431"/>
                  </a:lnTo>
                  <a:lnTo>
                    <a:pt x="233" y="434"/>
                  </a:lnTo>
                  <a:lnTo>
                    <a:pt x="235" y="431"/>
                  </a:lnTo>
                  <a:lnTo>
                    <a:pt x="235" y="437"/>
                  </a:lnTo>
                  <a:lnTo>
                    <a:pt x="238" y="442"/>
                  </a:lnTo>
                  <a:lnTo>
                    <a:pt x="243" y="442"/>
                  </a:lnTo>
                  <a:lnTo>
                    <a:pt x="254" y="458"/>
                  </a:lnTo>
                  <a:lnTo>
                    <a:pt x="259" y="461"/>
                  </a:lnTo>
                  <a:lnTo>
                    <a:pt x="262" y="453"/>
                  </a:lnTo>
                  <a:cubicBezTo>
                    <a:pt x="273" y="468"/>
                    <a:pt x="283" y="484"/>
                    <a:pt x="299" y="500"/>
                  </a:cubicBezTo>
                  <a:lnTo>
                    <a:pt x="262" y="537"/>
                  </a:lnTo>
                  <a:cubicBezTo>
                    <a:pt x="209" y="484"/>
                    <a:pt x="175" y="410"/>
                    <a:pt x="175" y="328"/>
                  </a:cubicBezTo>
                  <a:lnTo>
                    <a:pt x="228" y="328"/>
                  </a:lnTo>
                  <a:cubicBezTo>
                    <a:pt x="225" y="349"/>
                    <a:pt x="230" y="373"/>
                    <a:pt x="235" y="394"/>
                  </a:cubicBezTo>
                  <a:lnTo>
                    <a:pt x="233" y="394"/>
                  </a:lnTo>
                  <a:close/>
                  <a:moveTo>
                    <a:pt x="296" y="143"/>
                  </a:moveTo>
                  <a:cubicBezTo>
                    <a:pt x="254" y="188"/>
                    <a:pt x="228" y="249"/>
                    <a:pt x="225" y="318"/>
                  </a:cubicBezTo>
                  <a:lnTo>
                    <a:pt x="172" y="318"/>
                  </a:lnTo>
                  <a:cubicBezTo>
                    <a:pt x="175" y="235"/>
                    <a:pt x="206" y="161"/>
                    <a:pt x="259" y="106"/>
                  </a:cubicBezTo>
                  <a:lnTo>
                    <a:pt x="296" y="143"/>
                  </a:lnTo>
                  <a:close/>
                  <a:moveTo>
                    <a:pt x="606" y="235"/>
                  </a:moveTo>
                  <a:lnTo>
                    <a:pt x="606" y="241"/>
                  </a:lnTo>
                  <a:lnTo>
                    <a:pt x="614" y="238"/>
                  </a:lnTo>
                  <a:lnTo>
                    <a:pt x="617" y="233"/>
                  </a:lnTo>
                  <a:lnTo>
                    <a:pt x="611" y="225"/>
                  </a:lnTo>
                  <a:lnTo>
                    <a:pt x="614" y="220"/>
                  </a:lnTo>
                  <a:lnTo>
                    <a:pt x="622" y="225"/>
                  </a:lnTo>
                  <a:lnTo>
                    <a:pt x="619" y="222"/>
                  </a:lnTo>
                  <a:lnTo>
                    <a:pt x="622" y="220"/>
                  </a:lnTo>
                  <a:lnTo>
                    <a:pt x="619" y="214"/>
                  </a:lnTo>
                  <a:lnTo>
                    <a:pt x="611" y="220"/>
                  </a:lnTo>
                  <a:lnTo>
                    <a:pt x="609" y="225"/>
                  </a:lnTo>
                  <a:lnTo>
                    <a:pt x="606" y="230"/>
                  </a:lnTo>
                  <a:lnTo>
                    <a:pt x="609" y="235"/>
                  </a:lnTo>
                  <a:lnTo>
                    <a:pt x="609" y="238"/>
                  </a:lnTo>
                  <a:lnTo>
                    <a:pt x="606" y="235"/>
                  </a:lnTo>
                  <a:close/>
                  <a:moveTo>
                    <a:pt x="228" y="471"/>
                  </a:moveTo>
                  <a:lnTo>
                    <a:pt x="222" y="458"/>
                  </a:lnTo>
                  <a:lnTo>
                    <a:pt x="217" y="455"/>
                  </a:lnTo>
                  <a:lnTo>
                    <a:pt x="228" y="471"/>
                  </a:lnTo>
                  <a:close/>
                  <a:moveTo>
                    <a:pt x="458" y="294"/>
                  </a:moveTo>
                  <a:lnTo>
                    <a:pt x="458" y="291"/>
                  </a:lnTo>
                  <a:lnTo>
                    <a:pt x="453" y="286"/>
                  </a:lnTo>
                  <a:lnTo>
                    <a:pt x="455" y="280"/>
                  </a:lnTo>
                  <a:lnTo>
                    <a:pt x="458" y="280"/>
                  </a:lnTo>
                  <a:lnTo>
                    <a:pt x="458" y="257"/>
                  </a:lnTo>
                  <a:cubicBezTo>
                    <a:pt x="447" y="259"/>
                    <a:pt x="442" y="266"/>
                    <a:pt x="442" y="273"/>
                  </a:cubicBezTo>
                  <a:cubicBezTo>
                    <a:pt x="442" y="281"/>
                    <a:pt x="447" y="288"/>
                    <a:pt x="458" y="29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4" name="Freeform 245">
              <a:extLst>
                <a:ext uri="{FF2B5EF4-FFF2-40B4-BE49-F238E27FC236}">
                  <a16:creationId xmlns:a16="http://schemas.microsoft.com/office/drawing/2014/main" id="{E8312490-297D-F74C-BBD4-50320B1CE4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5150" y="4591050"/>
              <a:ext cx="14288" cy="23813"/>
            </a:xfrm>
            <a:custGeom>
              <a:avLst/>
              <a:gdLst>
                <a:gd name="T0" fmla="*/ 12894 w 41"/>
                <a:gd name="T1" fmla="*/ 23447 h 65"/>
                <a:gd name="T2" fmla="*/ 0 w 41"/>
                <a:gd name="T3" fmla="*/ 0 h 65"/>
                <a:gd name="T4" fmla="*/ 0 w 41"/>
                <a:gd name="T5" fmla="*/ 7693 h 65"/>
                <a:gd name="T6" fmla="*/ 12894 w 41"/>
                <a:gd name="T7" fmla="*/ 234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1" h="65">
                  <a:moveTo>
                    <a:pt x="37" y="64"/>
                  </a:moveTo>
                  <a:cubicBezTo>
                    <a:pt x="40" y="27"/>
                    <a:pt x="19" y="11"/>
                    <a:pt x="0" y="0"/>
                  </a:cubicBezTo>
                  <a:lnTo>
                    <a:pt x="0" y="21"/>
                  </a:lnTo>
                  <a:cubicBezTo>
                    <a:pt x="16" y="29"/>
                    <a:pt x="32" y="40"/>
                    <a:pt x="37" y="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5" name="Freeform 246">
              <a:extLst>
                <a:ext uri="{FF2B5EF4-FFF2-40B4-BE49-F238E27FC236}">
                  <a16:creationId xmlns:a16="http://schemas.microsoft.com/office/drawing/2014/main" id="{77673F9E-87EA-7249-889E-59CB30DD5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5463" y="4437063"/>
              <a:ext cx="79375" cy="107950"/>
            </a:xfrm>
            <a:custGeom>
              <a:avLst/>
              <a:gdLst>
                <a:gd name="T0" fmla="*/ 49564 w 221"/>
                <a:gd name="T1" fmla="*/ 1087 h 298"/>
                <a:gd name="T2" fmla="*/ 42740 w 221"/>
                <a:gd name="T3" fmla="*/ 0 h 298"/>
                <a:gd name="T4" fmla="*/ 42740 w 221"/>
                <a:gd name="T5" fmla="*/ 5796 h 298"/>
                <a:gd name="T6" fmla="*/ 42740 w 221"/>
                <a:gd name="T7" fmla="*/ 12316 h 298"/>
                <a:gd name="T8" fmla="*/ 46691 w 221"/>
                <a:gd name="T9" fmla="*/ 13403 h 298"/>
                <a:gd name="T10" fmla="*/ 62854 w 221"/>
                <a:gd name="T11" fmla="*/ 30791 h 298"/>
                <a:gd name="T12" fmla="*/ 42022 w 221"/>
                <a:gd name="T13" fmla="*/ 49990 h 298"/>
                <a:gd name="T14" fmla="*/ 38071 w 221"/>
                <a:gd name="T15" fmla="*/ 50715 h 298"/>
                <a:gd name="T16" fmla="*/ 27656 w 221"/>
                <a:gd name="T17" fmla="*/ 53613 h 298"/>
                <a:gd name="T18" fmla="*/ 23705 w 221"/>
                <a:gd name="T19" fmla="*/ 54699 h 298"/>
                <a:gd name="T20" fmla="*/ 0 w 221"/>
                <a:gd name="T21" fmla="*/ 81506 h 298"/>
                <a:gd name="T22" fmla="*/ 25860 w 221"/>
                <a:gd name="T23" fmla="*/ 107588 h 298"/>
                <a:gd name="T24" fmla="*/ 25860 w 221"/>
                <a:gd name="T25" fmla="*/ 93098 h 298"/>
                <a:gd name="T26" fmla="*/ 16162 w 221"/>
                <a:gd name="T27" fmla="*/ 81506 h 298"/>
                <a:gd name="T28" fmla="*/ 24782 w 221"/>
                <a:gd name="T29" fmla="*/ 69914 h 298"/>
                <a:gd name="T30" fmla="*/ 28374 w 221"/>
                <a:gd name="T31" fmla="*/ 68103 h 298"/>
                <a:gd name="T32" fmla="*/ 39149 w 221"/>
                <a:gd name="T33" fmla="*/ 65205 h 298"/>
                <a:gd name="T34" fmla="*/ 42740 w 221"/>
                <a:gd name="T35" fmla="*/ 64118 h 298"/>
                <a:gd name="T36" fmla="*/ 79016 w 221"/>
                <a:gd name="T37" fmla="*/ 30791 h 298"/>
                <a:gd name="T38" fmla="*/ 49564 w 221"/>
                <a:gd name="T39" fmla="*/ 1087 h 29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21" h="298">
                  <a:moveTo>
                    <a:pt x="138" y="3"/>
                  </a:moveTo>
                  <a:cubicBezTo>
                    <a:pt x="132" y="3"/>
                    <a:pt x="127" y="0"/>
                    <a:pt x="119" y="0"/>
                  </a:cubicBezTo>
                  <a:lnTo>
                    <a:pt x="119" y="16"/>
                  </a:lnTo>
                  <a:lnTo>
                    <a:pt x="119" y="34"/>
                  </a:lnTo>
                  <a:cubicBezTo>
                    <a:pt x="124" y="34"/>
                    <a:pt x="130" y="34"/>
                    <a:pt x="130" y="37"/>
                  </a:cubicBezTo>
                  <a:cubicBezTo>
                    <a:pt x="164" y="45"/>
                    <a:pt x="175" y="64"/>
                    <a:pt x="175" y="85"/>
                  </a:cubicBezTo>
                  <a:cubicBezTo>
                    <a:pt x="175" y="117"/>
                    <a:pt x="148" y="127"/>
                    <a:pt x="117" y="138"/>
                  </a:cubicBezTo>
                  <a:cubicBezTo>
                    <a:pt x="114" y="138"/>
                    <a:pt x="109" y="140"/>
                    <a:pt x="106" y="140"/>
                  </a:cubicBezTo>
                  <a:cubicBezTo>
                    <a:pt x="95" y="143"/>
                    <a:pt x="85" y="146"/>
                    <a:pt x="77" y="148"/>
                  </a:cubicBezTo>
                  <a:cubicBezTo>
                    <a:pt x="74" y="148"/>
                    <a:pt x="69" y="151"/>
                    <a:pt x="66" y="151"/>
                  </a:cubicBezTo>
                  <a:cubicBezTo>
                    <a:pt x="29" y="162"/>
                    <a:pt x="0" y="180"/>
                    <a:pt x="0" y="225"/>
                  </a:cubicBezTo>
                  <a:cubicBezTo>
                    <a:pt x="0" y="270"/>
                    <a:pt x="34" y="286"/>
                    <a:pt x="72" y="297"/>
                  </a:cubicBezTo>
                  <a:lnTo>
                    <a:pt x="72" y="257"/>
                  </a:lnTo>
                  <a:cubicBezTo>
                    <a:pt x="56" y="249"/>
                    <a:pt x="45" y="241"/>
                    <a:pt x="45" y="225"/>
                  </a:cubicBezTo>
                  <a:cubicBezTo>
                    <a:pt x="45" y="209"/>
                    <a:pt x="56" y="201"/>
                    <a:pt x="69" y="193"/>
                  </a:cubicBezTo>
                  <a:cubicBezTo>
                    <a:pt x="72" y="191"/>
                    <a:pt x="77" y="191"/>
                    <a:pt x="79" y="188"/>
                  </a:cubicBezTo>
                  <a:cubicBezTo>
                    <a:pt x="87" y="185"/>
                    <a:pt x="98" y="183"/>
                    <a:pt x="109" y="180"/>
                  </a:cubicBezTo>
                  <a:cubicBezTo>
                    <a:pt x="111" y="180"/>
                    <a:pt x="117" y="177"/>
                    <a:pt x="119" y="177"/>
                  </a:cubicBezTo>
                  <a:cubicBezTo>
                    <a:pt x="167" y="164"/>
                    <a:pt x="220" y="148"/>
                    <a:pt x="220" y="85"/>
                  </a:cubicBezTo>
                  <a:cubicBezTo>
                    <a:pt x="220" y="53"/>
                    <a:pt x="196" y="16"/>
                    <a:pt x="138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6" name="Freeform 247">
              <a:extLst>
                <a:ext uri="{FF2B5EF4-FFF2-40B4-BE49-F238E27FC236}">
                  <a16:creationId xmlns:a16="http://schemas.microsoft.com/office/drawing/2014/main" id="{836477D9-8178-1A46-AC61-DC36A6B4D2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1338" y="4533900"/>
              <a:ext cx="46037" cy="57150"/>
            </a:xfrm>
            <a:custGeom>
              <a:avLst/>
              <a:gdLst>
                <a:gd name="T0" fmla="*/ 9711 w 128"/>
                <a:gd name="T1" fmla="*/ 56793 h 160"/>
                <a:gd name="T2" fmla="*/ 9711 w 128"/>
                <a:gd name="T3" fmla="*/ 45363 h 160"/>
                <a:gd name="T4" fmla="*/ 13308 w 128"/>
                <a:gd name="T5" fmla="*/ 41434 h 160"/>
                <a:gd name="T6" fmla="*/ 20861 w 128"/>
                <a:gd name="T7" fmla="*/ 38576 h 160"/>
                <a:gd name="T8" fmla="*/ 24817 w 128"/>
                <a:gd name="T9" fmla="*/ 37862 h 160"/>
                <a:gd name="T10" fmla="*/ 45677 w 128"/>
                <a:gd name="T11" fmla="*/ 19645 h 160"/>
                <a:gd name="T12" fmla="*/ 25896 w 128"/>
                <a:gd name="T13" fmla="*/ 0 h 160"/>
                <a:gd name="T14" fmla="*/ 25896 w 128"/>
                <a:gd name="T15" fmla="*/ 12144 h 160"/>
                <a:gd name="T16" fmla="*/ 33449 w 128"/>
                <a:gd name="T17" fmla="*/ 18931 h 160"/>
                <a:gd name="T18" fmla="*/ 25896 w 128"/>
                <a:gd name="T19" fmla="*/ 26432 h 160"/>
                <a:gd name="T20" fmla="*/ 21940 w 128"/>
                <a:gd name="T21" fmla="*/ 27503 h 160"/>
                <a:gd name="T22" fmla="*/ 14387 w 128"/>
                <a:gd name="T23" fmla="*/ 30361 h 160"/>
                <a:gd name="T24" fmla="*/ 10430 w 128"/>
                <a:gd name="T25" fmla="*/ 32147 h 160"/>
                <a:gd name="T26" fmla="*/ 0 w 128"/>
                <a:gd name="T27" fmla="*/ 44291 h 160"/>
                <a:gd name="T28" fmla="*/ 9711 w 128"/>
                <a:gd name="T29" fmla="*/ 56793 h 1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8" h="160">
                  <a:moveTo>
                    <a:pt x="27" y="159"/>
                  </a:moveTo>
                  <a:lnTo>
                    <a:pt x="27" y="127"/>
                  </a:lnTo>
                  <a:cubicBezTo>
                    <a:pt x="27" y="122"/>
                    <a:pt x="32" y="119"/>
                    <a:pt x="37" y="116"/>
                  </a:cubicBezTo>
                  <a:cubicBezTo>
                    <a:pt x="42" y="114"/>
                    <a:pt x="50" y="111"/>
                    <a:pt x="58" y="108"/>
                  </a:cubicBezTo>
                  <a:cubicBezTo>
                    <a:pt x="61" y="106"/>
                    <a:pt x="66" y="106"/>
                    <a:pt x="69" y="106"/>
                  </a:cubicBezTo>
                  <a:cubicBezTo>
                    <a:pt x="95" y="98"/>
                    <a:pt x="127" y="87"/>
                    <a:pt x="127" y="55"/>
                  </a:cubicBezTo>
                  <a:cubicBezTo>
                    <a:pt x="127" y="24"/>
                    <a:pt x="101" y="10"/>
                    <a:pt x="72" y="0"/>
                  </a:cubicBezTo>
                  <a:lnTo>
                    <a:pt x="72" y="34"/>
                  </a:lnTo>
                  <a:cubicBezTo>
                    <a:pt x="85" y="40"/>
                    <a:pt x="93" y="45"/>
                    <a:pt x="93" y="53"/>
                  </a:cubicBezTo>
                  <a:cubicBezTo>
                    <a:pt x="93" y="63"/>
                    <a:pt x="79" y="71"/>
                    <a:pt x="72" y="74"/>
                  </a:cubicBezTo>
                  <a:cubicBezTo>
                    <a:pt x="69" y="77"/>
                    <a:pt x="64" y="77"/>
                    <a:pt x="61" y="77"/>
                  </a:cubicBezTo>
                  <a:cubicBezTo>
                    <a:pt x="53" y="79"/>
                    <a:pt x="45" y="82"/>
                    <a:pt x="40" y="85"/>
                  </a:cubicBezTo>
                  <a:cubicBezTo>
                    <a:pt x="37" y="87"/>
                    <a:pt x="32" y="87"/>
                    <a:pt x="29" y="90"/>
                  </a:cubicBezTo>
                  <a:cubicBezTo>
                    <a:pt x="13" y="98"/>
                    <a:pt x="0" y="108"/>
                    <a:pt x="0" y="124"/>
                  </a:cubicBezTo>
                  <a:cubicBezTo>
                    <a:pt x="0" y="143"/>
                    <a:pt x="13" y="151"/>
                    <a:pt x="27" y="15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7" name="Freeform 248">
              <a:extLst>
                <a:ext uri="{FF2B5EF4-FFF2-40B4-BE49-F238E27FC236}">
                  <a16:creationId xmlns:a16="http://schemas.microsoft.com/office/drawing/2014/main" id="{B4288176-6AE3-674A-B60A-4FCD24444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1650" y="4438650"/>
              <a:ext cx="47625" cy="46038"/>
            </a:xfrm>
            <a:custGeom>
              <a:avLst/>
              <a:gdLst>
                <a:gd name="T0" fmla="*/ 35092 w 133"/>
                <a:gd name="T1" fmla="*/ 5035 h 128"/>
                <a:gd name="T2" fmla="*/ 18978 w 133"/>
                <a:gd name="T3" fmla="*/ 13308 h 128"/>
                <a:gd name="T4" fmla="*/ 13249 w 133"/>
                <a:gd name="T5" fmla="*/ 20142 h 128"/>
                <a:gd name="T6" fmla="*/ 10384 w 133"/>
                <a:gd name="T7" fmla="*/ 29493 h 128"/>
                <a:gd name="T8" fmla="*/ 8594 w 133"/>
                <a:gd name="T9" fmla="*/ 34529 h 128"/>
                <a:gd name="T10" fmla="*/ 6445 w 133"/>
                <a:gd name="T11" fmla="*/ 38125 h 128"/>
                <a:gd name="T12" fmla="*/ 0 w 133"/>
                <a:gd name="T13" fmla="*/ 41362 h 128"/>
                <a:gd name="T14" fmla="*/ 5729 w 133"/>
                <a:gd name="T15" fmla="*/ 40283 h 128"/>
                <a:gd name="T16" fmla="*/ 3581 w 133"/>
                <a:gd name="T17" fmla="*/ 45678 h 128"/>
                <a:gd name="T18" fmla="*/ 10384 w 133"/>
                <a:gd name="T19" fmla="*/ 35248 h 128"/>
                <a:gd name="T20" fmla="*/ 19695 w 133"/>
                <a:gd name="T21" fmla="*/ 32370 h 128"/>
                <a:gd name="T22" fmla="*/ 36883 w 133"/>
                <a:gd name="T23" fmla="*/ 20142 h 128"/>
                <a:gd name="T24" fmla="*/ 47267 w 133"/>
                <a:gd name="T25" fmla="*/ 12589 h 128"/>
                <a:gd name="T26" fmla="*/ 46551 w 133"/>
                <a:gd name="T27" fmla="*/ 0 h 128"/>
                <a:gd name="T28" fmla="*/ 35092 w 133"/>
                <a:gd name="T29" fmla="*/ 5035 h 128"/>
                <a:gd name="T30" fmla="*/ 21843 w 133"/>
                <a:gd name="T31" fmla="*/ 23019 h 128"/>
                <a:gd name="T32" fmla="*/ 18978 w 133"/>
                <a:gd name="T33" fmla="*/ 24098 h 128"/>
                <a:gd name="T34" fmla="*/ 23633 w 133"/>
                <a:gd name="T35" fmla="*/ 17264 h 128"/>
                <a:gd name="T36" fmla="*/ 27572 w 133"/>
                <a:gd name="T37" fmla="*/ 17264 h 128"/>
                <a:gd name="T38" fmla="*/ 21843 w 133"/>
                <a:gd name="T39" fmla="*/ 23019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33" h="128">
                  <a:moveTo>
                    <a:pt x="98" y="14"/>
                  </a:moveTo>
                  <a:cubicBezTo>
                    <a:pt x="87" y="16"/>
                    <a:pt x="71" y="19"/>
                    <a:pt x="53" y="37"/>
                  </a:cubicBezTo>
                  <a:cubicBezTo>
                    <a:pt x="50" y="40"/>
                    <a:pt x="42" y="51"/>
                    <a:pt x="37" y="56"/>
                  </a:cubicBezTo>
                  <a:cubicBezTo>
                    <a:pt x="32" y="64"/>
                    <a:pt x="32" y="75"/>
                    <a:pt x="29" y="82"/>
                  </a:cubicBezTo>
                  <a:cubicBezTo>
                    <a:pt x="24" y="90"/>
                    <a:pt x="24" y="96"/>
                    <a:pt x="24" y="96"/>
                  </a:cubicBezTo>
                  <a:cubicBezTo>
                    <a:pt x="24" y="96"/>
                    <a:pt x="24" y="101"/>
                    <a:pt x="18" y="106"/>
                  </a:cubicBezTo>
                  <a:cubicBezTo>
                    <a:pt x="14" y="111"/>
                    <a:pt x="7" y="116"/>
                    <a:pt x="0" y="115"/>
                  </a:cubicBezTo>
                  <a:cubicBezTo>
                    <a:pt x="8" y="116"/>
                    <a:pt x="16" y="112"/>
                    <a:pt x="16" y="112"/>
                  </a:cubicBezTo>
                  <a:cubicBezTo>
                    <a:pt x="16" y="112"/>
                    <a:pt x="13" y="117"/>
                    <a:pt x="10" y="127"/>
                  </a:cubicBezTo>
                  <a:cubicBezTo>
                    <a:pt x="18" y="109"/>
                    <a:pt x="26" y="101"/>
                    <a:pt x="29" y="98"/>
                  </a:cubicBezTo>
                  <a:cubicBezTo>
                    <a:pt x="32" y="98"/>
                    <a:pt x="40" y="98"/>
                    <a:pt x="55" y="90"/>
                  </a:cubicBezTo>
                  <a:cubicBezTo>
                    <a:pt x="71" y="82"/>
                    <a:pt x="95" y="67"/>
                    <a:pt x="103" y="56"/>
                  </a:cubicBezTo>
                  <a:cubicBezTo>
                    <a:pt x="111" y="45"/>
                    <a:pt x="122" y="40"/>
                    <a:pt x="132" y="35"/>
                  </a:cubicBezTo>
                  <a:cubicBezTo>
                    <a:pt x="130" y="24"/>
                    <a:pt x="130" y="11"/>
                    <a:pt x="130" y="0"/>
                  </a:cubicBezTo>
                  <a:cubicBezTo>
                    <a:pt x="111" y="6"/>
                    <a:pt x="100" y="11"/>
                    <a:pt x="98" y="14"/>
                  </a:cubicBezTo>
                  <a:close/>
                  <a:moveTo>
                    <a:pt x="61" y="64"/>
                  </a:moveTo>
                  <a:lnTo>
                    <a:pt x="53" y="67"/>
                  </a:lnTo>
                  <a:lnTo>
                    <a:pt x="66" y="48"/>
                  </a:lnTo>
                  <a:lnTo>
                    <a:pt x="77" y="48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8" name="Freeform 249">
              <a:extLst>
                <a:ext uri="{FF2B5EF4-FFF2-40B4-BE49-F238E27FC236}">
                  <a16:creationId xmlns:a16="http://schemas.microsoft.com/office/drawing/2014/main" id="{807EE19C-0C11-2049-964D-3C83C4E664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4038" y="4576763"/>
              <a:ext cx="7937" cy="65087"/>
            </a:xfrm>
            <a:custGeom>
              <a:avLst/>
              <a:gdLst>
                <a:gd name="T0" fmla="*/ 1804 w 22"/>
                <a:gd name="T1" fmla="*/ 1798 h 181"/>
                <a:gd name="T2" fmla="*/ 0 w 22"/>
                <a:gd name="T3" fmla="*/ 2877 h 181"/>
                <a:gd name="T4" fmla="*/ 1082 w 22"/>
                <a:gd name="T5" fmla="*/ 54299 h 181"/>
                <a:gd name="T6" fmla="*/ 6855 w 22"/>
                <a:gd name="T7" fmla="*/ 54299 h 181"/>
                <a:gd name="T8" fmla="*/ 7576 w 22"/>
                <a:gd name="T9" fmla="*/ 0 h 181"/>
                <a:gd name="T10" fmla="*/ 4690 w 22"/>
                <a:gd name="T11" fmla="*/ 1079 h 181"/>
                <a:gd name="T12" fmla="*/ 1804 w 22"/>
                <a:gd name="T13" fmla="*/ 1798 h 1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181">
                  <a:moveTo>
                    <a:pt x="5" y="5"/>
                  </a:moveTo>
                  <a:cubicBezTo>
                    <a:pt x="3" y="5"/>
                    <a:pt x="0" y="8"/>
                    <a:pt x="0" y="8"/>
                  </a:cubicBezTo>
                  <a:cubicBezTo>
                    <a:pt x="0" y="8"/>
                    <a:pt x="3" y="148"/>
                    <a:pt x="3" y="151"/>
                  </a:cubicBezTo>
                  <a:cubicBezTo>
                    <a:pt x="3" y="180"/>
                    <a:pt x="19" y="180"/>
                    <a:pt x="19" y="151"/>
                  </a:cubicBezTo>
                  <a:cubicBezTo>
                    <a:pt x="19" y="148"/>
                    <a:pt x="21" y="0"/>
                    <a:pt x="21" y="0"/>
                  </a:cubicBezTo>
                  <a:cubicBezTo>
                    <a:pt x="21" y="0"/>
                    <a:pt x="16" y="3"/>
                    <a:pt x="13" y="3"/>
                  </a:cubicBezTo>
                  <a:cubicBezTo>
                    <a:pt x="11" y="3"/>
                    <a:pt x="8" y="5"/>
                    <a:pt x="5" y="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9" name="Freeform 250">
              <a:extLst>
                <a:ext uri="{FF2B5EF4-FFF2-40B4-BE49-F238E27FC236}">
                  <a16:creationId xmlns:a16="http://schemas.microsoft.com/office/drawing/2014/main" id="{DCD844E4-C9B1-A642-A90B-797858B86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450" y="4505325"/>
              <a:ext cx="11113" cy="57150"/>
            </a:xfrm>
            <a:custGeom>
              <a:avLst/>
              <a:gdLst>
                <a:gd name="T0" fmla="*/ 6668 w 30"/>
                <a:gd name="T1" fmla="*/ 54650 h 160"/>
                <a:gd name="T2" fmla="*/ 9631 w 30"/>
                <a:gd name="T3" fmla="*/ 53935 h 160"/>
                <a:gd name="T4" fmla="*/ 10743 w 30"/>
                <a:gd name="T5" fmla="*/ 0 h 160"/>
                <a:gd name="T6" fmla="*/ 0 w 30"/>
                <a:gd name="T7" fmla="*/ 2858 h 160"/>
                <a:gd name="T8" fmla="*/ 1852 w 30"/>
                <a:gd name="T9" fmla="*/ 56793 h 160"/>
                <a:gd name="T10" fmla="*/ 6668 w 30"/>
                <a:gd name="T11" fmla="*/ 54650 h 16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" h="160">
                  <a:moveTo>
                    <a:pt x="18" y="153"/>
                  </a:moveTo>
                  <a:cubicBezTo>
                    <a:pt x="21" y="153"/>
                    <a:pt x="24" y="151"/>
                    <a:pt x="26" y="151"/>
                  </a:cubicBezTo>
                  <a:cubicBezTo>
                    <a:pt x="26" y="143"/>
                    <a:pt x="29" y="21"/>
                    <a:pt x="29" y="0"/>
                  </a:cubicBezTo>
                  <a:cubicBezTo>
                    <a:pt x="18" y="2"/>
                    <a:pt x="8" y="5"/>
                    <a:pt x="0" y="8"/>
                  </a:cubicBezTo>
                  <a:cubicBezTo>
                    <a:pt x="2" y="24"/>
                    <a:pt x="2" y="145"/>
                    <a:pt x="5" y="159"/>
                  </a:cubicBezTo>
                  <a:cubicBezTo>
                    <a:pt x="10" y="156"/>
                    <a:pt x="13" y="156"/>
                    <a:pt x="18" y="15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0" name="Freeform 251">
              <a:extLst>
                <a:ext uri="{FF2B5EF4-FFF2-40B4-BE49-F238E27FC236}">
                  <a16:creationId xmlns:a16="http://schemas.microsoft.com/office/drawing/2014/main" id="{E8D159B6-3321-CC42-BBA5-ADE7B2836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4513" y="4395788"/>
              <a:ext cx="30162" cy="90487"/>
            </a:xfrm>
            <a:custGeom>
              <a:avLst/>
              <a:gdLst>
                <a:gd name="T0" fmla="*/ 6905 w 83"/>
                <a:gd name="T1" fmla="*/ 28956 h 250"/>
                <a:gd name="T2" fmla="*/ 7631 w 83"/>
                <a:gd name="T3" fmla="*/ 90125 h 250"/>
                <a:gd name="T4" fmla="*/ 14536 w 83"/>
                <a:gd name="T5" fmla="*/ 88315 h 250"/>
                <a:gd name="T6" fmla="*/ 19260 w 83"/>
                <a:gd name="T7" fmla="*/ 87229 h 250"/>
                <a:gd name="T8" fmla="*/ 20350 w 83"/>
                <a:gd name="T9" fmla="*/ 28956 h 250"/>
                <a:gd name="T10" fmla="*/ 14536 w 83"/>
                <a:gd name="T11" fmla="*/ 0 h 250"/>
                <a:gd name="T12" fmla="*/ 6905 w 83"/>
                <a:gd name="T13" fmla="*/ 28956 h 2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250">
                  <a:moveTo>
                    <a:pt x="19" y="80"/>
                  </a:moveTo>
                  <a:cubicBezTo>
                    <a:pt x="19" y="80"/>
                    <a:pt x="21" y="217"/>
                    <a:pt x="21" y="249"/>
                  </a:cubicBezTo>
                  <a:cubicBezTo>
                    <a:pt x="26" y="246"/>
                    <a:pt x="34" y="246"/>
                    <a:pt x="40" y="244"/>
                  </a:cubicBezTo>
                  <a:cubicBezTo>
                    <a:pt x="45" y="244"/>
                    <a:pt x="48" y="241"/>
                    <a:pt x="53" y="241"/>
                  </a:cubicBezTo>
                  <a:cubicBezTo>
                    <a:pt x="53" y="212"/>
                    <a:pt x="56" y="82"/>
                    <a:pt x="56" y="80"/>
                  </a:cubicBezTo>
                  <a:cubicBezTo>
                    <a:pt x="61" y="58"/>
                    <a:pt x="82" y="0"/>
                    <a:pt x="40" y="0"/>
                  </a:cubicBezTo>
                  <a:cubicBezTo>
                    <a:pt x="0" y="0"/>
                    <a:pt x="16" y="61"/>
                    <a:pt x="19" y="8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1" name="Freeform 252">
              <a:extLst>
                <a:ext uri="{FF2B5EF4-FFF2-40B4-BE49-F238E27FC236}">
                  <a16:creationId xmlns:a16="http://schemas.microsoft.com/office/drawing/2014/main" id="{26BFBA76-80C0-7E4C-BC5F-92DC03182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9150" y="4718050"/>
              <a:ext cx="53975" cy="69850"/>
            </a:xfrm>
            <a:custGeom>
              <a:avLst/>
              <a:gdLst>
                <a:gd name="T0" fmla="*/ 35264 w 150"/>
                <a:gd name="T1" fmla="*/ 54207 h 192"/>
                <a:gd name="T2" fmla="*/ 17272 w 150"/>
                <a:gd name="T3" fmla="*/ 54207 h 192"/>
                <a:gd name="T4" fmla="*/ 13314 w 150"/>
                <a:gd name="T5" fmla="*/ 69486 h 192"/>
                <a:gd name="T6" fmla="*/ 0 w 150"/>
                <a:gd name="T7" fmla="*/ 69486 h 192"/>
                <a:gd name="T8" fmla="*/ 19071 w 150"/>
                <a:gd name="T9" fmla="*/ 0 h 192"/>
                <a:gd name="T10" fmla="*/ 34544 w 150"/>
                <a:gd name="T11" fmla="*/ 0 h 192"/>
                <a:gd name="T12" fmla="*/ 53615 w 150"/>
                <a:gd name="T13" fmla="*/ 69486 h 192"/>
                <a:gd name="T14" fmla="*/ 39222 w 150"/>
                <a:gd name="T15" fmla="*/ 69486 h 192"/>
                <a:gd name="T16" fmla="*/ 35264 w 150"/>
                <a:gd name="T17" fmla="*/ 54207 h 192"/>
                <a:gd name="T18" fmla="*/ 26628 w 150"/>
                <a:gd name="T19" fmla="*/ 13461 h 192"/>
                <a:gd name="T20" fmla="*/ 26628 w 150"/>
                <a:gd name="T21" fmla="*/ 13461 h 192"/>
                <a:gd name="T22" fmla="*/ 20151 w 150"/>
                <a:gd name="T23" fmla="*/ 42565 h 192"/>
                <a:gd name="T24" fmla="*/ 33465 w 150"/>
                <a:gd name="T25" fmla="*/ 42565 h 192"/>
                <a:gd name="T26" fmla="*/ 26628 w 150"/>
                <a:gd name="T27" fmla="*/ 13461 h 19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0" h="192">
                  <a:moveTo>
                    <a:pt x="98" y="149"/>
                  </a:moveTo>
                  <a:lnTo>
                    <a:pt x="48" y="149"/>
                  </a:lnTo>
                  <a:lnTo>
                    <a:pt x="37" y="191"/>
                  </a:lnTo>
                  <a:lnTo>
                    <a:pt x="0" y="191"/>
                  </a:lnTo>
                  <a:lnTo>
                    <a:pt x="53" y="0"/>
                  </a:lnTo>
                  <a:lnTo>
                    <a:pt x="96" y="0"/>
                  </a:lnTo>
                  <a:lnTo>
                    <a:pt x="149" y="191"/>
                  </a:lnTo>
                  <a:lnTo>
                    <a:pt x="109" y="191"/>
                  </a:lnTo>
                  <a:lnTo>
                    <a:pt x="98" y="149"/>
                  </a:lnTo>
                  <a:close/>
                  <a:moveTo>
                    <a:pt x="74" y="37"/>
                  </a:moveTo>
                  <a:lnTo>
                    <a:pt x="74" y="37"/>
                  </a:lnTo>
                  <a:lnTo>
                    <a:pt x="56" y="117"/>
                  </a:lnTo>
                  <a:lnTo>
                    <a:pt x="93" y="117"/>
                  </a:lnTo>
                  <a:lnTo>
                    <a:pt x="74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2" name="Freeform 253">
              <a:extLst>
                <a:ext uri="{FF2B5EF4-FFF2-40B4-BE49-F238E27FC236}">
                  <a16:creationId xmlns:a16="http://schemas.microsoft.com/office/drawing/2014/main" id="{5F409DD2-5FBA-6742-B81B-138082A903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8" y="4735513"/>
              <a:ext cx="61912" cy="52387"/>
            </a:xfrm>
            <a:custGeom>
              <a:avLst/>
              <a:gdLst>
                <a:gd name="T0" fmla="*/ 47239 w 173"/>
                <a:gd name="T1" fmla="*/ 19281 h 144"/>
                <a:gd name="T2" fmla="*/ 42587 w 173"/>
                <a:gd name="T3" fmla="*/ 11278 h 144"/>
                <a:gd name="T4" fmla="*/ 36861 w 173"/>
                <a:gd name="T5" fmla="*/ 19281 h 144"/>
                <a:gd name="T6" fmla="*/ 36861 w 173"/>
                <a:gd name="T7" fmla="*/ 52023 h 144"/>
                <a:gd name="T8" fmla="*/ 23620 w 173"/>
                <a:gd name="T9" fmla="*/ 52023 h 144"/>
                <a:gd name="T10" fmla="*/ 23620 w 173"/>
                <a:gd name="T11" fmla="*/ 20009 h 144"/>
                <a:gd name="T12" fmla="*/ 18967 w 173"/>
                <a:gd name="T13" fmla="*/ 12369 h 144"/>
                <a:gd name="T14" fmla="*/ 13241 w 173"/>
                <a:gd name="T15" fmla="*/ 22919 h 144"/>
                <a:gd name="T16" fmla="*/ 13241 w 173"/>
                <a:gd name="T17" fmla="*/ 52023 h 144"/>
                <a:gd name="T18" fmla="*/ 0 w 173"/>
                <a:gd name="T19" fmla="*/ 52023 h 144"/>
                <a:gd name="T20" fmla="*/ 0 w 173"/>
                <a:gd name="T21" fmla="*/ 11278 h 144"/>
                <a:gd name="T22" fmla="*/ 0 w 173"/>
                <a:gd name="T23" fmla="*/ 728 h 144"/>
                <a:gd name="T24" fmla="*/ 12168 w 173"/>
                <a:gd name="T25" fmla="*/ 728 h 144"/>
                <a:gd name="T26" fmla="*/ 12168 w 173"/>
                <a:gd name="T27" fmla="*/ 9459 h 144"/>
                <a:gd name="T28" fmla="*/ 12168 w 173"/>
                <a:gd name="T29" fmla="*/ 9459 h 144"/>
                <a:gd name="T30" fmla="*/ 24693 w 173"/>
                <a:gd name="T31" fmla="*/ 0 h 144"/>
                <a:gd name="T32" fmla="*/ 35787 w 173"/>
                <a:gd name="T33" fmla="*/ 8367 h 144"/>
                <a:gd name="T34" fmla="*/ 48313 w 173"/>
                <a:gd name="T35" fmla="*/ 0 h 144"/>
                <a:gd name="T36" fmla="*/ 61554 w 173"/>
                <a:gd name="T37" fmla="*/ 18190 h 144"/>
                <a:gd name="T38" fmla="*/ 61554 w 173"/>
                <a:gd name="T39" fmla="*/ 52023 h 144"/>
                <a:gd name="T40" fmla="*/ 48313 w 173"/>
                <a:gd name="T41" fmla="*/ 52023 h 144"/>
                <a:gd name="T42" fmla="*/ 48313 w 173"/>
                <a:gd name="T43" fmla="*/ 19281 h 144"/>
                <a:gd name="T44" fmla="*/ 47239 w 173"/>
                <a:gd name="T45" fmla="*/ 19281 h 1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3" h="144">
                  <a:moveTo>
                    <a:pt x="132" y="53"/>
                  </a:moveTo>
                  <a:cubicBezTo>
                    <a:pt x="132" y="37"/>
                    <a:pt x="127" y="31"/>
                    <a:pt x="119" y="31"/>
                  </a:cubicBezTo>
                  <a:cubicBezTo>
                    <a:pt x="108" y="31"/>
                    <a:pt x="103" y="39"/>
                    <a:pt x="103" y="53"/>
                  </a:cubicBezTo>
                  <a:lnTo>
                    <a:pt x="103" y="143"/>
                  </a:lnTo>
                  <a:lnTo>
                    <a:pt x="66" y="143"/>
                  </a:lnTo>
                  <a:lnTo>
                    <a:pt x="66" y="55"/>
                  </a:lnTo>
                  <a:cubicBezTo>
                    <a:pt x="66" y="37"/>
                    <a:pt x="58" y="34"/>
                    <a:pt x="53" y="34"/>
                  </a:cubicBezTo>
                  <a:cubicBezTo>
                    <a:pt x="39" y="34"/>
                    <a:pt x="37" y="47"/>
                    <a:pt x="37" y="63"/>
                  </a:cubicBezTo>
                  <a:lnTo>
                    <a:pt x="37" y="143"/>
                  </a:lnTo>
                  <a:lnTo>
                    <a:pt x="0" y="143"/>
                  </a:lnTo>
                  <a:lnTo>
                    <a:pt x="0" y="31"/>
                  </a:lnTo>
                  <a:cubicBezTo>
                    <a:pt x="0" y="18"/>
                    <a:pt x="0" y="10"/>
                    <a:pt x="0" y="2"/>
                  </a:cubicBezTo>
                  <a:lnTo>
                    <a:pt x="34" y="2"/>
                  </a:lnTo>
                  <a:cubicBezTo>
                    <a:pt x="34" y="7"/>
                    <a:pt x="34" y="15"/>
                    <a:pt x="34" y="26"/>
                  </a:cubicBezTo>
                  <a:cubicBezTo>
                    <a:pt x="39" y="10"/>
                    <a:pt x="51" y="0"/>
                    <a:pt x="69" y="0"/>
                  </a:cubicBezTo>
                  <a:cubicBezTo>
                    <a:pt x="88" y="0"/>
                    <a:pt x="95" y="10"/>
                    <a:pt x="100" y="23"/>
                  </a:cubicBezTo>
                  <a:cubicBezTo>
                    <a:pt x="106" y="10"/>
                    <a:pt x="114" y="0"/>
                    <a:pt x="135" y="0"/>
                  </a:cubicBezTo>
                  <a:cubicBezTo>
                    <a:pt x="161" y="0"/>
                    <a:pt x="172" y="23"/>
                    <a:pt x="172" y="50"/>
                  </a:cubicBezTo>
                  <a:lnTo>
                    <a:pt x="172" y="143"/>
                  </a:lnTo>
                  <a:lnTo>
                    <a:pt x="135" y="143"/>
                  </a:lnTo>
                  <a:lnTo>
                    <a:pt x="135" y="53"/>
                  </a:lnTo>
                  <a:lnTo>
                    <a:pt x="132" y="5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3" name="Freeform 254">
              <a:extLst>
                <a:ext uri="{FF2B5EF4-FFF2-40B4-BE49-F238E27FC236}">
                  <a16:creationId xmlns:a16="http://schemas.microsoft.com/office/drawing/2014/main" id="{D763692A-4A6A-6948-8685-460905BBC8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6150" y="4735513"/>
              <a:ext cx="38100" cy="52387"/>
            </a:xfrm>
            <a:custGeom>
              <a:avLst/>
              <a:gdLst>
                <a:gd name="T0" fmla="*/ 13175 w 107"/>
                <a:gd name="T1" fmla="*/ 30292 h 147"/>
                <a:gd name="T2" fmla="*/ 23857 w 107"/>
                <a:gd name="T3" fmla="*/ 41339 h 147"/>
                <a:gd name="T4" fmla="*/ 35964 w 107"/>
                <a:gd name="T5" fmla="*/ 37776 h 147"/>
                <a:gd name="T6" fmla="*/ 35964 w 107"/>
                <a:gd name="T7" fmla="*/ 49180 h 147"/>
                <a:gd name="T8" fmla="*/ 21721 w 107"/>
                <a:gd name="T9" fmla="*/ 52031 h 147"/>
                <a:gd name="T10" fmla="*/ 0 w 107"/>
                <a:gd name="T11" fmla="*/ 25303 h 147"/>
                <a:gd name="T12" fmla="*/ 18872 w 107"/>
                <a:gd name="T13" fmla="*/ 0 h 147"/>
                <a:gd name="T14" fmla="*/ 37744 w 107"/>
                <a:gd name="T15" fmla="*/ 26372 h 147"/>
                <a:gd name="T16" fmla="*/ 37744 w 107"/>
                <a:gd name="T17" fmla="*/ 30292 h 147"/>
                <a:gd name="T18" fmla="*/ 13175 w 107"/>
                <a:gd name="T19" fmla="*/ 30292 h 147"/>
                <a:gd name="T20" fmla="*/ 26706 w 107"/>
                <a:gd name="T21" fmla="*/ 21739 h 147"/>
                <a:gd name="T22" fmla="*/ 19940 w 107"/>
                <a:gd name="T23" fmla="*/ 9266 h 147"/>
                <a:gd name="T24" fmla="*/ 13175 w 107"/>
                <a:gd name="T25" fmla="*/ 21739 h 147"/>
                <a:gd name="T26" fmla="*/ 26706 w 107"/>
                <a:gd name="T27" fmla="*/ 21739 h 14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7" h="147">
                  <a:moveTo>
                    <a:pt x="37" y="85"/>
                  </a:moveTo>
                  <a:cubicBezTo>
                    <a:pt x="37" y="101"/>
                    <a:pt x="48" y="116"/>
                    <a:pt x="67" y="116"/>
                  </a:cubicBezTo>
                  <a:cubicBezTo>
                    <a:pt x="80" y="116"/>
                    <a:pt x="93" y="111"/>
                    <a:pt x="101" y="106"/>
                  </a:cubicBezTo>
                  <a:lnTo>
                    <a:pt x="101" y="138"/>
                  </a:lnTo>
                  <a:cubicBezTo>
                    <a:pt x="90" y="143"/>
                    <a:pt x="75" y="146"/>
                    <a:pt x="61" y="146"/>
                  </a:cubicBezTo>
                  <a:cubicBezTo>
                    <a:pt x="19" y="146"/>
                    <a:pt x="0" y="116"/>
                    <a:pt x="0" y="71"/>
                  </a:cubicBezTo>
                  <a:cubicBezTo>
                    <a:pt x="0" y="34"/>
                    <a:pt x="19" y="0"/>
                    <a:pt x="53" y="0"/>
                  </a:cubicBezTo>
                  <a:cubicBezTo>
                    <a:pt x="64" y="0"/>
                    <a:pt x="106" y="0"/>
                    <a:pt x="106" y="74"/>
                  </a:cubicBezTo>
                  <a:lnTo>
                    <a:pt x="106" y="85"/>
                  </a:lnTo>
                  <a:lnTo>
                    <a:pt x="37" y="85"/>
                  </a:lnTo>
                  <a:close/>
                  <a:moveTo>
                    <a:pt x="75" y="61"/>
                  </a:moveTo>
                  <a:cubicBezTo>
                    <a:pt x="75" y="42"/>
                    <a:pt x="69" y="26"/>
                    <a:pt x="56" y="26"/>
                  </a:cubicBezTo>
                  <a:cubicBezTo>
                    <a:pt x="37" y="26"/>
                    <a:pt x="37" y="53"/>
                    <a:pt x="37" y="61"/>
                  </a:cubicBezTo>
                  <a:lnTo>
                    <a:pt x="75" y="6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4" name="Freeform 255">
              <a:extLst>
                <a:ext uri="{FF2B5EF4-FFF2-40B4-BE49-F238E27FC236}">
                  <a16:creationId xmlns:a16="http://schemas.microsoft.com/office/drawing/2014/main" id="{84D75CE3-782B-0A47-8388-FA01B4251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188" y="4735513"/>
              <a:ext cx="26987" cy="52387"/>
            </a:xfrm>
            <a:custGeom>
              <a:avLst/>
              <a:gdLst>
                <a:gd name="T0" fmla="*/ 0 w 75"/>
                <a:gd name="T1" fmla="*/ 0 h 144"/>
                <a:gd name="T2" fmla="*/ 12594 w 75"/>
                <a:gd name="T3" fmla="*/ 0 h 144"/>
                <a:gd name="T4" fmla="*/ 12594 w 75"/>
                <a:gd name="T5" fmla="*/ 9459 h 144"/>
                <a:gd name="T6" fmla="*/ 24828 w 75"/>
                <a:gd name="T7" fmla="*/ 0 h 144"/>
                <a:gd name="T8" fmla="*/ 26627 w 75"/>
                <a:gd name="T9" fmla="*/ 0 h 144"/>
                <a:gd name="T10" fmla="*/ 26627 w 75"/>
                <a:gd name="T11" fmla="*/ 14188 h 144"/>
                <a:gd name="T12" fmla="*/ 21949 w 75"/>
                <a:gd name="T13" fmla="*/ 13461 h 144"/>
                <a:gd name="T14" fmla="*/ 13314 w 75"/>
                <a:gd name="T15" fmla="*/ 28740 h 144"/>
                <a:gd name="T16" fmla="*/ 13314 w 75"/>
                <a:gd name="T17" fmla="*/ 52023 h 144"/>
                <a:gd name="T18" fmla="*/ 0 w 75"/>
                <a:gd name="T19" fmla="*/ 52023 h 144"/>
                <a:gd name="T20" fmla="*/ 0 w 75"/>
                <a:gd name="T21" fmla="*/ 10550 h 144"/>
                <a:gd name="T22" fmla="*/ 0 w 75"/>
                <a:gd name="T23" fmla="*/ 0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5" h="144">
                  <a:moveTo>
                    <a:pt x="0" y="0"/>
                  </a:moveTo>
                  <a:lnTo>
                    <a:pt x="35" y="0"/>
                  </a:lnTo>
                  <a:lnTo>
                    <a:pt x="35" y="26"/>
                  </a:lnTo>
                  <a:cubicBezTo>
                    <a:pt x="43" y="10"/>
                    <a:pt x="48" y="0"/>
                    <a:pt x="69" y="0"/>
                  </a:cubicBezTo>
                  <a:lnTo>
                    <a:pt x="74" y="0"/>
                  </a:lnTo>
                  <a:lnTo>
                    <a:pt x="74" y="39"/>
                  </a:lnTo>
                  <a:cubicBezTo>
                    <a:pt x="72" y="39"/>
                    <a:pt x="66" y="37"/>
                    <a:pt x="61" y="37"/>
                  </a:cubicBezTo>
                  <a:cubicBezTo>
                    <a:pt x="40" y="37"/>
                    <a:pt x="37" y="58"/>
                    <a:pt x="37" y="79"/>
                  </a:cubicBezTo>
                  <a:lnTo>
                    <a:pt x="37" y="143"/>
                  </a:lnTo>
                  <a:lnTo>
                    <a:pt x="0" y="143"/>
                  </a:lnTo>
                  <a:lnTo>
                    <a:pt x="0" y="29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" name="Freeform 256">
              <a:extLst>
                <a:ext uri="{FF2B5EF4-FFF2-40B4-BE49-F238E27FC236}">
                  <a16:creationId xmlns:a16="http://schemas.microsoft.com/office/drawing/2014/main" id="{2C8FB925-F9E3-384D-AF5B-4A964A9CC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7113" y="4713288"/>
              <a:ext cx="14287" cy="74612"/>
            </a:xfrm>
            <a:custGeom>
              <a:avLst/>
              <a:gdLst>
                <a:gd name="T0" fmla="*/ 0 w 38"/>
                <a:gd name="T1" fmla="*/ 0 h 208"/>
                <a:gd name="T2" fmla="*/ 13911 w 38"/>
                <a:gd name="T3" fmla="*/ 0 h 208"/>
                <a:gd name="T4" fmla="*/ 13911 w 38"/>
                <a:gd name="T5" fmla="*/ 13272 h 208"/>
                <a:gd name="T6" fmla="*/ 0 w 38"/>
                <a:gd name="T7" fmla="*/ 13272 h 208"/>
                <a:gd name="T8" fmla="*/ 0 w 38"/>
                <a:gd name="T9" fmla="*/ 0 h 208"/>
                <a:gd name="T10" fmla="*/ 0 w 38"/>
                <a:gd name="T11" fmla="*/ 22958 h 208"/>
                <a:gd name="T12" fmla="*/ 13911 w 38"/>
                <a:gd name="T13" fmla="*/ 22958 h 208"/>
                <a:gd name="T14" fmla="*/ 13911 w 38"/>
                <a:gd name="T15" fmla="*/ 74253 h 208"/>
                <a:gd name="T16" fmla="*/ 0 w 38"/>
                <a:gd name="T17" fmla="*/ 74253 h 208"/>
                <a:gd name="T18" fmla="*/ 0 w 38"/>
                <a:gd name="T19" fmla="*/ 22958 h 20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8" h="208">
                  <a:moveTo>
                    <a:pt x="0" y="0"/>
                  </a:moveTo>
                  <a:lnTo>
                    <a:pt x="37" y="0"/>
                  </a:lnTo>
                  <a:lnTo>
                    <a:pt x="37" y="37"/>
                  </a:lnTo>
                  <a:lnTo>
                    <a:pt x="0" y="37"/>
                  </a:lnTo>
                  <a:lnTo>
                    <a:pt x="0" y="0"/>
                  </a:lnTo>
                  <a:close/>
                  <a:moveTo>
                    <a:pt x="0" y="64"/>
                  </a:moveTo>
                  <a:lnTo>
                    <a:pt x="37" y="64"/>
                  </a:lnTo>
                  <a:lnTo>
                    <a:pt x="37" y="207"/>
                  </a:lnTo>
                  <a:lnTo>
                    <a:pt x="0" y="207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" name="Freeform 257">
              <a:extLst>
                <a:ext uri="{FF2B5EF4-FFF2-40B4-BE49-F238E27FC236}">
                  <a16:creationId xmlns:a16="http://schemas.microsoft.com/office/drawing/2014/main" id="{53A83FF0-18C3-B143-9320-333DAA349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163" y="4735513"/>
              <a:ext cx="33337" cy="52387"/>
            </a:xfrm>
            <a:custGeom>
              <a:avLst/>
              <a:gdLst>
                <a:gd name="T0" fmla="*/ 32982 w 94"/>
                <a:gd name="T1" fmla="*/ 49892 h 147"/>
                <a:gd name="T2" fmla="*/ 20924 w 94"/>
                <a:gd name="T3" fmla="*/ 52031 h 147"/>
                <a:gd name="T4" fmla="*/ 0 w 94"/>
                <a:gd name="T5" fmla="*/ 26372 h 147"/>
                <a:gd name="T6" fmla="*/ 21634 w 94"/>
                <a:gd name="T7" fmla="*/ 0 h 147"/>
                <a:gd name="T8" fmla="*/ 31918 w 94"/>
                <a:gd name="T9" fmla="*/ 2851 h 147"/>
                <a:gd name="T10" fmla="*/ 31209 w 94"/>
                <a:gd name="T11" fmla="*/ 14255 h 147"/>
                <a:gd name="T12" fmla="*/ 23761 w 94"/>
                <a:gd name="T13" fmla="*/ 12117 h 147"/>
                <a:gd name="T14" fmla="*/ 13477 w 94"/>
                <a:gd name="T15" fmla="*/ 27441 h 147"/>
                <a:gd name="T16" fmla="*/ 23761 w 94"/>
                <a:gd name="T17" fmla="*/ 41339 h 147"/>
                <a:gd name="T18" fmla="*/ 31209 w 94"/>
                <a:gd name="T19" fmla="*/ 39558 h 147"/>
                <a:gd name="T20" fmla="*/ 32982 w 94"/>
                <a:gd name="T21" fmla="*/ 49892 h 1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4" h="147">
                  <a:moveTo>
                    <a:pt x="93" y="140"/>
                  </a:moveTo>
                  <a:cubicBezTo>
                    <a:pt x="83" y="143"/>
                    <a:pt x="72" y="146"/>
                    <a:pt x="59" y="146"/>
                  </a:cubicBezTo>
                  <a:cubicBezTo>
                    <a:pt x="11" y="146"/>
                    <a:pt x="0" y="101"/>
                    <a:pt x="0" y="74"/>
                  </a:cubicBezTo>
                  <a:cubicBezTo>
                    <a:pt x="0" y="32"/>
                    <a:pt x="22" y="0"/>
                    <a:pt x="61" y="0"/>
                  </a:cubicBezTo>
                  <a:cubicBezTo>
                    <a:pt x="75" y="0"/>
                    <a:pt x="80" y="3"/>
                    <a:pt x="90" y="8"/>
                  </a:cubicBezTo>
                  <a:lnTo>
                    <a:pt x="88" y="40"/>
                  </a:lnTo>
                  <a:cubicBezTo>
                    <a:pt x="80" y="37"/>
                    <a:pt x="75" y="34"/>
                    <a:pt x="67" y="34"/>
                  </a:cubicBezTo>
                  <a:cubicBezTo>
                    <a:pt x="38" y="34"/>
                    <a:pt x="38" y="71"/>
                    <a:pt x="38" y="77"/>
                  </a:cubicBezTo>
                  <a:cubicBezTo>
                    <a:pt x="38" y="106"/>
                    <a:pt x="53" y="116"/>
                    <a:pt x="67" y="116"/>
                  </a:cubicBezTo>
                  <a:cubicBezTo>
                    <a:pt x="75" y="116"/>
                    <a:pt x="83" y="114"/>
                    <a:pt x="88" y="111"/>
                  </a:cubicBezTo>
                  <a:lnTo>
                    <a:pt x="93" y="14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" name="Freeform 258">
              <a:extLst>
                <a:ext uri="{FF2B5EF4-FFF2-40B4-BE49-F238E27FC236}">
                  <a16:creationId xmlns:a16="http://schemas.microsoft.com/office/drawing/2014/main" id="{D4D6FFC0-09B6-4745-9E8B-3C9C24E1A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263" y="4735513"/>
              <a:ext cx="38100" cy="53975"/>
            </a:xfrm>
            <a:custGeom>
              <a:avLst/>
              <a:gdLst>
                <a:gd name="T0" fmla="*/ 4985 w 107"/>
                <a:gd name="T1" fmla="*/ 2898 h 149"/>
                <a:gd name="T2" fmla="*/ 18872 w 107"/>
                <a:gd name="T3" fmla="*/ 0 h 149"/>
                <a:gd name="T4" fmla="*/ 37744 w 107"/>
                <a:gd name="T5" fmla="*/ 19199 h 149"/>
                <a:gd name="T6" fmla="*/ 37744 w 107"/>
                <a:gd name="T7" fmla="*/ 38398 h 149"/>
                <a:gd name="T8" fmla="*/ 37744 w 107"/>
                <a:gd name="T9" fmla="*/ 52888 h 149"/>
                <a:gd name="T10" fmla="*/ 25637 w 107"/>
                <a:gd name="T11" fmla="*/ 52888 h 149"/>
                <a:gd name="T12" fmla="*/ 25637 w 107"/>
                <a:gd name="T13" fmla="*/ 46006 h 149"/>
                <a:gd name="T14" fmla="*/ 13175 w 107"/>
                <a:gd name="T15" fmla="*/ 53613 h 149"/>
                <a:gd name="T16" fmla="*/ 0 w 107"/>
                <a:gd name="T17" fmla="*/ 38398 h 149"/>
                <a:gd name="T18" fmla="*/ 21721 w 107"/>
                <a:gd name="T19" fmla="*/ 21010 h 149"/>
                <a:gd name="T20" fmla="*/ 25637 w 107"/>
                <a:gd name="T21" fmla="*/ 21010 h 149"/>
                <a:gd name="T22" fmla="*/ 17092 w 107"/>
                <a:gd name="T23" fmla="*/ 11592 h 149"/>
                <a:gd name="T24" fmla="*/ 4985 w 107"/>
                <a:gd name="T25" fmla="*/ 16301 h 149"/>
                <a:gd name="T26" fmla="*/ 4985 w 107"/>
                <a:gd name="T27" fmla="*/ 2898 h 149"/>
                <a:gd name="T28" fmla="*/ 12463 w 107"/>
                <a:gd name="T29" fmla="*/ 35500 h 149"/>
                <a:gd name="T30" fmla="*/ 18160 w 107"/>
                <a:gd name="T31" fmla="*/ 42021 h 149"/>
                <a:gd name="T32" fmla="*/ 25637 w 107"/>
                <a:gd name="T33" fmla="*/ 29704 h 149"/>
                <a:gd name="T34" fmla="*/ 25637 w 107"/>
                <a:gd name="T35" fmla="*/ 26806 h 149"/>
                <a:gd name="T36" fmla="*/ 12463 w 107"/>
                <a:gd name="T37" fmla="*/ 35500 h 1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149">
                  <a:moveTo>
                    <a:pt x="14" y="8"/>
                  </a:moveTo>
                  <a:cubicBezTo>
                    <a:pt x="24" y="5"/>
                    <a:pt x="40" y="0"/>
                    <a:pt x="53" y="0"/>
                  </a:cubicBezTo>
                  <a:cubicBezTo>
                    <a:pt x="96" y="0"/>
                    <a:pt x="106" y="21"/>
                    <a:pt x="106" y="53"/>
                  </a:cubicBezTo>
                  <a:lnTo>
                    <a:pt x="106" y="106"/>
                  </a:lnTo>
                  <a:lnTo>
                    <a:pt x="106" y="146"/>
                  </a:lnTo>
                  <a:lnTo>
                    <a:pt x="72" y="146"/>
                  </a:lnTo>
                  <a:lnTo>
                    <a:pt x="72" y="127"/>
                  </a:lnTo>
                  <a:cubicBezTo>
                    <a:pt x="69" y="135"/>
                    <a:pt x="56" y="148"/>
                    <a:pt x="37" y="148"/>
                  </a:cubicBezTo>
                  <a:cubicBezTo>
                    <a:pt x="14" y="148"/>
                    <a:pt x="0" y="132"/>
                    <a:pt x="0" y="106"/>
                  </a:cubicBezTo>
                  <a:cubicBezTo>
                    <a:pt x="0" y="58"/>
                    <a:pt x="48" y="58"/>
                    <a:pt x="61" y="58"/>
                  </a:cubicBezTo>
                  <a:lnTo>
                    <a:pt x="72" y="58"/>
                  </a:lnTo>
                  <a:cubicBezTo>
                    <a:pt x="72" y="32"/>
                    <a:pt x="53" y="32"/>
                    <a:pt x="48" y="32"/>
                  </a:cubicBezTo>
                  <a:cubicBezTo>
                    <a:pt x="37" y="32"/>
                    <a:pt x="30" y="34"/>
                    <a:pt x="14" y="45"/>
                  </a:cubicBezTo>
                  <a:lnTo>
                    <a:pt x="14" y="8"/>
                  </a:lnTo>
                  <a:close/>
                  <a:moveTo>
                    <a:pt x="35" y="98"/>
                  </a:moveTo>
                  <a:cubicBezTo>
                    <a:pt x="35" y="116"/>
                    <a:pt x="49" y="116"/>
                    <a:pt x="51" y="116"/>
                  </a:cubicBezTo>
                  <a:cubicBezTo>
                    <a:pt x="54" y="116"/>
                    <a:pt x="72" y="116"/>
                    <a:pt x="72" y="82"/>
                  </a:cubicBezTo>
                  <a:lnTo>
                    <a:pt x="72" y="74"/>
                  </a:lnTo>
                  <a:cubicBezTo>
                    <a:pt x="56" y="74"/>
                    <a:pt x="35" y="74"/>
                    <a:pt x="35" y="9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" name="Freeform 259">
              <a:extLst>
                <a:ext uri="{FF2B5EF4-FFF2-40B4-BE49-F238E27FC236}">
                  <a16:creationId xmlns:a16="http://schemas.microsoft.com/office/drawing/2014/main" id="{C2C9E68F-97F8-D24B-9256-85AEAE5B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8713" y="4735513"/>
              <a:ext cx="33337" cy="52387"/>
            </a:xfrm>
            <a:custGeom>
              <a:avLst/>
              <a:gdLst>
                <a:gd name="T0" fmla="*/ 28941 w 91"/>
                <a:gd name="T1" fmla="*/ 12200 h 146"/>
                <a:gd name="T2" fmla="*/ 18317 w 91"/>
                <a:gd name="T3" fmla="*/ 9329 h 146"/>
                <a:gd name="T4" fmla="*/ 13555 w 91"/>
                <a:gd name="T5" fmla="*/ 13276 h 146"/>
                <a:gd name="T6" fmla="*/ 23079 w 91"/>
                <a:gd name="T7" fmla="*/ 20811 h 146"/>
                <a:gd name="T8" fmla="*/ 32971 w 91"/>
                <a:gd name="T9" fmla="*/ 35882 h 146"/>
                <a:gd name="T10" fmla="*/ 16485 w 91"/>
                <a:gd name="T11" fmla="*/ 52028 h 146"/>
                <a:gd name="T12" fmla="*/ 1832 w 91"/>
                <a:gd name="T13" fmla="*/ 49158 h 146"/>
                <a:gd name="T14" fmla="*/ 1832 w 91"/>
                <a:gd name="T15" fmla="*/ 36958 h 146"/>
                <a:gd name="T16" fmla="*/ 12456 w 91"/>
                <a:gd name="T17" fmla="*/ 40546 h 146"/>
                <a:gd name="T18" fmla="*/ 19416 w 91"/>
                <a:gd name="T19" fmla="*/ 35882 h 146"/>
                <a:gd name="T20" fmla="*/ 9525 w 91"/>
                <a:gd name="T21" fmla="*/ 30140 h 146"/>
                <a:gd name="T22" fmla="*/ 0 w 91"/>
                <a:gd name="T23" fmla="*/ 15070 h 146"/>
                <a:gd name="T24" fmla="*/ 16485 w 91"/>
                <a:gd name="T25" fmla="*/ 0 h 146"/>
                <a:gd name="T26" fmla="*/ 28941 w 91"/>
                <a:gd name="T27" fmla="*/ 1794 h 146"/>
                <a:gd name="T28" fmla="*/ 28941 w 91"/>
                <a:gd name="T29" fmla="*/ 12200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1" h="146">
                  <a:moveTo>
                    <a:pt x="79" y="34"/>
                  </a:moveTo>
                  <a:cubicBezTo>
                    <a:pt x="69" y="29"/>
                    <a:pt x="61" y="26"/>
                    <a:pt x="50" y="26"/>
                  </a:cubicBezTo>
                  <a:cubicBezTo>
                    <a:pt x="40" y="26"/>
                    <a:pt x="37" y="31"/>
                    <a:pt x="37" y="37"/>
                  </a:cubicBezTo>
                  <a:cubicBezTo>
                    <a:pt x="37" y="45"/>
                    <a:pt x="42" y="47"/>
                    <a:pt x="63" y="58"/>
                  </a:cubicBezTo>
                  <a:cubicBezTo>
                    <a:pt x="77" y="63"/>
                    <a:pt x="90" y="74"/>
                    <a:pt x="90" y="100"/>
                  </a:cubicBezTo>
                  <a:cubicBezTo>
                    <a:pt x="90" y="132"/>
                    <a:pt x="69" y="145"/>
                    <a:pt x="45" y="145"/>
                  </a:cubicBezTo>
                  <a:cubicBezTo>
                    <a:pt x="34" y="145"/>
                    <a:pt x="18" y="143"/>
                    <a:pt x="5" y="137"/>
                  </a:cubicBezTo>
                  <a:lnTo>
                    <a:pt x="5" y="103"/>
                  </a:lnTo>
                  <a:cubicBezTo>
                    <a:pt x="13" y="108"/>
                    <a:pt x="26" y="113"/>
                    <a:pt x="34" y="113"/>
                  </a:cubicBezTo>
                  <a:cubicBezTo>
                    <a:pt x="53" y="113"/>
                    <a:pt x="53" y="105"/>
                    <a:pt x="53" y="100"/>
                  </a:cubicBezTo>
                  <a:cubicBezTo>
                    <a:pt x="53" y="95"/>
                    <a:pt x="42" y="92"/>
                    <a:pt x="26" y="84"/>
                  </a:cubicBezTo>
                  <a:cubicBezTo>
                    <a:pt x="13" y="79"/>
                    <a:pt x="0" y="66"/>
                    <a:pt x="0" y="42"/>
                  </a:cubicBezTo>
                  <a:cubicBezTo>
                    <a:pt x="0" y="26"/>
                    <a:pt x="10" y="0"/>
                    <a:pt x="45" y="0"/>
                  </a:cubicBezTo>
                  <a:cubicBezTo>
                    <a:pt x="61" y="0"/>
                    <a:pt x="74" y="2"/>
                    <a:pt x="79" y="5"/>
                  </a:cubicBezTo>
                  <a:lnTo>
                    <a:pt x="79" y="3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" name="Freeform 260">
              <a:extLst>
                <a:ext uri="{FF2B5EF4-FFF2-40B4-BE49-F238E27FC236}">
                  <a16:creationId xmlns:a16="http://schemas.microsoft.com/office/drawing/2014/main" id="{B74B675C-94E6-0D41-9A16-7357A488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7263" y="4711700"/>
              <a:ext cx="19050" cy="19050"/>
            </a:xfrm>
            <a:custGeom>
              <a:avLst/>
              <a:gdLst>
                <a:gd name="T0" fmla="*/ 0 w 54"/>
                <a:gd name="T1" fmla="*/ 18684 h 52"/>
                <a:gd name="T2" fmla="*/ 7408 w 54"/>
                <a:gd name="T3" fmla="*/ 0 h 52"/>
                <a:gd name="T4" fmla="*/ 18697 w 54"/>
                <a:gd name="T5" fmla="*/ 0 h 52"/>
                <a:gd name="T6" fmla="*/ 7408 w 54"/>
                <a:gd name="T7" fmla="*/ 18684 h 52"/>
                <a:gd name="T8" fmla="*/ 0 w 54"/>
                <a:gd name="T9" fmla="*/ 18684 h 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52">
                  <a:moveTo>
                    <a:pt x="0" y="51"/>
                  </a:moveTo>
                  <a:lnTo>
                    <a:pt x="21" y="0"/>
                  </a:lnTo>
                  <a:lnTo>
                    <a:pt x="53" y="0"/>
                  </a:lnTo>
                  <a:lnTo>
                    <a:pt x="21" y="51"/>
                  </a:lnTo>
                  <a:lnTo>
                    <a:pt x="0" y="5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" name="Freeform 261">
              <a:extLst>
                <a:ext uri="{FF2B5EF4-FFF2-40B4-BE49-F238E27FC236}">
                  <a16:creationId xmlns:a16="http://schemas.microsoft.com/office/drawing/2014/main" id="{A7E346A0-0EDB-7A44-887F-63EA110B5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4378325"/>
              <a:ext cx="485775" cy="423863"/>
            </a:xfrm>
            <a:custGeom>
              <a:avLst/>
              <a:gdLst>
                <a:gd name="T0" fmla="*/ 241629 w 1351"/>
                <a:gd name="T1" fmla="*/ 423503 h 1177"/>
                <a:gd name="T2" fmla="*/ 0 w 1351"/>
                <a:gd name="T3" fmla="*/ 211751 h 1177"/>
                <a:gd name="T4" fmla="*/ 241629 w 1351"/>
                <a:gd name="T5" fmla="*/ 0 h 1177"/>
                <a:gd name="T6" fmla="*/ 485415 w 1351"/>
                <a:gd name="T7" fmla="*/ 211751 h 1177"/>
                <a:gd name="T8" fmla="*/ 241629 w 1351"/>
                <a:gd name="T9" fmla="*/ 423503 h 1177"/>
                <a:gd name="T10" fmla="*/ 241629 w 1351"/>
                <a:gd name="T11" fmla="*/ 325190 h 1177"/>
                <a:gd name="T12" fmla="*/ 310306 w 1351"/>
                <a:gd name="T13" fmla="*/ 211751 h 1177"/>
                <a:gd name="T14" fmla="*/ 241629 w 1351"/>
                <a:gd name="T15" fmla="*/ 98313 h 1177"/>
                <a:gd name="T16" fmla="*/ 175109 w 1351"/>
                <a:gd name="T17" fmla="*/ 211751 h 1177"/>
                <a:gd name="T18" fmla="*/ 241629 w 1351"/>
                <a:gd name="T19" fmla="*/ 325190 h 11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51" h="1177">
                  <a:moveTo>
                    <a:pt x="672" y="1176"/>
                  </a:moveTo>
                  <a:cubicBezTo>
                    <a:pt x="249" y="1176"/>
                    <a:pt x="0" y="975"/>
                    <a:pt x="0" y="588"/>
                  </a:cubicBezTo>
                  <a:cubicBezTo>
                    <a:pt x="0" y="207"/>
                    <a:pt x="248" y="0"/>
                    <a:pt x="672" y="0"/>
                  </a:cubicBezTo>
                  <a:cubicBezTo>
                    <a:pt x="1095" y="0"/>
                    <a:pt x="1350" y="207"/>
                    <a:pt x="1350" y="588"/>
                  </a:cubicBezTo>
                  <a:cubicBezTo>
                    <a:pt x="1350" y="975"/>
                    <a:pt x="1096" y="1176"/>
                    <a:pt x="672" y="1176"/>
                  </a:cubicBezTo>
                  <a:close/>
                  <a:moveTo>
                    <a:pt x="672" y="903"/>
                  </a:moveTo>
                  <a:cubicBezTo>
                    <a:pt x="858" y="903"/>
                    <a:pt x="863" y="710"/>
                    <a:pt x="863" y="588"/>
                  </a:cubicBezTo>
                  <a:cubicBezTo>
                    <a:pt x="860" y="482"/>
                    <a:pt x="850" y="273"/>
                    <a:pt x="672" y="273"/>
                  </a:cubicBezTo>
                  <a:cubicBezTo>
                    <a:pt x="500" y="273"/>
                    <a:pt x="487" y="482"/>
                    <a:pt x="487" y="588"/>
                  </a:cubicBezTo>
                  <a:cubicBezTo>
                    <a:pt x="487" y="710"/>
                    <a:pt x="506" y="903"/>
                    <a:pt x="672" y="90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" name="Freeform 262">
              <a:extLst>
                <a:ext uri="{FF2B5EF4-FFF2-40B4-BE49-F238E27FC236}">
                  <a16:creationId xmlns:a16="http://schemas.microsoft.com/office/drawing/2014/main" id="{7EA0C17E-1088-A147-85CE-5B29A6E150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5988" y="4386263"/>
              <a:ext cx="449262" cy="411162"/>
            </a:xfrm>
            <a:custGeom>
              <a:avLst/>
              <a:gdLst>
                <a:gd name="T0" fmla="*/ 288708 w 1248"/>
                <a:gd name="T1" fmla="*/ 0 h 1140"/>
                <a:gd name="T2" fmla="*/ 448902 w 1248"/>
                <a:gd name="T3" fmla="*/ 141382 h 1140"/>
                <a:gd name="T4" fmla="*/ 287628 w 1248"/>
                <a:gd name="T5" fmla="*/ 292502 h 1140"/>
                <a:gd name="T6" fmla="*/ 167753 w 1248"/>
                <a:gd name="T7" fmla="*/ 292502 h 1140"/>
                <a:gd name="T8" fmla="*/ 167753 w 1248"/>
                <a:gd name="T9" fmla="*/ 410801 h 1140"/>
                <a:gd name="T10" fmla="*/ 0 w 1248"/>
                <a:gd name="T11" fmla="*/ 410801 h 1140"/>
                <a:gd name="T12" fmla="*/ 0 w 1248"/>
                <a:gd name="T13" fmla="*/ 0 h 1140"/>
                <a:gd name="T14" fmla="*/ 288708 w 1248"/>
                <a:gd name="T15" fmla="*/ 0 h 1140"/>
                <a:gd name="T16" fmla="*/ 200152 w 1248"/>
                <a:gd name="T17" fmla="*/ 196925 h 1140"/>
                <a:gd name="T18" fmla="*/ 281149 w 1248"/>
                <a:gd name="T19" fmla="*/ 144267 h 1140"/>
                <a:gd name="T20" fmla="*/ 200152 w 1248"/>
                <a:gd name="T21" fmla="*/ 95577 h 1140"/>
                <a:gd name="T22" fmla="*/ 163793 w 1248"/>
                <a:gd name="T23" fmla="*/ 95577 h 1140"/>
                <a:gd name="T24" fmla="*/ 163793 w 1248"/>
                <a:gd name="T25" fmla="*/ 196925 h 1140"/>
                <a:gd name="T26" fmla="*/ 200152 w 1248"/>
                <a:gd name="T27" fmla="*/ 196925 h 11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48" h="1140">
                  <a:moveTo>
                    <a:pt x="802" y="0"/>
                  </a:moveTo>
                  <a:cubicBezTo>
                    <a:pt x="993" y="0"/>
                    <a:pt x="1247" y="85"/>
                    <a:pt x="1247" y="392"/>
                  </a:cubicBezTo>
                  <a:cubicBezTo>
                    <a:pt x="1247" y="689"/>
                    <a:pt x="1043" y="811"/>
                    <a:pt x="799" y="811"/>
                  </a:cubicBezTo>
                  <a:lnTo>
                    <a:pt x="466" y="811"/>
                  </a:lnTo>
                  <a:lnTo>
                    <a:pt x="466" y="1139"/>
                  </a:lnTo>
                  <a:lnTo>
                    <a:pt x="0" y="1139"/>
                  </a:lnTo>
                  <a:lnTo>
                    <a:pt x="0" y="0"/>
                  </a:lnTo>
                  <a:lnTo>
                    <a:pt x="802" y="0"/>
                  </a:lnTo>
                  <a:close/>
                  <a:moveTo>
                    <a:pt x="556" y="546"/>
                  </a:moveTo>
                  <a:cubicBezTo>
                    <a:pt x="667" y="546"/>
                    <a:pt x="781" y="527"/>
                    <a:pt x="781" y="400"/>
                  </a:cubicBezTo>
                  <a:cubicBezTo>
                    <a:pt x="781" y="278"/>
                    <a:pt x="667" y="265"/>
                    <a:pt x="556" y="265"/>
                  </a:cubicBezTo>
                  <a:lnTo>
                    <a:pt x="455" y="265"/>
                  </a:lnTo>
                  <a:lnTo>
                    <a:pt x="455" y="546"/>
                  </a:lnTo>
                  <a:lnTo>
                    <a:pt x="556" y="54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" name="Freeform 263">
              <a:extLst>
                <a:ext uri="{FF2B5EF4-FFF2-40B4-BE49-F238E27FC236}">
                  <a16:creationId xmlns:a16="http://schemas.microsoft.com/office/drawing/2014/main" id="{78322572-3784-D64D-B1E2-B980F7F019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3825" y="4378325"/>
              <a:ext cx="396875" cy="423863"/>
            </a:xfrm>
            <a:custGeom>
              <a:avLst/>
              <a:gdLst>
                <a:gd name="T0" fmla="*/ 368784 w 1102"/>
                <a:gd name="T1" fmla="*/ 120022 h 1176"/>
                <a:gd name="T2" fmla="*/ 239133 w 1102"/>
                <a:gd name="T3" fmla="*/ 99118 h 1176"/>
                <a:gd name="T4" fmla="*/ 166745 w 1102"/>
                <a:gd name="T5" fmla="*/ 125789 h 1176"/>
                <a:gd name="T6" fmla="*/ 396515 w 1102"/>
                <a:gd name="T7" fmla="*/ 286180 h 1176"/>
                <a:gd name="T8" fmla="*/ 184032 w 1102"/>
                <a:gd name="T9" fmla="*/ 423503 h 1176"/>
                <a:gd name="T10" fmla="*/ 3601 w 1102"/>
                <a:gd name="T11" fmla="*/ 404400 h 1176"/>
                <a:gd name="T12" fmla="*/ 3601 w 1102"/>
                <a:gd name="T13" fmla="*/ 298434 h 1176"/>
                <a:gd name="T14" fmla="*/ 154140 w 1102"/>
                <a:gd name="T15" fmla="*/ 325466 h 1176"/>
                <a:gd name="T16" fmla="*/ 229770 w 1102"/>
                <a:gd name="T17" fmla="*/ 296632 h 1176"/>
                <a:gd name="T18" fmla="*/ 0 w 1102"/>
                <a:gd name="T19" fmla="*/ 132637 h 1176"/>
                <a:gd name="T20" fmla="*/ 224728 w 1102"/>
                <a:gd name="T21" fmla="*/ 0 h 1176"/>
                <a:gd name="T22" fmla="*/ 369864 w 1102"/>
                <a:gd name="T23" fmla="*/ 14057 h 1176"/>
                <a:gd name="T24" fmla="*/ 369864 w 1102"/>
                <a:gd name="T25" fmla="*/ 120022 h 1176"/>
                <a:gd name="T26" fmla="*/ 368784 w 1102"/>
                <a:gd name="T27" fmla="*/ 120022 h 11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02" h="1176">
                  <a:moveTo>
                    <a:pt x="1024" y="333"/>
                  </a:moveTo>
                  <a:cubicBezTo>
                    <a:pt x="921" y="299"/>
                    <a:pt x="797" y="275"/>
                    <a:pt x="664" y="275"/>
                  </a:cubicBezTo>
                  <a:cubicBezTo>
                    <a:pt x="590" y="275"/>
                    <a:pt x="463" y="278"/>
                    <a:pt x="463" y="349"/>
                  </a:cubicBezTo>
                  <a:cubicBezTo>
                    <a:pt x="463" y="497"/>
                    <a:pt x="1101" y="357"/>
                    <a:pt x="1101" y="794"/>
                  </a:cubicBezTo>
                  <a:cubicBezTo>
                    <a:pt x="1101" y="1098"/>
                    <a:pt x="778" y="1175"/>
                    <a:pt x="511" y="1175"/>
                  </a:cubicBezTo>
                  <a:cubicBezTo>
                    <a:pt x="330" y="1175"/>
                    <a:pt x="185" y="1159"/>
                    <a:pt x="10" y="1122"/>
                  </a:cubicBezTo>
                  <a:lnTo>
                    <a:pt x="10" y="828"/>
                  </a:lnTo>
                  <a:cubicBezTo>
                    <a:pt x="135" y="876"/>
                    <a:pt x="288" y="903"/>
                    <a:pt x="428" y="903"/>
                  </a:cubicBezTo>
                  <a:cubicBezTo>
                    <a:pt x="537" y="903"/>
                    <a:pt x="638" y="881"/>
                    <a:pt x="638" y="823"/>
                  </a:cubicBezTo>
                  <a:cubicBezTo>
                    <a:pt x="638" y="669"/>
                    <a:pt x="0" y="807"/>
                    <a:pt x="0" y="368"/>
                  </a:cubicBezTo>
                  <a:cubicBezTo>
                    <a:pt x="0" y="55"/>
                    <a:pt x="346" y="0"/>
                    <a:pt x="624" y="0"/>
                  </a:cubicBezTo>
                  <a:cubicBezTo>
                    <a:pt x="754" y="0"/>
                    <a:pt x="900" y="15"/>
                    <a:pt x="1027" y="39"/>
                  </a:cubicBezTo>
                  <a:lnTo>
                    <a:pt x="1027" y="333"/>
                  </a:lnTo>
                  <a:lnTo>
                    <a:pt x="1024" y="33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56CE137-E6FC-6383-07EE-CE012246D6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7621" y="1066000"/>
            <a:ext cx="6049056" cy="326571"/>
          </a:xfrm>
        </p:spPr>
        <p:txBody>
          <a:bodyPr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o a paso para usar la herramienta de riesgo de la OPS para </a:t>
            </a:r>
            <a:r>
              <a:rPr lang="es-419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rampión y rubeol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B3B3A3-A687-2EFB-A967-975E4142AAF6}"/>
              </a:ext>
            </a:extLst>
          </p:cNvPr>
          <p:cNvSpPr txBox="1"/>
          <p:nvPr/>
        </p:nvSpPr>
        <p:spPr>
          <a:xfrm>
            <a:off x="979189" y="3829149"/>
            <a:ext cx="57000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2000" dirty="0">
                <a:solidFill>
                  <a:schemeClr val="bg1"/>
                </a:solidFill>
              </a:rPr>
              <a:t>Pamela Bravo &amp; Luis Fernando Quezada</a:t>
            </a:r>
          </a:p>
          <a:p>
            <a:r>
              <a:rPr lang="es-419" sz="2000" dirty="0">
                <a:solidFill>
                  <a:schemeClr val="bg1"/>
                </a:solidFill>
              </a:rPr>
              <a:t>OPS Washington DC</a:t>
            </a:r>
          </a:p>
        </p:txBody>
      </p:sp>
    </p:spTree>
    <p:extLst>
      <p:ext uri="{BB962C8B-B14F-4D97-AF65-F5344CB8AC3E}">
        <p14:creationId xmlns:p14="http://schemas.microsoft.com/office/powerpoint/2010/main" val="16630160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 advClick="0">
        <p15:prstTrans prst="curtains"/>
      </p:transition>
    </mc:Choice>
    <mc:Fallback xmlns="">
      <p:transition spd="slow" advClick="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09365B-4F37-DEC2-4C9C-FA727C1CFD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50719"/>
            <a:ext cx="5157787" cy="491665"/>
          </a:xfrm>
        </p:spPr>
        <p:txBody>
          <a:bodyPr/>
          <a:lstStyle/>
          <a:p>
            <a:r>
              <a:rPr lang="es-ES_tradnl" sz="2800"/>
              <a:t>Excel</a:t>
            </a:r>
            <a:endParaRPr lang="es-ES_tradnl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37777322-1E4B-D020-0A6A-AB97AF939CE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671624818"/>
              </p:ext>
            </p:extLst>
          </p:nvPr>
        </p:nvGraphicFramePr>
        <p:xfrm>
          <a:off x="839787" y="858289"/>
          <a:ext cx="5157787" cy="4584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AAE635-04F5-142C-7520-98E95A8FF5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50719"/>
            <a:ext cx="5183188" cy="491665"/>
          </a:xfrm>
        </p:spPr>
        <p:txBody>
          <a:bodyPr>
            <a:normAutofit/>
          </a:bodyPr>
          <a:lstStyle/>
          <a:p>
            <a:r>
              <a:rPr lang="es-ES_tradnl" sz="2800"/>
              <a:t>R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1DEB65F5-5CFE-0212-9EC7-CA49220268B5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4115316092"/>
              </p:ext>
            </p:extLst>
          </p:nvPr>
        </p:nvGraphicFramePr>
        <p:xfrm>
          <a:off x="6172200" y="742384"/>
          <a:ext cx="5678786" cy="59790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050AB2-7E2D-FED5-EF7C-CBEC878FF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10</a:t>
            </a:fld>
            <a:endParaRPr lang="en-US"/>
          </a:p>
        </p:txBody>
      </p:sp>
      <p:pic>
        <p:nvPicPr>
          <p:cNvPr id="8" name="Picture 7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58F70F97-7F90-93F7-06C3-9249ACB84D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2269" y="6277189"/>
            <a:ext cx="1243342" cy="5234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6EB0F89-9B2A-2D5F-8051-439E7597F7BD}"/>
              </a:ext>
            </a:extLst>
          </p:cNvPr>
          <p:cNvSpPr txBox="1"/>
          <p:nvPr/>
        </p:nvSpPr>
        <p:spPr>
          <a:xfrm>
            <a:off x="135094" y="6277189"/>
            <a:ext cx="48494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Disponible </a:t>
            </a:r>
            <a:r>
              <a:rPr lang="en-US" sz="1400" err="1"/>
              <a:t>en</a:t>
            </a:r>
            <a:r>
              <a:rPr lang="en-US" sz="1400"/>
              <a:t>: </a:t>
            </a:r>
            <a:r>
              <a:rPr lang="es-419" sz="1400" b="1">
                <a:hlinkClick r:id="rId13"/>
              </a:rPr>
              <a:t>https://iris.paho.org/handle/10665.2/57456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1635271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DABDB-768F-7C6B-1685-A9E1EEDB5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1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F74C82-D4D9-EFD2-5B26-26158DC8BC1F}"/>
              </a:ext>
            </a:extLst>
          </p:cNvPr>
          <p:cNvSpPr txBox="1"/>
          <p:nvPr/>
        </p:nvSpPr>
        <p:spPr>
          <a:xfrm>
            <a:off x="5232246" y="2894222"/>
            <a:ext cx="42321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24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ntuación de riesgo atribuida al nivel municipal</a:t>
            </a:r>
          </a:p>
        </p:txBody>
      </p:sp>
      <p:pic>
        <p:nvPicPr>
          <p:cNvPr id="255" name="Picture 254">
            <a:extLst>
              <a:ext uri="{FF2B5EF4-FFF2-40B4-BE49-F238E27FC236}">
                <a16:creationId xmlns:a16="http://schemas.microsoft.com/office/drawing/2014/main" id="{6905D99D-3415-EACC-8971-5DD61FF8D6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5341" y="3777842"/>
            <a:ext cx="2805099" cy="1556036"/>
          </a:xfrm>
          <a:prstGeom prst="rect">
            <a:avLst/>
          </a:prstGeom>
        </p:spPr>
      </p:pic>
      <p:sp>
        <p:nvSpPr>
          <p:cNvPr id="257" name="TextBox 256">
            <a:extLst>
              <a:ext uri="{FF2B5EF4-FFF2-40B4-BE49-F238E27FC236}">
                <a16:creationId xmlns:a16="http://schemas.microsoft.com/office/drawing/2014/main" id="{AC30490E-96E2-F09E-9030-270626F4815B}"/>
              </a:ext>
            </a:extLst>
          </p:cNvPr>
          <p:cNvSpPr txBox="1"/>
          <p:nvPr/>
        </p:nvSpPr>
        <p:spPr>
          <a:xfrm>
            <a:off x="4754686" y="5768628"/>
            <a:ext cx="518728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es-419" sz="1400"/>
              <a:t>Categorías de riesgo definidas por los percentiles del 25, 50 y 75</a:t>
            </a:r>
          </a:p>
        </p:txBody>
      </p:sp>
      <p:pic>
        <p:nvPicPr>
          <p:cNvPr id="258" name="Picture 257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1B4CB88-BE76-6BBC-5084-21B13B3CB3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grpSp>
        <p:nvGrpSpPr>
          <p:cNvPr id="260" name="shp_Map_OVERALL_RISK">
            <a:extLst>
              <a:ext uri="{FF2B5EF4-FFF2-40B4-BE49-F238E27FC236}">
                <a16:creationId xmlns:a16="http://schemas.microsoft.com/office/drawing/2014/main" id="{7105E858-54F7-607B-8654-9C0BBADFE241}"/>
              </a:ext>
            </a:extLst>
          </p:cNvPr>
          <p:cNvGrpSpPr/>
          <p:nvPr/>
        </p:nvGrpSpPr>
        <p:grpSpPr>
          <a:xfrm>
            <a:off x="228107" y="233553"/>
            <a:ext cx="3502379" cy="5205556"/>
            <a:chOff x="0" y="0"/>
            <a:chExt cx="4055820" cy="6096001"/>
          </a:xfrm>
        </p:grpSpPr>
        <p:grpSp>
          <p:nvGrpSpPr>
            <p:cNvPr id="261" name="shp_Region_Belize" descr="Admin1_Id=&quot;BLZ&quot;&#10;Admin1_Label=&quot;Belize&quot;&#10;Admin2_Id=&quot;BLZ.1_1&quot;&#10;Admin2_Label=&quot;Belize&quot;&#10;" title="Belize">
              <a:extLst>
                <a:ext uri="{FF2B5EF4-FFF2-40B4-BE49-F238E27FC236}">
                  <a16:creationId xmlns:a16="http://schemas.microsoft.com/office/drawing/2014/main" id="{F61511F5-CE91-1B6F-C47B-EE063CF9A95D}"/>
                </a:ext>
              </a:extLst>
            </p:cNvPr>
            <p:cNvGrpSpPr/>
            <p:nvPr/>
          </p:nvGrpSpPr>
          <p:grpSpPr>
            <a:xfrm>
              <a:off x="1405586" y="1189977"/>
              <a:ext cx="2650234" cy="3466690"/>
              <a:chOff x="1405586" y="1189977"/>
              <a:chExt cx="2650234" cy="3466690"/>
            </a:xfrm>
            <a:solidFill>
              <a:srgbClr val="FF0000"/>
            </a:solidFill>
          </p:grpSpPr>
          <p:sp>
            <p:nvSpPr>
              <p:cNvPr id="313" name="shp_Region_Belize_$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69E2BDF-E53F-E72A-7409-1CECDD6D3D84}"/>
                  </a:ext>
                </a:extLst>
              </p:cNvPr>
              <p:cNvSpPr/>
              <p:nvPr/>
            </p:nvSpPr>
            <p:spPr>
              <a:xfrm>
                <a:off x="1405586" y="1189977"/>
                <a:ext cx="1107495" cy="2041606"/>
              </a:xfrm>
              <a:custGeom>
                <a:avLst/>
                <a:gdLst/>
                <a:ahLst/>
                <a:cxnLst/>
                <a:rect l="0" t="0" r="0" b="0"/>
                <a:pathLst>
                  <a:path w="1107495" h="2041606">
                    <a:moveTo>
                      <a:pt x="747960" y="1986639"/>
                    </a:moveTo>
                    <a:lnTo>
                      <a:pt x="747317" y="1959056"/>
                    </a:lnTo>
                    <a:lnTo>
                      <a:pt x="745370" y="1933053"/>
                    </a:lnTo>
                    <a:lnTo>
                      <a:pt x="745370" y="1894046"/>
                    </a:lnTo>
                    <a:lnTo>
                      <a:pt x="747317" y="1873239"/>
                    </a:lnTo>
                    <a:lnTo>
                      <a:pt x="746674" y="1827737"/>
                    </a:lnTo>
                    <a:lnTo>
                      <a:pt x="747960" y="1819929"/>
                    </a:lnTo>
                    <a:lnTo>
                      <a:pt x="747960" y="1789373"/>
                    </a:lnTo>
                    <a:lnTo>
                      <a:pt x="749924" y="1780922"/>
                    </a:lnTo>
                    <a:lnTo>
                      <a:pt x="747960" y="1749067"/>
                    </a:lnTo>
                    <a:lnTo>
                      <a:pt x="757066" y="1685356"/>
                    </a:lnTo>
                    <a:lnTo>
                      <a:pt x="761620" y="1669750"/>
                    </a:lnTo>
                    <a:lnTo>
                      <a:pt x="764869" y="1641144"/>
                    </a:lnTo>
                    <a:lnTo>
                      <a:pt x="771369" y="1618391"/>
                    </a:lnTo>
                    <a:lnTo>
                      <a:pt x="773976" y="1603441"/>
                    </a:lnTo>
                    <a:lnTo>
                      <a:pt x="782422" y="1580678"/>
                    </a:lnTo>
                    <a:lnTo>
                      <a:pt x="784368" y="1567679"/>
                    </a:lnTo>
                    <a:lnTo>
                      <a:pt x="788922" y="1558581"/>
                    </a:lnTo>
                    <a:lnTo>
                      <a:pt x="791529" y="1546225"/>
                    </a:lnTo>
                    <a:lnTo>
                      <a:pt x="814278" y="1470814"/>
                    </a:lnTo>
                    <a:lnTo>
                      <a:pt x="816885" y="1449360"/>
                    </a:lnTo>
                    <a:lnTo>
                      <a:pt x="820777" y="1439606"/>
                    </a:lnTo>
                    <a:lnTo>
                      <a:pt x="822081" y="1423357"/>
                    </a:lnTo>
                    <a:lnTo>
                      <a:pt x="828580" y="1392148"/>
                    </a:lnTo>
                    <a:lnTo>
                      <a:pt x="840294" y="1364846"/>
                    </a:lnTo>
                    <a:lnTo>
                      <a:pt x="840294" y="1355735"/>
                    </a:lnTo>
                    <a:lnTo>
                      <a:pt x="848079" y="1333638"/>
                    </a:lnTo>
                    <a:lnTo>
                      <a:pt x="850686" y="1321282"/>
                    </a:lnTo>
                    <a:lnTo>
                      <a:pt x="852633" y="1289426"/>
                    </a:lnTo>
                    <a:lnTo>
                      <a:pt x="857186" y="1273177"/>
                    </a:lnTo>
                    <a:lnTo>
                      <a:pt x="859132" y="1254973"/>
                    </a:lnTo>
                    <a:lnTo>
                      <a:pt x="866293" y="1238067"/>
                    </a:lnTo>
                    <a:lnTo>
                      <a:pt x="870846" y="1222461"/>
                    </a:lnTo>
                    <a:lnTo>
                      <a:pt x="879935" y="1202962"/>
                    </a:lnTo>
                    <a:lnTo>
                      <a:pt x="887095" y="1197110"/>
                    </a:lnTo>
                    <a:lnTo>
                      <a:pt x="899451" y="1180856"/>
                    </a:lnTo>
                    <a:lnTo>
                      <a:pt x="900094" y="1176959"/>
                    </a:lnTo>
                    <a:lnTo>
                      <a:pt x="910504" y="1173700"/>
                    </a:lnTo>
                    <a:lnTo>
                      <a:pt x="917004" y="1167857"/>
                    </a:lnTo>
                    <a:lnTo>
                      <a:pt x="930003" y="1167857"/>
                    </a:lnTo>
                    <a:lnTo>
                      <a:pt x="941056" y="1175656"/>
                    </a:lnTo>
                    <a:lnTo>
                      <a:pt x="952109" y="1180209"/>
                    </a:lnTo>
                    <a:lnTo>
                      <a:pt x="957306" y="1186708"/>
                    </a:lnTo>
                    <a:lnTo>
                      <a:pt x="993071" y="1189958"/>
                    </a:lnTo>
                    <a:lnTo>
                      <a:pt x="998910" y="1182807"/>
                    </a:lnTo>
                    <a:lnTo>
                      <a:pt x="1009963" y="1175656"/>
                    </a:lnTo>
                    <a:lnTo>
                      <a:pt x="1023623" y="1174356"/>
                    </a:lnTo>
                    <a:lnTo>
                      <a:pt x="1025570" y="1160054"/>
                    </a:lnTo>
                    <a:lnTo>
                      <a:pt x="1032069" y="1163299"/>
                    </a:lnTo>
                    <a:lnTo>
                      <a:pt x="1036623" y="1157455"/>
                    </a:lnTo>
                    <a:lnTo>
                      <a:pt x="1032730" y="1146402"/>
                    </a:lnTo>
                    <a:lnTo>
                      <a:pt x="1021016" y="1137948"/>
                    </a:lnTo>
                    <a:lnTo>
                      <a:pt x="1019713" y="1130149"/>
                    </a:lnTo>
                    <a:lnTo>
                      <a:pt x="1022963" y="1117797"/>
                    </a:lnTo>
                    <a:lnTo>
                      <a:pt x="1017124" y="1115195"/>
                    </a:lnTo>
                    <a:lnTo>
                      <a:pt x="993714" y="1096343"/>
                    </a:lnTo>
                    <a:lnTo>
                      <a:pt x="985268" y="1103494"/>
                    </a:lnTo>
                    <a:lnTo>
                      <a:pt x="976162" y="1104789"/>
                    </a:lnTo>
                    <a:lnTo>
                      <a:pt x="963162" y="1111293"/>
                    </a:lnTo>
                    <a:lnTo>
                      <a:pt x="940414" y="1103494"/>
                    </a:lnTo>
                    <a:lnTo>
                      <a:pt x="932610" y="1103494"/>
                    </a:lnTo>
                    <a:lnTo>
                      <a:pt x="918950" y="1098294"/>
                    </a:lnTo>
                    <a:lnTo>
                      <a:pt x="912451" y="1089839"/>
                    </a:lnTo>
                    <a:lnTo>
                      <a:pt x="912451" y="1084638"/>
                    </a:lnTo>
                    <a:lnTo>
                      <a:pt x="902701" y="1075540"/>
                    </a:lnTo>
                    <a:lnTo>
                      <a:pt x="904648" y="1064487"/>
                    </a:lnTo>
                    <a:lnTo>
                      <a:pt x="910504" y="1059287"/>
                    </a:lnTo>
                    <a:lnTo>
                      <a:pt x="897505" y="1046930"/>
                    </a:lnTo>
                    <a:lnTo>
                      <a:pt x="894898" y="1051483"/>
                    </a:lnTo>
                    <a:lnTo>
                      <a:pt x="885792" y="1052135"/>
                    </a:lnTo>
                    <a:lnTo>
                      <a:pt x="870846" y="1039779"/>
                    </a:lnTo>
                    <a:lnTo>
                      <a:pt x="833134" y="1030681"/>
                    </a:lnTo>
                    <a:lnTo>
                      <a:pt x="811028" y="1013124"/>
                    </a:lnTo>
                    <a:lnTo>
                      <a:pt x="803225" y="998174"/>
                    </a:lnTo>
                    <a:lnTo>
                      <a:pt x="784368" y="994272"/>
                    </a:lnTo>
                    <a:lnTo>
                      <a:pt x="781119" y="983219"/>
                    </a:lnTo>
                    <a:lnTo>
                      <a:pt x="781119" y="964368"/>
                    </a:lnTo>
                    <a:lnTo>
                      <a:pt x="777869" y="953315"/>
                    </a:lnTo>
                    <a:lnTo>
                      <a:pt x="777226" y="929258"/>
                    </a:lnTo>
                    <a:lnTo>
                      <a:pt x="779833" y="905206"/>
                    </a:lnTo>
                    <a:lnTo>
                      <a:pt x="775922" y="901304"/>
                    </a:lnTo>
                    <a:lnTo>
                      <a:pt x="774619" y="881149"/>
                    </a:lnTo>
                    <a:lnTo>
                      <a:pt x="774619" y="855798"/>
                    </a:lnTo>
                    <a:lnTo>
                      <a:pt x="778529" y="845392"/>
                    </a:lnTo>
                    <a:lnTo>
                      <a:pt x="779172" y="826540"/>
                    </a:lnTo>
                    <a:lnTo>
                      <a:pt x="782422" y="818737"/>
                    </a:lnTo>
                    <a:lnTo>
                      <a:pt x="800635" y="814188"/>
                    </a:lnTo>
                    <a:lnTo>
                      <a:pt x="810385" y="805086"/>
                    </a:lnTo>
                    <a:lnTo>
                      <a:pt x="825331" y="805086"/>
                    </a:lnTo>
                    <a:lnTo>
                      <a:pt x="828580" y="802488"/>
                    </a:lnTo>
                    <a:lnTo>
                      <a:pt x="836383" y="773882"/>
                    </a:lnTo>
                    <a:lnTo>
                      <a:pt x="841580" y="762173"/>
                    </a:lnTo>
                    <a:lnTo>
                      <a:pt x="814278" y="756973"/>
                    </a:lnTo>
                    <a:lnTo>
                      <a:pt x="818831" y="762173"/>
                    </a:lnTo>
                    <a:lnTo>
                      <a:pt x="817527" y="772579"/>
                    </a:lnTo>
                    <a:lnTo>
                      <a:pt x="809724" y="774530"/>
                    </a:lnTo>
                    <a:lnTo>
                      <a:pt x="794136" y="772579"/>
                    </a:lnTo>
                    <a:lnTo>
                      <a:pt x="784368" y="773882"/>
                    </a:lnTo>
                    <a:lnTo>
                      <a:pt x="782422" y="763477"/>
                    </a:lnTo>
                    <a:lnTo>
                      <a:pt x="786975" y="758276"/>
                    </a:lnTo>
                    <a:lnTo>
                      <a:pt x="799332" y="756325"/>
                    </a:lnTo>
                    <a:lnTo>
                      <a:pt x="798671" y="736179"/>
                    </a:lnTo>
                    <a:lnTo>
                      <a:pt x="805171" y="730318"/>
                    </a:lnTo>
                    <a:lnTo>
                      <a:pt x="811028" y="730978"/>
                    </a:lnTo>
                    <a:lnTo>
                      <a:pt x="827937" y="742674"/>
                    </a:lnTo>
                    <a:lnTo>
                      <a:pt x="843544" y="749174"/>
                    </a:lnTo>
                    <a:lnTo>
                      <a:pt x="854597" y="730978"/>
                    </a:lnTo>
                    <a:lnTo>
                      <a:pt x="872149" y="727068"/>
                    </a:lnTo>
                    <a:lnTo>
                      <a:pt x="870846" y="710819"/>
                    </a:lnTo>
                    <a:lnTo>
                      <a:pt x="874739" y="699766"/>
                    </a:lnTo>
                    <a:lnTo>
                      <a:pt x="880595" y="697810"/>
                    </a:lnTo>
                    <a:lnTo>
                      <a:pt x="889702" y="688066"/>
                    </a:lnTo>
                    <a:lnTo>
                      <a:pt x="894898" y="676361"/>
                    </a:lnTo>
                    <a:lnTo>
                      <a:pt x="901398" y="670508"/>
                    </a:lnTo>
                    <a:lnTo>
                      <a:pt x="905951" y="658156"/>
                    </a:lnTo>
                    <a:lnTo>
                      <a:pt x="915058" y="644505"/>
                    </a:lnTo>
                    <a:lnTo>
                      <a:pt x="919593" y="634100"/>
                    </a:lnTo>
                    <a:lnTo>
                      <a:pt x="930003" y="589245"/>
                    </a:lnTo>
                    <a:lnTo>
                      <a:pt x="932610" y="567139"/>
                    </a:lnTo>
                    <a:lnTo>
                      <a:pt x="935200" y="561938"/>
                    </a:lnTo>
                    <a:lnTo>
                      <a:pt x="937807" y="532685"/>
                    </a:lnTo>
                    <a:lnTo>
                      <a:pt x="939753" y="528132"/>
                    </a:lnTo>
                    <a:lnTo>
                      <a:pt x="943663" y="474180"/>
                    </a:lnTo>
                    <a:lnTo>
                      <a:pt x="949502" y="419562"/>
                    </a:lnTo>
                    <a:lnTo>
                      <a:pt x="952752" y="402661"/>
                    </a:lnTo>
                    <a:lnTo>
                      <a:pt x="953413" y="387055"/>
                    </a:lnTo>
                    <a:lnTo>
                      <a:pt x="958609" y="369502"/>
                    </a:lnTo>
                    <a:lnTo>
                      <a:pt x="960555" y="352601"/>
                    </a:lnTo>
                    <a:lnTo>
                      <a:pt x="963805" y="341548"/>
                    </a:lnTo>
                    <a:lnTo>
                      <a:pt x="963805" y="325946"/>
                    </a:lnTo>
                    <a:lnTo>
                      <a:pt x="961216" y="317492"/>
                    </a:lnTo>
                    <a:lnTo>
                      <a:pt x="966412" y="314242"/>
                    </a:lnTo>
                    <a:lnTo>
                      <a:pt x="970305" y="279788"/>
                    </a:lnTo>
                    <a:lnTo>
                      <a:pt x="973555" y="271333"/>
                    </a:lnTo>
                    <a:lnTo>
                      <a:pt x="982661" y="219974"/>
                    </a:lnTo>
                    <a:lnTo>
                      <a:pt x="997607" y="179669"/>
                    </a:lnTo>
                    <a:lnTo>
                      <a:pt x="998910" y="172517"/>
                    </a:lnTo>
                    <a:lnTo>
                      <a:pt x="1011910" y="149759"/>
                    </a:lnTo>
                    <a:lnTo>
                      <a:pt x="1022320" y="141965"/>
                    </a:lnTo>
                    <a:lnTo>
                      <a:pt x="1026213" y="129609"/>
                    </a:lnTo>
                    <a:lnTo>
                      <a:pt x="1032730" y="123756"/>
                    </a:lnTo>
                    <a:lnTo>
                      <a:pt x="1039872" y="122457"/>
                    </a:lnTo>
                    <a:lnTo>
                      <a:pt x="1042479" y="106851"/>
                    </a:lnTo>
                    <a:lnTo>
                      <a:pt x="1047676" y="91249"/>
                    </a:lnTo>
                    <a:lnTo>
                      <a:pt x="1054175" y="80201"/>
                    </a:lnTo>
                    <a:lnTo>
                      <a:pt x="1065871" y="71746"/>
                    </a:lnTo>
                    <a:lnTo>
                      <a:pt x="1081478" y="65246"/>
                    </a:lnTo>
                    <a:lnTo>
                      <a:pt x="1089281" y="59394"/>
                    </a:lnTo>
                    <a:lnTo>
                      <a:pt x="1099030" y="47042"/>
                    </a:lnTo>
                    <a:lnTo>
                      <a:pt x="1100334" y="37944"/>
                    </a:lnTo>
                    <a:lnTo>
                      <a:pt x="1107494" y="32739"/>
                    </a:lnTo>
                    <a:lnTo>
                      <a:pt x="1097084" y="23686"/>
                    </a:lnTo>
                    <a:lnTo>
                      <a:pt x="795850" y="4455"/>
                    </a:lnTo>
                    <a:lnTo>
                      <a:pt x="794868" y="2959"/>
                    </a:lnTo>
                    <a:lnTo>
                      <a:pt x="767244" y="0"/>
                    </a:lnTo>
                    <a:lnTo>
                      <a:pt x="615074" y="44953"/>
                    </a:lnTo>
                    <a:lnTo>
                      <a:pt x="350124" y="115926"/>
                    </a:lnTo>
                    <a:lnTo>
                      <a:pt x="170330" y="153777"/>
                    </a:lnTo>
                    <a:lnTo>
                      <a:pt x="184525" y="205823"/>
                    </a:lnTo>
                    <a:lnTo>
                      <a:pt x="146670" y="224746"/>
                    </a:lnTo>
                    <a:lnTo>
                      <a:pt x="146670" y="617453"/>
                    </a:lnTo>
                    <a:lnTo>
                      <a:pt x="179793" y="650572"/>
                    </a:lnTo>
                    <a:lnTo>
                      <a:pt x="141938" y="683695"/>
                    </a:lnTo>
                    <a:lnTo>
                      <a:pt x="47318" y="712082"/>
                    </a:lnTo>
                    <a:lnTo>
                      <a:pt x="9463" y="764128"/>
                    </a:lnTo>
                    <a:lnTo>
                      <a:pt x="0" y="901335"/>
                    </a:lnTo>
                    <a:lnTo>
                      <a:pt x="10195" y="1115400"/>
                    </a:lnTo>
                    <a:lnTo>
                      <a:pt x="12945" y="1115444"/>
                    </a:lnTo>
                    <a:lnTo>
                      <a:pt x="9463" y="1185222"/>
                    </a:lnTo>
                    <a:lnTo>
                      <a:pt x="7285" y="1186369"/>
                    </a:lnTo>
                    <a:lnTo>
                      <a:pt x="80424" y="1208877"/>
                    </a:lnTo>
                    <a:lnTo>
                      <a:pt x="123011" y="1133176"/>
                    </a:lnTo>
                    <a:lnTo>
                      <a:pt x="146670" y="1450181"/>
                    </a:lnTo>
                    <a:lnTo>
                      <a:pt x="160866" y="1729331"/>
                    </a:lnTo>
                    <a:lnTo>
                      <a:pt x="188829" y="1807407"/>
                    </a:lnTo>
                    <a:lnTo>
                      <a:pt x="164616" y="1855485"/>
                    </a:lnTo>
                    <a:lnTo>
                      <a:pt x="164634" y="1888180"/>
                    </a:lnTo>
                    <a:lnTo>
                      <a:pt x="166991" y="1918549"/>
                    </a:lnTo>
                    <a:lnTo>
                      <a:pt x="176312" y="1951243"/>
                    </a:lnTo>
                    <a:lnTo>
                      <a:pt x="176329" y="1983943"/>
                    </a:lnTo>
                    <a:lnTo>
                      <a:pt x="169366" y="1995621"/>
                    </a:lnTo>
                    <a:lnTo>
                      <a:pt x="157723" y="2009651"/>
                    </a:lnTo>
                    <a:lnTo>
                      <a:pt x="136814" y="2028355"/>
                    </a:lnTo>
                    <a:lnTo>
                      <a:pt x="130332" y="2037471"/>
                    </a:lnTo>
                    <a:lnTo>
                      <a:pt x="137207" y="2036873"/>
                    </a:lnTo>
                    <a:lnTo>
                      <a:pt x="380890" y="2036873"/>
                    </a:lnTo>
                    <a:lnTo>
                      <a:pt x="379694" y="2037440"/>
                    </a:lnTo>
                    <a:lnTo>
                      <a:pt x="667125" y="2041605"/>
                    </a:lnTo>
                    <a:lnTo>
                      <a:pt x="747960" y="198663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7495" tIns="20416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4" name="shp_Region_Belize_$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59461D7-A747-8675-1FF6-AF89635DCA8D}"/>
                  </a:ext>
                </a:extLst>
              </p:cNvPr>
              <p:cNvSpPr/>
              <p:nvPr/>
            </p:nvSpPr>
            <p:spPr>
              <a:xfrm>
                <a:off x="2775066" y="1640747"/>
                <a:ext cx="46820" cy="158631"/>
              </a:xfrm>
              <a:custGeom>
                <a:avLst/>
                <a:gdLst/>
                <a:ahLst/>
                <a:cxnLst/>
                <a:rect l="0" t="0" r="0" b="0"/>
                <a:pathLst>
                  <a:path w="46820" h="158631">
                    <a:moveTo>
                      <a:pt x="45515" y="0"/>
                    </a:moveTo>
                    <a:lnTo>
                      <a:pt x="40319" y="1951"/>
                    </a:lnTo>
                    <a:lnTo>
                      <a:pt x="39016" y="11700"/>
                    </a:lnTo>
                    <a:lnTo>
                      <a:pt x="29909" y="19504"/>
                    </a:lnTo>
                    <a:lnTo>
                      <a:pt x="29909" y="32503"/>
                    </a:lnTo>
                    <a:lnTo>
                      <a:pt x="20802" y="48109"/>
                    </a:lnTo>
                    <a:lnTo>
                      <a:pt x="21463" y="70211"/>
                    </a:lnTo>
                    <a:lnTo>
                      <a:pt x="15606" y="89067"/>
                    </a:lnTo>
                    <a:lnTo>
                      <a:pt x="29266" y="100120"/>
                    </a:lnTo>
                    <a:lnTo>
                      <a:pt x="31213" y="114427"/>
                    </a:lnTo>
                    <a:lnTo>
                      <a:pt x="26659" y="126775"/>
                    </a:lnTo>
                    <a:lnTo>
                      <a:pt x="21463" y="132627"/>
                    </a:lnTo>
                    <a:lnTo>
                      <a:pt x="13660" y="126775"/>
                    </a:lnTo>
                    <a:lnTo>
                      <a:pt x="7160" y="126775"/>
                    </a:lnTo>
                    <a:lnTo>
                      <a:pt x="1964" y="133274"/>
                    </a:lnTo>
                    <a:lnTo>
                      <a:pt x="0" y="158630"/>
                    </a:lnTo>
                    <a:lnTo>
                      <a:pt x="15606" y="157327"/>
                    </a:lnTo>
                    <a:lnTo>
                      <a:pt x="24713" y="150175"/>
                    </a:lnTo>
                    <a:lnTo>
                      <a:pt x="35105" y="126123"/>
                    </a:lnTo>
                    <a:lnTo>
                      <a:pt x="35105" y="108570"/>
                    </a:lnTo>
                    <a:lnTo>
                      <a:pt x="31213" y="86460"/>
                    </a:lnTo>
                    <a:lnTo>
                      <a:pt x="31213" y="55908"/>
                    </a:lnTo>
                    <a:lnTo>
                      <a:pt x="40319" y="22102"/>
                    </a:lnTo>
                    <a:lnTo>
                      <a:pt x="46819" y="8451"/>
                    </a:lnTo>
                    <a:lnTo>
                      <a:pt x="4551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20" tIns="15863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5" name="shp_Region_Belize_$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7187169A-E1FC-1BE4-FD71-49E009342BDF}"/>
                  </a:ext>
                </a:extLst>
              </p:cNvPr>
              <p:cNvSpPr/>
              <p:nvPr/>
            </p:nvSpPr>
            <p:spPr>
              <a:xfrm>
                <a:off x="2388890" y="1820179"/>
                <a:ext cx="250952" cy="185286"/>
              </a:xfrm>
              <a:custGeom>
                <a:avLst/>
                <a:gdLst/>
                <a:ahLst/>
                <a:cxnLst/>
                <a:rect l="0" t="0" r="0" b="0"/>
                <a:pathLst>
                  <a:path w="250952" h="185286">
                    <a:moveTo>
                      <a:pt x="141082" y="161233"/>
                    </a:moveTo>
                    <a:lnTo>
                      <a:pt x="145635" y="154729"/>
                    </a:lnTo>
                    <a:lnTo>
                      <a:pt x="136529" y="147577"/>
                    </a:lnTo>
                    <a:lnTo>
                      <a:pt x="125476" y="145631"/>
                    </a:lnTo>
                    <a:lnTo>
                      <a:pt x="136529" y="135230"/>
                    </a:lnTo>
                    <a:lnTo>
                      <a:pt x="143028" y="124824"/>
                    </a:lnTo>
                    <a:lnTo>
                      <a:pt x="144992" y="116374"/>
                    </a:lnTo>
                    <a:lnTo>
                      <a:pt x="156688" y="104669"/>
                    </a:lnTo>
                    <a:lnTo>
                      <a:pt x="172937" y="96866"/>
                    </a:lnTo>
                    <a:lnTo>
                      <a:pt x="182687" y="89067"/>
                    </a:lnTo>
                    <a:lnTo>
                      <a:pt x="189847" y="76068"/>
                    </a:lnTo>
                    <a:lnTo>
                      <a:pt x="200900" y="71514"/>
                    </a:lnTo>
                    <a:lnTo>
                      <a:pt x="213899" y="50060"/>
                    </a:lnTo>
                    <a:lnTo>
                      <a:pt x="230149" y="44860"/>
                    </a:lnTo>
                    <a:lnTo>
                      <a:pt x="237952" y="37056"/>
                    </a:lnTo>
                    <a:lnTo>
                      <a:pt x="249005" y="31856"/>
                    </a:lnTo>
                    <a:lnTo>
                      <a:pt x="250951" y="13004"/>
                    </a:lnTo>
                    <a:lnTo>
                      <a:pt x="249005" y="3898"/>
                    </a:lnTo>
                    <a:lnTo>
                      <a:pt x="242505" y="0"/>
                    </a:lnTo>
                    <a:lnTo>
                      <a:pt x="234059" y="5853"/>
                    </a:lnTo>
                    <a:lnTo>
                      <a:pt x="235363" y="14303"/>
                    </a:lnTo>
                    <a:lnTo>
                      <a:pt x="228845" y="25356"/>
                    </a:lnTo>
                    <a:lnTo>
                      <a:pt x="223649" y="27307"/>
                    </a:lnTo>
                    <a:lnTo>
                      <a:pt x="203489" y="56560"/>
                    </a:lnTo>
                    <a:lnTo>
                      <a:pt x="180741" y="68912"/>
                    </a:lnTo>
                    <a:lnTo>
                      <a:pt x="162545" y="75416"/>
                    </a:lnTo>
                    <a:lnTo>
                      <a:pt x="144992" y="77367"/>
                    </a:lnTo>
                    <a:lnTo>
                      <a:pt x="143689" y="94924"/>
                    </a:lnTo>
                    <a:lnTo>
                      <a:pt x="139778" y="99464"/>
                    </a:lnTo>
                    <a:lnTo>
                      <a:pt x="128083" y="100776"/>
                    </a:lnTo>
                    <a:lnTo>
                      <a:pt x="124833" y="96866"/>
                    </a:lnTo>
                    <a:lnTo>
                      <a:pt x="113137" y="92969"/>
                    </a:lnTo>
                    <a:lnTo>
                      <a:pt x="96227" y="102071"/>
                    </a:lnTo>
                    <a:lnTo>
                      <a:pt x="79978" y="128074"/>
                    </a:lnTo>
                    <a:lnTo>
                      <a:pt x="74121" y="139779"/>
                    </a:lnTo>
                    <a:lnTo>
                      <a:pt x="64372" y="153425"/>
                    </a:lnTo>
                    <a:lnTo>
                      <a:pt x="52676" y="162532"/>
                    </a:lnTo>
                    <a:lnTo>
                      <a:pt x="37070" y="170982"/>
                    </a:lnTo>
                    <a:lnTo>
                      <a:pt x="29266" y="165782"/>
                    </a:lnTo>
                    <a:lnTo>
                      <a:pt x="29266" y="149528"/>
                    </a:lnTo>
                    <a:lnTo>
                      <a:pt x="18856" y="148881"/>
                    </a:lnTo>
                    <a:lnTo>
                      <a:pt x="11714" y="163184"/>
                    </a:lnTo>
                    <a:lnTo>
                      <a:pt x="1304" y="168384"/>
                    </a:lnTo>
                    <a:lnTo>
                      <a:pt x="0" y="176835"/>
                    </a:lnTo>
                    <a:lnTo>
                      <a:pt x="8464" y="179437"/>
                    </a:lnTo>
                    <a:lnTo>
                      <a:pt x="9767" y="172286"/>
                    </a:lnTo>
                    <a:lnTo>
                      <a:pt x="22106" y="170335"/>
                    </a:lnTo>
                    <a:lnTo>
                      <a:pt x="24070" y="182687"/>
                    </a:lnTo>
                    <a:lnTo>
                      <a:pt x="37070" y="185285"/>
                    </a:lnTo>
                    <a:lnTo>
                      <a:pt x="38373" y="177486"/>
                    </a:lnTo>
                    <a:lnTo>
                      <a:pt x="49426" y="172933"/>
                    </a:lnTo>
                    <a:lnTo>
                      <a:pt x="68264" y="172286"/>
                    </a:lnTo>
                    <a:lnTo>
                      <a:pt x="77371" y="174884"/>
                    </a:lnTo>
                    <a:lnTo>
                      <a:pt x="83871" y="167733"/>
                    </a:lnTo>
                    <a:lnTo>
                      <a:pt x="77371" y="163826"/>
                    </a:lnTo>
                    <a:lnTo>
                      <a:pt x="72818" y="170335"/>
                    </a:lnTo>
                    <a:lnTo>
                      <a:pt x="62425" y="163184"/>
                    </a:lnTo>
                    <a:lnTo>
                      <a:pt x="66318" y="150827"/>
                    </a:lnTo>
                    <a:lnTo>
                      <a:pt x="72818" y="150180"/>
                    </a:lnTo>
                    <a:lnTo>
                      <a:pt x="80621" y="139127"/>
                    </a:lnTo>
                    <a:lnTo>
                      <a:pt x="89728" y="136529"/>
                    </a:lnTo>
                    <a:lnTo>
                      <a:pt x="97531" y="122873"/>
                    </a:lnTo>
                    <a:lnTo>
                      <a:pt x="98174" y="114423"/>
                    </a:lnTo>
                    <a:lnTo>
                      <a:pt x="110530" y="112472"/>
                    </a:lnTo>
                    <a:lnTo>
                      <a:pt x="113137" y="98174"/>
                    </a:lnTo>
                    <a:lnTo>
                      <a:pt x="118976" y="100776"/>
                    </a:lnTo>
                    <a:lnTo>
                      <a:pt x="126779" y="116374"/>
                    </a:lnTo>
                    <a:lnTo>
                      <a:pt x="137832" y="112472"/>
                    </a:lnTo>
                    <a:lnTo>
                      <a:pt x="141082" y="121570"/>
                    </a:lnTo>
                    <a:lnTo>
                      <a:pt x="134582" y="125476"/>
                    </a:lnTo>
                    <a:lnTo>
                      <a:pt x="131975" y="133275"/>
                    </a:lnTo>
                    <a:lnTo>
                      <a:pt x="118976" y="131324"/>
                    </a:lnTo>
                    <a:lnTo>
                      <a:pt x="113780" y="139127"/>
                    </a:lnTo>
                    <a:lnTo>
                      <a:pt x="103388" y="144328"/>
                    </a:lnTo>
                    <a:lnTo>
                      <a:pt x="102084" y="152778"/>
                    </a:lnTo>
                    <a:lnTo>
                      <a:pt x="118976" y="154082"/>
                    </a:lnTo>
                    <a:lnTo>
                      <a:pt x="128725" y="157983"/>
                    </a:lnTo>
                    <a:lnTo>
                      <a:pt x="134582" y="156680"/>
                    </a:lnTo>
                    <a:lnTo>
                      <a:pt x="141082" y="161233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0952" tIns="18528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6" name="shp_Region_Belize_$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07E398B-0308-5DEC-AB3E-A5CB349692E6}"/>
                  </a:ext>
                </a:extLst>
              </p:cNvPr>
              <p:cNvSpPr/>
              <p:nvPr/>
            </p:nvSpPr>
            <p:spPr>
              <a:xfrm>
                <a:off x="2760763" y="1835781"/>
                <a:ext cx="11715" cy="57213"/>
              </a:xfrm>
              <a:custGeom>
                <a:avLst/>
                <a:gdLst/>
                <a:ahLst/>
                <a:cxnLst/>
                <a:rect l="0" t="0" r="0" b="0"/>
                <a:pathLst>
                  <a:path w="11715" h="57213">
                    <a:moveTo>
                      <a:pt x="11714" y="0"/>
                    </a:moveTo>
                    <a:lnTo>
                      <a:pt x="5857" y="15611"/>
                    </a:lnTo>
                    <a:lnTo>
                      <a:pt x="4553" y="26655"/>
                    </a:lnTo>
                    <a:lnTo>
                      <a:pt x="0" y="37708"/>
                    </a:lnTo>
                    <a:lnTo>
                      <a:pt x="1964" y="57212"/>
                    </a:lnTo>
                    <a:lnTo>
                      <a:pt x="9768" y="53962"/>
                    </a:lnTo>
                    <a:lnTo>
                      <a:pt x="11714" y="48761"/>
                    </a:lnTo>
                    <a:lnTo>
                      <a:pt x="1171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715" tIns="5721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7" name="shp_Region_Belize_$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7242E21-58F1-1AE0-F10E-D0F71FEDB6F7}"/>
                  </a:ext>
                </a:extLst>
              </p:cNvPr>
              <p:cNvSpPr/>
              <p:nvPr/>
            </p:nvSpPr>
            <p:spPr>
              <a:xfrm>
                <a:off x="2534525" y="1982711"/>
                <a:ext cx="11697" cy="110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1054">
                    <a:moveTo>
                      <a:pt x="5857" y="0"/>
                    </a:moveTo>
                    <a:lnTo>
                      <a:pt x="0" y="3901"/>
                    </a:lnTo>
                    <a:lnTo>
                      <a:pt x="5857" y="11053"/>
                    </a:lnTo>
                    <a:lnTo>
                      <a:pt x="11696" y="3250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10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8" name="shp_Region_Belize_$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4BCC426-641C-F18A-2F09-08780C8D415C}"/>
                  </a:ext>
                </a:extLst>
              </p:cNvPr>
              <p:cNvSpPr/>
              <p:nvPr/>
            </p:nvSpPr>
            <p:spPr>
              <a:xfrm>
                <a:off x="2550132" y="1987912"/>
                <a:ext cx="55908" cy="43561"/>
              </a:xfrm>
              <a:custGeom>
                <a:avLst/>
                <a:gdLst/>
                <a:ahLst/>
                <a:cxnLst/>
                <a:rect l="0" t="0" r="0" b="0"/>
                <a:pathLst>
                  <a:path w="55908" h="43561">
                    <a:moveTo>
                      <a:pt x="3249" y="0"/>
                    </a:moveTo>
                    <a:lnTo>
                      <a:pt x="1303" y="4553"/>
                    </a:lnTo>
                    <a:lnTo>
                      <a:pt x="0" y="26659"/>
                    </a:lnTo>
                    <a:lnTo>
                      <a:pt x="16909" y="22748"/>
                    </a:lnTo>
                    <a:lnTo>
                      <a:pt x="31855" y="24704"/>
                    </a:lnTo>
                    <a:lnTo>
                      <a:pt x="42247" y="43560"/>
                    </a:lnTo>
                    <a:lnTo>
                      <a:pt x="55907" y="42908"/>
                    </a:lnTo>
                    <a:lnTo>
                      <a:pt x="44854" y="18204"/>
                    </a:lnTo>
                    <a:lnTo>
                      <a:pt x="41604" y="15601"/>
                    </a:lnTo>
                    <a:lnTo>
                      <a:pt x="29248" y="16253"/>
                    </a:lnTo>
                    <a:lnTo>
                      <a:pt x="14945" y="13651"/>
                    </a:lnTo>
                    <a:lnTo>
                      <a:pt x="8446" y="9102"/>
                    </a:lnTo>
                    <a:lnTo>
                      <a:pt x="32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5908" tIns="4356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9" name="shp_Region_Belize_$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50700CA-DCA5-04AE-A57F-871FA79B8F95}"/>
                  </a:ext>
                </a:extLst>
              </p:cNvPr>
              <p:cNvSpPr/>
              <p:nvPr/>
            </p:nvSpPr>
            <p:spPr>
              <a:xfrm>
                <a:off x="2696409" y="1996362"/>
                <a:ext cx="20804" cy="4876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48762">
                    <a:moveTo>
                      <a:pt x="16910" y="0"/>
                    </a:moveTo>
                    <a:lnTo>
                      <a:pt x="5857" y="5201"/>
                    </a:lnTo>
                    <a:lnTo>
                      <a:pt x="4554" y="18209"/>
                    </a:lnTo>
                    <a:lnTo>
                      <a:pt x="643" y="26655"/>
                    </a:lnTo>
                    <a:lnTo>
                      <a:pt x="0" y="44859"/>
                    </a:lnTo>
                    <a:lnTo>
                      <a:pt x="3893" y="48761"/>
                    </a:lnTo>
                    <a:lnTo>
                      <a:pt x="12357" y="42908"/>
                    </a:lnTo>
                    <a:lnTo>
                      <a:pt x="14946" y="20811"/>
                    </a:lnTo>
                    <a:lnTo>
                      <a:pt x="20803" y="15611"/>
                    </a:lnTo>
                    <a:lnTo>
                      <a:pt x="1691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4876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0" name="shp_Region_Belize_$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C930C1A-C7E6-65BD-264B-6A8E87F4A513}"/>
                  </a:ext>
                </a:extLst>
              </p:cNvPr>
              <p:cNvSpPr/>
              <p:nvPr/>
            </p:nvSpPr>
            <p:spPr>
              <a:xfrm>
                <a:off x="2617092" y="2033423"/>
                <a:ext cx="71515" cy="117021"/>
              </a:xfrm>
              <a:custGeom>
                <a:avLst/>
                <a:gdLst/>
                <a:ahLst/>
                <a:cxnLst/>
                <a:rect l="0" t="0" r="0" b="0"/>
                <a:pathLst>
                  <a:path w="71515" h="117021">
                    <a:moveTo>
                      <a:pt x="54604" y="112471"/>
                    </a:moveTo>
                    <a:lnTo>
                      <a:pt x="63068" y="117020"/>
                    </a:lnTo>
                    <a:lnTo>
                      <a:pt x="67622" y="113118"/>
                    </a:lnTo>
                    <a:lnTo>
                      <a:pt x="63711" y="106623"/>
                    </a:lnTo>
                    <a:lnTo>
                      <a:pt x="66318" y="96218"/>
                    </a:lnTo>
                    <a:lnTo>
                      <a:pt x="63068" y="89066"/>
                    </a:lnTo>
                    <a:lnTo>
                      <a:pt x="71514" y="81263"/>
                    </a:lnTo>
                    <a:lnTo>
                      <a:pt x="59158" y="62411"/>
                    </a:lnTo>
                    <a:lnTo>
                      <a:pt x="66961" y="50059"/>
                    </a:lnTo>
                    <a:lnTo>
                      <a:pt x="62408" y="44859"/>
                    </a:lnTo>
                    <a:lnTo>
                      <a:pt x="58515" y="19503"/>
                    </a:lnTo>
                    <a:lnTo>
                      <a:pt x="50712" y="15606"/>
                    </a:lnTo>
                    <a:lnTo>
                      <a:pt x="33159" y="1299"/>
                    </a:lnTo>
                    <a:lnTo>
                      <a:pt x="17553" y="3249"/>
                    </a:lnTo>
                    <a:lnTo>
                      <a:pt x="14303" y="0"/>
                    </a:lnTo>
                    <a:lnTo>
                      <a:pt x="1304" y="1299"/>
                    </a:lnTo>
                    <a:lnTo>
                      <a:pt x="0" y="5847"/>
                    </a:lnTo>
                    <a:lnTo>
                      <a:pt x="11053" y="11700"/>
                    </a:lnTo>
                    <a:lnTo>
                      <a:pt x="13660" y="17552"/>
                    </a:lnTo>
                    <a:lnTo>
                      <a:pt x="33802" y="39654"/>
                    </a:lnTo>
                    <a:lnTo>
                      <a:pt x="31213" y="50707"/>
                    </a:lnTo>
                    <a:lnTo>
                      <a:pt x="42266" y="62411"/>
                    </a:lnTo>
                    <a:lnTo>
                      <a:pt x="44212" y="72165"/>
                    </a:lnTo>
                    <a:lnTo>
                      <a:pt x="53319" y="71509"/>
                    </a:lnTo>
                    <a:lnTo>
                      <a:pt x="54604" y="76714"/>
                    </a:lnTo>
                    <a:lnTo>
                      <a:pt x="47462" y="86464"/>
                    </a:lnTo>
                    <a:lnTo>
                      <a:pt x="47462" y="93615"/>
                    </a:lnTo>
                    <a:lnTo>
                      <a:pt x="41605" y="100762"/>
                    </a:lnTo>
                    <a:lnTo>
                      <a:pt x="54604" y="11247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515" tIns="11702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1" name="shp_Region_Belize_$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F3A39C6-E79D-9E8F-A017-2E947D4E7C84}"/>
                  </a:ext>
                </a:extLst>
              </p:cNvPr>
              <p:cNvSpPr/>
              <p:nvPr/>
            </p:nvSpPr>
            <p:spPr>
              <a:xfrm>
                <a:off x="2210114" y="2052926"/>
                <a:ext cx="20804" cy="1365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3652">
                    <a:moveTo>
                      <a:pt x="6500" y="0"/>
                    </a:moveTo>
                    <a:lnTo>
                      <a:pt x="0" y="6500"/>
                    </a:lnTo>
                    <a:lnTo>
                      <a:pt x="8446" y="13651"/>
                    </a:lnTo>
                    <a:lnTo>
                      <a:pt x="17553" y="12352"/>
                    </a:lnTo>
                    <a:lnTo>
                      <a:pt x="20803" y="3902"/>
                    </a:lnTo>
                    <a:lnTo>
                      <a:pt x="6500" y="5848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136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2" name="shp_Region_Belize_$1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1DD46EC-99F4-9D64-B5B7-A5FA7B472825}"/>
                  </a:ext>
                </a:extLst>
              </p:cNvPr>
              <p:cNvSpPr/>
              <p:nvPr/>
            </p:nvSpPr>
            <p:spPr>
              <a:xfrm>
                <a:off x="2197758" y="2074380"/>
                <a:ext cx="13000" cy="26656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26656">
                    <a:moveTo>
                      <a:pt x="9106" y="0"/>
                    </a:moveTo>
                    <a:lnTo>
                      <a:pt x="8463" y="12352"/>
                    </a:lnTo>
                    <a:lnTo>
                      <a:pt x="0" y="26003"/>
                    </a:lnTo>
                    <a:lnTo>
                      <a:pt x="12356" y="26655"/>
                    </a:lnTo>
                    <a:lnTo>
                      <a:pt x="12999" y="13651"/>
                    </a:lnTo>
                    <a:lnTo>
                      <a:pt x="9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0" tIns="266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3" name="shp_Region_Belize_$1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D989676-E794-61B1-60B4-3A03C52556DC}"/>
                  </a:ext>
                </a:extLst>
              </p:cNvPr>
              <p:cNvSpPr/>
              <p:nvPr/>
            </p:nvSpPr>
            <p:spPr>
              <a:xfrm>
                <a:off x="2377855" y="2149791"/>
                <a:ext cx="18839" cy="21451"/>
              </a:xfrm>
              <a:custGeom>
                <a:avLst/>
                <a:gdLst/>
                <a:ahLst/>
                <a:cxnLst/>
                <a:rect l="0" t="0" r="0" b="0"/>
                <a:pathLst>
                  <a:path w="18839" h="21451">
                    <a:moveTo>
                      <a:pt x="18195" y="0"/>
                    </a:moveTo>
                    <a:lnTo>
                      <a:pt x="5839" y="1304"/>
                    </a:lnTo>
                    <a:lnTo>
                      <a:pt x="5839" y="11049"/>
                    </a:lnTo>
                    <a:lnTo>
                      <a:pt x="0" y="14303"/>
                    </a:lnTo>
                    <a:lnTo>
                      <a:pt x="3893" y="21450"/>
                    </a:lnTo>
                    <a:lnTo>
                      <a:pt x="11035" y="14303"/>
                    </a:lnTo>
                    <a:lnTo>
                      <a:pt x="18838" y="12352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839" tIns="214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4" name="shp_Region_Belize_$1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E971641-4BBA-E987-2647-AAD40B25ADC4}"/>
                  </a:ext>
                </a:extLst>
              </p:cNvPr>
              <p:cNvSpPr/>
              <p:nvPr/>
            </p:nvSpPr>
            <p:spPr>
              <a:xfrm>
                <a:off x="2676910" y="2153046"/>
                <a:ext cx="24054" cy="24705"/>
              </a:xfrm>
              <a:custGeom>
                <a:avLst/>
                <a:gdLst/>
                <a:ahLst/>
                <a:cxnLst/>
                <a:rect l="0" t="0" r="0" b="0"/>
                <a:pathLst>
                  <a:path w="24054" h="24705">
                    <a:moveTo>
                      <a:pt x="15589" y="0"/>
                    </a:moveTo>
                    <a:lnTo>
                      <a:pt x="1286" y="647"/>
                    </a:lnTo>
                    <a:lnTo>
                      <a:pt x="0" y="16253"/>
                    </a:lnTo>
                    <a:lnTo>
                      <a:pt x="10393" y="16253"/>
                    </a:lnTo>
                    <a:lnTo>
                      <a:pt x="18196" y="24704"/>
                    </a:lnTo>
                    <a:lnTo>
                      <a:pt x="24053" y="12352"/>
                    </a:lnTo>
                    <a:lnTo>
                      <a:pt x="1558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054" tIns="247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5" name="shp_Region_Belize_$1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9AE35731-B222-421F-20DE-8D81AD521F24}"/>
                  </a:ext>
                </a:extLst>
              </p:cNvPr>
              <p:cNvSpPr/>
              <p:nvPr/>
            </p:nvSpPr>
            <p:spPr>
              <a:xfrm>
                <a:off x="2294627" y="2162143"/>
                <a:ext cx="21464" cy="21456"/>
              </a:xfrm>
              <a:custGeom>
                <a:avLst/>
                <a:gdLst/>
                <a:ahLst/>
                <a:cxnLst/>
                <a:rect l="0" t="0" r="0" b="0"/>
                <a:pathLst>
                  <a:path w="21464" h="21456">
                    <a:moveTo>
                      <a:pt x="21463" y="0"/>
                    </a:moveTo>
                    <a:lnTo>
                      <a:pt x="9107" y="2603"/>
                    </a:lnTo>
                    <a:lnTo>
                      <a:pt x="3250" y="9098"/>
                    </a:lnTo>
                    <a:lnTo>
                      <a:pt x="0" y="18205"/>
                    </a:lnTo>
                    <a:lnTo>
                      <a:pt x="9750" y="21455"/>
                    </a:lnTo>
                    <a:lnTo>
                      <a:pt x="11053" y="13004"/>
                    </a:lnTo>
                    <a:lnTo>
                      <a:pt x="20160" y="6500"/>
                    </a:lnTo>
                    <a:lnTo>
                      <a:pt x="2146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64" tIns="214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6" name="shp_Region_Belize_$1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027C4F3-051A-45F1-DE8C-74360663C682}"/>
                  </a:ext>
                </a:extLst>
              </p:cNvPr>
              <p:cNvSpPr/>
              <p:nvPr/>
            </p:nvSpPr>
            <p:spPr>
              <a:xfrm>
                <a:off x="2449369" y="2171893"/>
                <a:ext cx="21446" cy="29263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3">
                    <a:moveTo>
                      <a:pt x="18195" y="0"/>
                    </a:moveTo>
                    <a:lnTo>
                      <a:pt x="9750" y="1303"/>
                    </a:lnTo>
                    <a:lnTo>
                      <a:pt x="6500" y="13008"/>
                    </a:lnTo>
                    <a:lnTo>
                      <a:pt x="0" y="18856"/>
                    </a:lnTo>
                    <a:lnTo>
                      <a:pt x="0" y="25360"/>
                    </a:lnTo>
                    <a:lnTo>
                      <a:pt x="5839" y="29262"/>
                    </a:lnTo>
                    <a:lnTo>
                      <a:pt x="11696" y="20807"/>
                    </a:lnTo>
                    <a:lnTo>
                      <a:pt x="21445" y="15606"/>
                    </a:lnTo>
                    <a:lnTo>
                      <a:pt x="21445" y="5205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292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7" name="shp_Region_Belize_$1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8D1861D-1122-7D8D-497C-D882CE5DA9B2}"/>
                  </a:ext>
                </a:extLst>
              </p:cNvPr>
              <p:cNvSpPr/>
              <p:nvPr/>
            </p:nvSpPr>
            <p:spPr>
              <a:xfrm>
                <a:off x="2685356" y="2189450"/>
                <a:ext cx="16911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11706">
                    <a:moveTo>
                      <a:pt x="11053" y="0"/>
                    </a:moveTo>
                    <a:lnTo>
                      <a:pt x="0" y="5201"/>
                    </a:lnTo>
                    <a:lnTo>
                      <a:pt x="16910" y="11705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911" tIns="117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8" name="shp_Region_Belize_$1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50A77AF-CD49-4E20-CCF8-4D3E4CAFAAA7}"/>
                  </a:ext>
                </a:extLst>
              </p:cNvPr>
              <p:cNvSpPr/>
              <p:nvPr/>
            </p:nvSpPr>
            <p:spPr>
              <a:xfrm>
                <a:off x="2437012" y="2200503"/>
                <a:ext cx="11054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27303">
                    <a:moveTo>
                      <a:pt x="11053" y="0"/>
                    </a:moveTo>
                    <a:lnTo>
                      <a:pt x="7143" y="9107"/>
                    </a:lnTo>
                    <a:lnTo>
                      <a:pt x="0" y="14954"/>
                    </a:lnTo>
                    <a:lnTo>
                      <a:pt x="0" y="27302"/>
                    </a:lnTo>
                    <a:lnTo>
                      <a:pt x="9089" y="240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27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9" name="shp_Region_Belize_$1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7CD3B3E-D61B-B36F-D349-1953687FFFBB}"/>
                  </a:ext>
                </a:extLst>
              </p:cNvPr>
              <p:cNvSpPr/>
              <p:nvPr/>
            </p:nvSpPr>
            <p:spPr>
              <a:xfrm>
                <a:off x="3007161" y="2223256"/>
                <a:ext cx="416728" cy="598764"/>
              </a:xfrm>
              <a:custGeom>
                <a:avLst/>
                <a:gdLst/>
                <a:ahLst/>
                <a:cxnLst/>
                <a:rect l="0" t="0" r="0" b="0"/>
                <a:pathLst>
                  <a:path w="416728" h="598764">
                    <a:moveTo>
                      <a:pt x="298412" y="24704"/>
                    </a:moveTo>
                    <a:lnTo>
                      <a:pt x="295163" y="39663"/>
                    </a:lnTo>
                    <a:lnTo>
                      <a:pt x="288002" y="46810"/>
                    </a:lnTo>
                    <a:lnTo>
                      <a:pt x="278253" y="50712"/>
                    </a:lnTo>
                    <a:lnTo>
                      <a:pt x="269807" y="66309"/>
                    </a:lnTo>
                    <a:lnTo>
                      <a:pt x="268503" y="84518"/>
                    </a:lnTo>
                    <a:lnTo>
                      <a:pt x="260057" y="98165"/>
                    </a:lnTo>
                    <a:lnTo>
                      <a:pt x="278913" y="88420"/>
                    </a:lnTo>
                    <a:lnTo>
                      <a:pt x="278913" y="80616"/>
                    </a:lnTo>
                    <a:lnTo>
                      <a:pt x="282806" y="70215"/>
                    </a:lnTo>
                    <a:lnTo>
                      <a:pt x="284752" y="57211"/>
                    </a:lnTo>
                    <a:lnTo>
                      <a:pt x="295163" y="54613"/>
                    </a:lnTo>
                    <a:lnTo>
                      <a:pt x="294520" y="45516"/>
                    </a:lnTo>
                    <a:lnTo>
                      <a:pt x="299055" y="40958"/>
                    </a:lnTo>
                    <a:lnTo>
                      <a:pt x="306215" y="42909"/>
                    </a:lnTo>
                    <a:lnTo>
                      <a:pt x="311412" y="50712"/>
                    </a:lnTo>
                    <a:lnTo>
                      <a:pt x="328321" y="50060"/>
                    </a:lnTo>
                    <a:lnTo>
                      <a:pt x="331571" y="53310"/>
                    </a:lnTo>
                    <a:lnTo>
                      <a:pt x="331571" y="66309"/>
                    </a:lnTo>
                    <a:lnTo>
                      <a:pt x="324411" y="75416"/>
                    </a:lnTo>
                    <a:lnTo>
                      <a:pt x="325072" y="91018"/>
                    </a:lnTo>
                    <a:lnTo>
                      <a:pt x="345213" y="91018"/>
                    </a:lnTo>
                    <a:lnTo>
                      <a:pt x="345213" y="102071"/>
                    </a:lnTo>
                    <a:lnTo>
                      <a:pt x="348481" y="111173"/>
                    </a:lnTo>
                    <a:lnTo>
                      <a:pt x="330268" y="116373"/>
                    </a:lnTo>
                    <a:lnTo>
                      <a:pt x="315965" y="115074"/>
                    </a:lnTo>
                    <a:lnTo>
                      <a:pt x="312072" y="121574"/>
                    </a:lnTo>
                    <a:lnTo>
                      <a:pt x="302966" y="128725"/>
                    </a:lnTo>
                    <a:lnTo>
                      <a:pt x="288002" y="128074"/>
                    </a:lnTo>
                    <a:lnTo>
                      <a:pt x="284752" y="139778"/>
                    </a:lnTo>
                    <a:lnTo>
                      <a:pt x="274360" y="148881"/>
                    </a:lnTo>
                    <a:lnTo>
                      <a:pt x="280217" y="160581"/>
                    </a:lnTo>
                    <a:lnTo>
                      <a:pt x="286717" y="164482"/>
                    </a:lnTo>
                    <a:lnTo>
                      <a:pt x="284752" y="178133"/>
                    </a:lnTo>
                    <a:lnTo>
                      <a:pt x="278253" y="185937"/>
                    </a:lnTo>
                    <a:lnTo>
                      <a:pt x="270449" y="190485"/>
                    </a:lnTo>
                    <a:lnTo>
                      <a:pt x="258111" y="188535"/>
                    </a:lnTo>
                    <a:lnTo>
                      <a:pt x="241201" y="199583"/>
                    </a:lnTo>
                    <a:lnTo>
                      <a:pt x="230148" y="199583"/>
                    </a:lnTo>
                    <a:lnTo>
                      <a:pt x="228845" y="208043"/>
                    </a:lnTo>
                    <a:lnTo>
                      <a:pt x="209346" y="216493"/>
                    </a:lnTo>
                    <a:lnTo>
                      <a:pt x="167080" y="221042"/>
                    </a:lnTo>
                    <a:lnTo>
                      <a:pt x="157991" y="214542"/>
                    </a:lnTo>
                    <a:lnTo>
                      <a:pt x="170991" y="189182"/>
                    </a:lnTo>
                    <a:lnTo>
                      <a:pt x="200900" y="174232"/>
                    </a:lnTo>
                    <a:lnTo>
                      <a:pt x="196989" y="158630"/>
                    </a:lnTo>
                    <a:lnTo>
                      <a:pt x="208042" y="146278"/>
                    </a:lnTo>
                    <a:lnTo>
                      <a:pt x="200900" y="145631"/>
                    </a:lnTo>
                    <a:lnTo>
                      <a:pt x="191793" y="159282"/>
                    </a:lnTo>
                    <a:lnTo>
                      <a:pt x="182044" y="157331"/>
                    </a:lnTo>
                    <a:lnTo>
                      <a:pt x="175544" y="161233"/>
                    </a:lnTo>
                    <a:lnTo>
                      <a:pt x="168384" y="171634"/>
                    </a:lnTo>
                    <a:lnTo>
                      <a:pt x="162545" y="175535"/>
                    </a:lnTo>
                    <a:lnTo>
                      <a:pt x="157331" y="194383"/>
                    </a:lnTo>
                    <a:lnTo>
                      <a:pt x="146278" y="201538"/>
                    </a:lnTo>
                    <a:lnTo>
                      <a:pt x="137189" y="213243"/>
                    </a:lnTo>
                    <a:lnTo>
                      <a:pt x="137189" y="219743"/>
                    </a:lnTo>
                    <a:lnTo>
                      <a:pt x="124832" y="244447"/>
                    </a:lnTo>
                    <a:lnTo>
                      <a:pt x="107923" y="256799"/>
                    </a:lnTo>
                    <a:lnTo>
                      <a:pt x="107280" y="267852"/>
                    </a:lnTo>
                    <a:lnTo>
                      <a:pt x="100780" y="289306"/>
                    </a:lnTo>
                    <a:lnTo>
                      <a:pt x="92316" y="297757"/>
                    </a:lnTo>
                    <a:lnTo>
                      <a:pt x="87120" y="308158"/>
                    </a:lnTo>
                    <a:lnTo>
                      <a:pt x="81924" y="310760"/>
                    </a:lnTo>
                    <a:lnTo>
                      <a:pt x="64371" y="334813"/>
                    </a:lnTo>
                    <a:lnTo>
                      <a:pt x="59175" y="349763"/>
                    </a:lnTo>
                    <a:lnTo>
                      <a:pt x="46819" y="364070"/>
                    </a:lnTo>
                    <a:lnTo>
                      <a:pt x="46819" y="371873"/>
                    </a:lnTo>
                    <a:lnTo>
                      <a:pt x="37069" y="380975"/>
                    </a:lnTo>
                    <a:lnTo>
                      <a:pt x="36408" y="390725"/>
                    </a:lnTo>
                    <a:lnTo>
                      <a:pt x="43569" y="401126"/>
                    </a:lnTo>
                    <a:lnTo>
                      <a:pt x="34462" y="412831"/>
                    </a:lnTo>
                    <a:lnTo>
                      <a:pt x="40319" y="422585"/>
                    </a:lnTo>
                    <a:lnTo>
                      <a:pt x="40319" y="431682"/>
                    </a:lnTo>
                    <a:lnTo>
                      <a:pt x="44212" y="442084"/>
                    </a:lnTo>
                    <a:lnTo>
                      <a:pt x="57871" y="441436"/>
                    </a:lnTo>
                    <a:lnTo>
                      <a:pt x="55925" y="452485"/>
                    </a:lnTo>
                    <a:lnTo>
                      <a:pt x="70228" y="451842"/>
                    </a:lnTo>
                    <a:lnTo>
                      <a:pt x="75424" y="462239"/>
                    </a:lnTo>
                    <a:lnTo>
                      <a:pt x="72174" y="470689"/>
                    </a:lnTo>
                    <a:lnTo>
                      <a:pt x="59175" y="477836"/>
                    </a:lnTo>
                    <a:lnTo>
                      <a:pt x="51372" y="475238"/>
                    </a:lnTo>
                    <a:lnTo>
                      <a:pt x="50068" y="464190"/>
                    </a:lnTo>
                    <a:lnTo>
                      <a:pt x="44872" y="464841"/>
                    </a:lnTo>
                    <a:lnTo>
                      <a:pt x="44872" y="478497"/>
                    </a:lnTo>
                    <a:lnTo>
                      <a:pt x="50068" y="488242"/>
                    </a:lnTo>
                    <a:lnTo>
                      <a:pt x="42265" y="501246"/>
                    </a:lnTo>
                    <a:lnTo>
                      <a:pt x="43569" y="508397"/>
                    </a:lnTo>
                    <a:lnTo>
                      <a:pt x="34462" y="509696"/>
                    </a:lnTo>
                    <a:lnTo>
                      <a:pt x="28605" y="522700"/>
                    </a:lnTo>
                    <a:lnTo>
                      <a:pt x="28605" y="531798"/>
                    </a:lnTo>
                    <a:lnTo>
                      <a:pt x="20159" y="534400"/>
                    </a:lnTo>
                    <a:lnTo>
                      <a:pt x="21463" y="544154"/>
                    </a:lnTo>
                    <a:lnTo>
                      <a:pt x="12356" y="544154"/>
                    </a:lnTo>
                    <a:lnTo>
                      <a:pt x="6499" y="555207"/>
                    </a:lnTo>
                    <a:lnTo>
                      <a:pt x="12356" y="561707"/>
                    </a:lnTo>
                    <a:lnTo>
                      <a:pt x="12356" y="576010"/>
                    </a:lnTo>
                    <a:lnTo>
                      <a:pt x="660" y="579907"/>
                    </a:lnTo>
                    <a:lnTo>
                      <a:pt x="0" y="589665"/>
                    </a:lnTo>
                    <a:lnTo>
                      <a:pt x="4553" y="598763"/>
                    </a:lnTo>
                    <a:lnTo>
                      <a:pt x="11053" y="595513"/>
                    </a:lnTo>
                    <a:lnTo>
                      <a:pt x="21463" y="596165"/>
                    </a:lnTo>
                    <a:lnTo>
                      <a:pt x="24052" y="589013"/>
                    </a:lnTo>
                    <a:lnTo>
                      <a:pt x="41622" y="594214"/>
                    </a:lnTo>
                    <a:lnTo>
                      <a:pt x="50068" y="594214"/>
                    </a:lnTo>
                    <a:lnTo>
                      <a:pt x="38355" y="573411"/>
                    </a:lnTo>
                    <a:lnTo>
                      <a:pt x="27320" y="574715"/>
                    </a:lnTo>
                    <a:lnTo>
                      <a:pt x="22766" y="562358"/>
                    </a:lnTo>
                    <a:lnTo>
                      <a:pt x="25355" y="559756"/>
                    </a:lnTo>
                    <a:lnTo>
                      <a:pt x="38355" y="563010"/>
                    </a:lnTo>
                    <a:lnTo>
                      <a:pt x="42908" y="559756"/>
                    </a:lnTo>
                    <a:lnTo>
                      <a:pt x="39658" y="550658"/>
                    </a:lnTo>
                    <a:lnTo>
                      <a:pt x="42908" y="545458"/>
                    </a:lnTo>
                    <a:lnTo>
                      <a:pt x="42908" y="528552"/>
                    </a:lnTo>
                    <a:lnTo>
                      <a:pt x="48765" y="524003"/>
                    </a:lnTo>
                    <a:lnTo>
                      <a:pt x="48765" y="512299"/>
                    </a:lnTo>
                    <a:lnTo>
                      <a:pt x="53318" y="509696"/>
                    </a:lnTo>
                    <a:lnTo>
                      <a:pt x="59175" y="497344"/>
                    </a:lnTo>
                    <a:lnTo>
                      <a:pt x="61121" y="487595"/>
                    </a:lnTo>
                    <a:lnTo>
                      <a:pt x="68264" y="483698"/>
                    </a:lnTo>
                    <a:lnTo>
                      <a:pt x="79978" y="490193"/>
                    </a:lnTo>
                    <a:lnTo>
                      <a:pt x="79317" y="478497"/>
                    </a:lnTo>
                    <a:lnTo>
                      <a:pt x="85174" y="473939"/>
                    </a:lnTo>
                    <a:lnTo>
                      <a:pt x="87120" y="459641"/>
                    </a:lnTo>
                    <a:lnTo>
                      <a:pt x="98816" y="445333"/>
                    </a:lnTo>
                    <a:lnTo>
                      <a:pt x="102084" y="431035"/>
                    </a:lnTo>
                    <a:lnTo>
                      <a:pt x="98173" y="415429"/>
                    </a:lnTo>
                    <a:lnTo>
                      <a:pt x="89727" y="406978"/>
                    </a:lnTo>
                    <a:lnTo>
                      <a:pt x="98173" y="397876"/>
                    </a:lnTo>
                    <a:lnTo>
                      <a:pt x="107280" y="381618"/>
                    </a:lnTo>
                    <a:lnTo>
                      <a:pt x="105333" y="376417"/>
                    </a:lnTo>
                    <a:lnTo>
                      <a:pt x="95566" y="371221"/>
                    </a:lnTo>
                    <a:lnTo>
                      <a:pt x="89066" y="362119"/>
                    </a:lnTo>
                    <a:lnTo>
                      <a:pt x="89727" y="345866"/>
                    </a:lnTo>
                    <a:lnTo>
                      <a:pt x="102726" y="330264"/>
                    </a:lnTo>
                    <a:lnTo>
                      <a:pt x="108583" y="308810"/>
                    </a:lnTo>
                    <a:lnTo>
                      <a:pt x="105976" y="297757"/>
                    </a:lnTo>
                    <a:lnTo>
                      <a:pt x="107923" y="289958"/>
                    </a:lnTo>
                    <a:lnTo>
                      <a:pt x="119636" y="286056"/>
                    </a:lnTo>
                    <a:lnTo>
                      <a:pt x="124832" y="280200"/>
                    </a:lnTo>
                    <a:lnTo>
                      <a:pt x="143028" y="279552"/>
                    </a:lnTo>
                    <a:lnTo>
                      <a:pt x="150831" y="282802"/>
                    </a:lnTo>
                    <a:lnTo>
                      <a:pt x="154081" y="293203"/>
                    </a:lnTo>
                    <a:lnTo>
                      <a:pt x="160580" y="293203"/>
                    </a:lnTo>
                    <a:lnTo>
                      <a:pt x="169687" y="279552"/>
                    </a:lnTo>
                    <a:lnTo>
                      <a:pt x="167080" y="258098"/>
                    </a:lnTo>
                    <a:lnTo>
                      <a:pt x="174883" y="261348"/>
                    </a:lnTo>
                    <a:lnTo>
                      <a:pt x="182044" y="252250"/>
                    </a:lnTo>
                    <a:lnTo>
                      <a:pt x="195043" y="254201"/>
                    </a:lnTo>
                    <a:lnTo>
                      <a:pt x="205453" y="246398"/>
                    </a:lnTo>
                    <a:lnTo>
                      <a:pt x="204792" y="241197"/>
                    </a:lnTo>
                    <a:lnTo>
                      <a:pt x="216506" y="235996"/>
                    </a:lnTo>
                    <a:lnTo>
                      <a:pt x="222345" y="243148"/>
                    </a:lnTo>
                    <a:lnTo>
                      <a:pt x="219756" y="249648"/>
                    </a:lnTo>
                    <a:lnTo>
                      <a:pt x="209988" y="252250"/>
                    </a:lnTo>
                    <a:lnTo>
                      <a:pt x="205453" y="257451"/>
                    </a:lnTo>
                    <a:lnTo>
                      <a:pt x="215845" y="271102"/>
                    </a:lnTo>
                    <a:lnTo>
                      <a:pt x="218452" y="284105"/>
                    </a:lnTo>
                    <a:lnTo>
                      <a:pt x="216506" y="295158"/>
                    </a:lnTo>
                    <a:lnTo>
                      <a:pt x="226898" y="293203"/>
                    </a:lnTo>
                    <a:lnTo>
                      <a:pt x="246397" y="296462"/>
                    </a:lnTo>
                    <a:lnTo>
                      <a:pt x="261361" y="285400"/>
                    </a:lnTo>
                    <a:lnTo>
                      <a:pt x="261361" y="280200"/>
                    </a:lnTo>
                    <a:lnTo>
                      <a:pt x="273057" y="267205"/>
                    </a:lnTo>
                    <a:lnTo>
                      <a:pt x="286056" y="262651"/>
                    </a:lnTo>
                    <a:lnTo>
                      <a:pt x="294520" y="252250"/>
                    </a:lnTo>
                    <a:lnTo>
                      <a:pt x="302966" y="249648"/>
                    </a:lnTo>
                    <a:lnTo>
                      <a:pt x="304912" y="241849"/>
                    </a:lnTo>
                    <a:lnTo>
                      <a:pt x="302305" y="235349"/>
                    </a:lnTo>
                    <a:lnTo>
                      <a:pt x="304269" y="213891"/>
                    </a:lnTo>
                    <a:lnTo>
                      <a:pt x="310769" y="206092"/>
                    </a:lnTo>
                    <a:lnTo>
                      <a:pt x="312072" y="195686"/>
                    </a:lnTo>
                    <a:lnTo>
                      <a:pt x="319875" y="180084"/>
                    </a:lnTo>
                    <a:lnTo>
                      <a:pt x="325714" y="174232"/>
                    </a:lnTo>
                    <a:lnTo>
                      <a:pt x="333518" y="156679"/>
                    </a:lnTo>
                    <a:lnTo>
                      <a:pt x="338714" y="150831"/>
                    </a:lnTo>
                    <a:lnTo>
                      <a:pt x="366033" y="135221"/>
                    </a:lnTo>
                    <a:lnTo>
                      <a:pt x="361480" y="131332"/>
                    </a:lnTo>
                    <a:lnTo>
                      <a:pt x="362123" y="122226"/>
                    </a:lnTo>
                    <a:lnTo>
                      <a:pt x="367319" y="118324"/>
                    </a:lnTo>
                    <a:lnTo>
                      <a:pt x="375783" y="118971"/>
                    </a:lnTo>
                    <a:lnTo>
                      <a:pt x="382925" y="112472"/>
                    </a:lnTo>
                    <a:lnTo>
                      <a:pt x="393336" y="111825"/>
                    </a:lnTo>
                    <a:lnTo>
                      <a:pt x="401139" y="102722"/>
                    </a:lnTo>
                    <a:lnTo>
                      <a:pt x="414781" y="101419"/>
                    </a:lnTo>
                    <a:lnTo>
                      <a:pt x="416727" y="91018"/>
                    </a:lnTo>
                    <a:lnTo>
                      <a:pt x="410228" y="85817"/>
                    </a:lnTo>
                    <a:lnTo>
                      <a:pt x="400478" y="94919"/>
                    </a:lnTo>
                    <a:lnTo>
                      <a:pt x="390086" y="98165"/>
                    </a:lnTo>
                    <a:lnTo>
                      <a:pt x="381622" y="104669"/>
                    </a:lnTo>
                    <a:lnTo>
                      <a:pt x="380979" y="92317"/>
                    </a:lnTo>
                    <a:lnTo>
                      <a:pt x="372533" y="87116"/>
                    </a:lnTo>
                    <a:lnTo>
                      <a:pt x="357570" y="89067"/>
                    </a:lnTo>
                    <a:lnTo>
                      <a:pt x="342624" y="76710"/>
                    </a:lnTo>
                    <a:lnTo>
                      <a:pt x="338714" y="67613"/>
                    </a:lnTo>
                    <a:lnTo>
                      <a:pt x="349767" y="65662"/>
                    </a:lnTo>
                    <a:lnTo>
                      <a:pt x="354320" y="59814"/>
                    </a:lnTo>
                    <a:lnTo>
                      <a:pt x="356927" y="48109"/>
                    </a:lnTo>
                    <a:lnTo>
                      <a:pt x="363427" y="42261"/>
                    </a:lnTo>
                    <a:lnTo>
                      <a:pt x="371873" y="41609"/>
                    </a:lnTo>
                    <a:lnTo>
                      <a:pt x="371230" y="32507"/>
                    </a:lnTo>
                    <a:lnTo>
                      <a:pt x="362784" y="30557"/>
                    </a:lnTo>
                    <a:lnTo>
                      <a:pt x="359516" y="37056"/>
                    </a:lnTo>
                    <a:lnTo>
                      <a:pt x="348481" y="44203"/>
                    </a:lnTo>
                    <a:lnTo>
                      <a:pt x="336124" y="47462"/>
                    </a:lnTo>
                    <a:lnTo>
                      <a:pt x="324411" y="46810"/>
                    </a:lnTo>
                    <a:lnTo>
                      <a:pt x="317911" y="34458"/>
                    </a:lnTo>
                    <a:lnTo>
                      <a:pt x="323768" y="28606"/>
                    </a:lnTo>
                    <a:lnTo>
                      <a:pt x="322464" y="16906"/>
                    </a:lnTo>
                    <a:lnTo>
                      <a:pt x="313358" y="17553"/>
                    </a:lnTo>
                    <a:lnTo>
                      <a:pt x="305572" y="13651"/>
                    </a:lnTo>
                    <a:lnTo>
                      <a:pt x="302966" y="1947"/>
                    </a:lnTo>
                    <a:lnTo>
                      <a:pt x="295163" y="0"/>
                    </a:lnTo>
                    <a:lnTo>
                      <a:pt x="298412" y="24704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16728" tIns="59876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0" name="shp_Region_Belize_$1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AF65E53-5E79-5853-5D8B-9615AD4FDF5C}"/>
                  </a:ext>
                </a:extLst>
              </p:cNvPr>
              <p:cNvSpPr/>
              <p:nvPr/>
            </p:nvSpPr>
            <p:spPr>
              <a:xfrm>
                <a:off x="2425960" y="2229756"/>
                <a:ext cx="31195" cy="39017"/>
              </a:xfrm>
              <a:custGeom>
                <a:avLst/>
                <a:gdLst/>
                <a:ahLst/>
                <a:cxnLst/>
                <a:rect l="0" t="0" r="0" b="0"/>
                <a:pathLst>
                  <a:path w="31195" h="39017">
                    <a:moveTo>
                      <a:pt x="9749" y="0"/>
                    </a:moveTo>
                    <a:lnTo>
                      <a:pt x="5196" y="4553"/>
                    </a:lnTo>
                    <a:lnTo>
                      <a:pt x="9749" y="11704"/>
                    </a:lnTo>
                    <a:lnTo>
                      <a:pt x="8445" y="18204"/>
                    </a:lnTo>
                    <a:lnTo>
                      <a:pt x="0" y="26659"/>
                    </a:lnTo>
                    <a:lnTo>
                      <a:pt x="6499" y="37703"/>
                    </a:lnTo>
                    <a:lnTo>
                      <a:pt x="18195" y="39016"/>
                    </a:lnTo>
                    <a:lnTo>
                      <a:pt x="29248" y="29257"/>
                    </a:lnTo>
                    <a:lnTo>
                      <a:pt x="31194" y="18856"/>
                    </a:lnTo>
                    <a:lnTo>
                      <a:pt x="25998" y="15606"/>
                    </a:lnTo>
                    <a:lnTo>
                      <a:pt x="21445" y="2602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1195" tIns="390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1" name="shp_Region_Belize_$1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AA02151-BAB1-C944-6D96-9804620DF07E}"/>
                  </a:ext>
                </a:extLst>
              </p:cNvPr>
              <p:cNvSpPr/>
              <p:nvPr/>
            </p:nvSpPr>
            <p:spPr>
              <a:xfrm>
                <a:off x="2587844" y="2266816"/>
                <a:ext cx="133261" cy="183991"/>
              </a:xfrm>
              <a:custGeom>
                <a:avLst/>
                <a:gdLst/>
                <a:ahLst/>
                <a:cxnLst/>
                <a:rect l="0" t="0" r="0" b="0"/>
                <a:pathLst>
                  <a:path w="133261" h="183991">
                    <a:moveTo>
                      <a:pt x="98816" y="183339"/>
                    </a:moveTo>
                    <a:lnTo>
                      <a:pt x="106619" y="177482"/>
                    </a:lnTo>
                    <a:lnTo>
                      <a:pt x="118315" y="176835"/>
                    </a:lnTo>
                    <a:lnTo>
                      <a:pt x="124815" y="180084"/>
                    </a:lnTo>
                    <a:lnTo>
                      <a:pt x="131975" y="172933"/>
                    </a:lnTo>
                    <a:lnTo>
                      <a:pt x="133260" y="154077"/>
                    </a:lnTo>
                    <a:lnTo>
                      <a:pt x="126118" y="158630"/>
                    </a:lnTo>
                    <a:lnTo>
                      <a:pt x="118315" y="169031"/>
                    </a:lnTo>
                    <a:lnTo>
                      <a:pt x="105316" y="143676"/>
                    </a:lnTo>
                    <a:lnTo>
                      <a:pt x="106619" y="126775"/>
                    </a:lnTo>
                    <a:lnTo>
                      <a:pt x="109869" y="117021"/>
                    </a:lnTo>
                    <a:lnTo>
                      <a:pt x="115065" y="113771"/>
                    </a:lnTo>
                    <a:lnTo>
                      <a:pt x="114422" y="104017"/>
                    </a:lnTo>
                    <a:lnTo>
                      <a:pt x="122208" y="102071"/>
                    </a:lnTo>
                    <a:lnTo>
                      <a:pt x="130011" y="92973"/>
                    </a:lnTo>
                    <a:lnTo>
                      <a:pt x="133260" y="81916"/>
                    </a:lnTo>
                    <a:lnTo>
                      <a:pt x="125475" y="72162"/>
                    </a:lnTo>
                    <a:lnTo>
                      <a:pt x="98816" y="61109"/>
                    </a:lnTo>
                    <a:lnTo>
                      <a:pt x="77353" y="42257"/>
                    </a:lnTo>
                    <a:lnTo>
                      <a:pt x="57211" y="17553"/>
                    </a:lnTo>
                    <a:lnTo>
                      <a:pt x="39658" y="16254"/>
                    </a:lnTo>
                    <a:lnTo>
                      <a:pt x="27302" y="0"/>
                    </a:lnTo>
                    <a:lnTo>
                      <a:pt x="12338" y="13651"/>
                    </a:lnTo>
                    <a:lnTo>
                      <a:pt x="3892" y="15602"/>
                    </a:lnTo>
                    <a:lnTo>
                      <a:pt x="0" y="32503"/>
                    </a:lnTo>
                    <a:lnTo>
                      <a:pt x="12338" y="49404"/>
                    </a:lnTo>
                    <a:lnTo>
                      <a:pt x="24695" y="55265"/>
                    </a:lnTo>
                    <a:lnTo>
                      <a:pt x="24695" y="66314"/>
                    </a:lnTo>
                    <a:lnTo>
                      <a:pt x="31195" y="72813"/>
                    </a:lnTo>
                    <a:lnTo>
                      <a:pt x="40944" y="75411"/>
                    </a:lnTo>
                    <a:lnTo>
                      <a:pt x="52658" y="82563"/>
                    </a:lnTo>
                    <a:lnTo>
                      <a:pt x="62407" y="84514"/>
                    </a:lnTo>
                    <a:lnTo>
                      <a:pt x="73460" y="74112"/>
                    </a:lnTo>
                    <a:lnTo>
                      <a:pt x="81906" y="76715"/>
                    </a:lnTo>
                    <a:lnTo>
                      <a:pt x="73460" y="83866"/>
                    </a:lnTo>
                    <a:lnTo>
                      <a:pt x="74103" y="89714"/>
                    </a:lnTo>
                    <a:lnTo>
                      <a:pt x="63050" y="98174"/>
                    </a:lnTo>
                    <a:lnTo>
                      <a:pt x="64353" y="105968"/>
                    </a:lnTo>
                    <a:lnTo>
                      <a:pt x="70210" y="106620"/>
                    </a:lnTo>
                    <a:lnTo>
                      <a:pt x="65657" y="120922"/>
                    </a:lnTo>
                    <a:lnTo>
                      <a:pt x="71514" y="131975"/>
                    </a:lnTo>
                    <a:lnTo>
                      <a:pt x="72799" y="152778"/>
                    </a:lnTo>
                    <a:lnTo>
                      <a:pt x="79299" y="156023"/>
                    </a:lnTo>
                    <a:lnTo>
                      <a:pt x="84513" y="169031"/>
                    </a:lnTo>
                    <a:lnTo>
                      <a:pt x="92959" y="171634"/>
                    </a:lnTo>
                    <a:lnTo>
                      <a:pt x="87763" y="178134"/>
                    </a:lnTo>
                    <a:lnTo>
                      <a:pt x="89066" y="183990"/>
                    </a:lnTo>
                    <a:lnTo>
                      <a:pt x="98816" y="18333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3261" tIns="18399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2" name="shp_Region_Belize_$2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9158808-B5AE-1C8B-9C45-9999E534C51E}"/>
                  </a:ext>
                </a:extLst>
              </p:cNvPr>
              <p:cNvSpPr/>
              <p:nvPr/>
            </p:nvSpPr>
            <p:spPr>
              <a:xfrm>
                <a:off x="2487724" y="2287619"/>
                <a:ext cx="44856" cy="42909"/>
              </a:xfrm>
              <a:custGeom>
                <a:avLst/>
                <a:gdLst/>
                <a:ahLst/>
                <a:cxnLst/>
                <a:rect l="0" t="0" r="0" b="0"/>
                <a:pathLst>
                  <a:path w="44856" h="42909">
                    <a:moveTo>
                      <a:pt x="34445" y="0"/>
                    </a:moveTo>
                    <a:lnTo>
                      <a:pt x="0" y="652"/>
                    </a:lnTo>
                    <a:lnTo>
                      <a:pt x="0" y="5852"/>
                    </a:lnTo>
                    <a:lnTo>
                      <a:pt x="23392" y="30556"/>
                    </a:lnTo>
                    <a:lnTo>
                      <a:pt x="29249" y="42908"/>
                    </a:lnTo>
                    <a:lnTo>
                      <a:pt x="38355" y="39663"/>
                    </a:lnTo>
                    <a:lnTo>
                      <a:pt x="44855" y="25356"/>
                    </a:lnTo>
                    <a:lnTo>
                      <a:pt x="40302" y="23409"/>
                    </a:lnTo>
                    <a:lnTo>
                      <a:pt x="36409" y="13651"/>
                    </a:lnTo>
                    <a:lnTo>
                      <a:pt x="3444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4856" tIns="429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3" name="shp_Region_Belize_$2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2A1342F-C66C-FE9C-6B5E-5FBC6E346A32}"/>
                  </a:ext>
                </a:extLst>
              </p:cNvPr>
              <p:cNvSpPr/>
              <p:nvPr/>
            </p:nvSpPr>
            <p:spPr>
              <a:xfrm>
                <a:off x="2558578" y="2325327"/>
                <a:ext cx="14303" cy="10402"/>
              </a:xfrm>
              <a:custGeom>
                <a:avLst/>
                <a:gdLst/>
                <a:ahLst/>
                <a:cxnLst/>
                <a:rect l="0" t="0" r="0" b="0"/>
                <a:pathLst>
                  <a:path w="14303" h="10402">
                    <a:moveTo>
                      <a:pt x="7160" y="0"/>
                    </a:moveTo>
                    <a:lnTo>
                      <a:pt x="0" y="9754"/>
                    </a:lnTo>
                    <a:lnTo>
                      <a:pt x="14302" y="10401"/>
                    </a:lnTo>
                    <a:lnTo>
                      <a:pt x="716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303" tIns="104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4" name="shp_Region_Belize_$2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AEEBA0A-64D3-F9A9-518B-27E0F2F29E8E}"/>
                  </a:ext>
                </a:extLst>
              </p:cNvPr>
              <p:cNvSpPr/>
              <p:nvPr/>
            </p:nvSpPr>
            <p:spPr>
              <a:xfrm>
                <a:off x="3998607" y="2437798"/>
                <a:ext cx="57213" cy="47463"/>
              </a:xfrm>
              <a:custGeom>
                <a:avLst/>
                <a:gdLst/>
                <a:ahLst/>
                <a:cxnLst/>
                <a:rect l="0" t="0" r="0" b="0"/>
                <a:pathLst>
                  <a:path w="57213" h="47463">
                    <a:moveTo>
                      <a:pt x="29910" y="0"/>
                    </a:moveTo>
                    <a:lnTo>
                      <a:pt x="22106" y="2598"/>
                    </a:lnTo>
                    <a:lnTo>
                      <a:pt x="14946" y="10401"/>
                    </a:lnTo>
                    <a:lnTo>
                      <a:pt x="1304" y="18852"/>
                    </a:lnTo>
                    <a:lnTo>
                      <a:pt x="0" y="28606"/>
                    </a:lnTo>
                    <a:lnTo>
                      <a:pt x="5857" y="33807"/>
                    </a:lnTo>
                    <a:lnTo>
                      <a:pt x="16250" y="37056"/>
                    </a:lnTo>
                    <a:lnTo>
                      <a:pt x="33160" y="47462"/>
                    </a:lnTo>
                    <a:lnTo>
                      <a:pt x="46159" y="47462"/>
                    </a:lnTo>
                    <a:lnTo>
                      <a:pt x="50052" y="37708"/>
                    </a:lnTo>
                    <a:lnTo>
                      <a:pt x="56551" y="30557"/>
                    </a:lnTo>
                    <a:lnTo>
                      <a:pt x="57212" y="18209"/>
                    </a:lnTo>
                    <a:lnTo>
                      <a:pt x="44213" y="1299"/>
                    </a:lnTo>
                    <a:lnTo>
                      <a:pt x="34463" y="3902"/>
                    </a:lnTo>
                    <a:lnTo>
                      <a:pt x="2991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7213" tIns="474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5" name="shp_Region_Belize_$2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02FF8A3-79AE-05D6-9CD6-972DC00D30CF}"/>
                  </a:ext>
                </a:extLst>
              </p:cNvPr>
              <p:cNvSpPr/>
              <p:nvPr/>
            </p:nvSpPr>
            <p:spPr>
              <a:xfrm>
                <a:off x="2693802" y="2447548"/>
                <a:ext cx="9751" cy="11058"/>
              </a:xfrm>
              <a:custGeom>
                <a:avLst/>
                <a:gdLst/>
                <a:ahLst/>
                <a:cxnLst/>
                <a:rect l="0" t="0" r="0" b="0"/>
                <a:pathLst>
                  <a:path w="9751" h="11058">
                    <a:moveTo>
                      <a:pt x="9750" y="0"/>
                    </a:moveTo>
                    <a:lnTo>
                      <a:pt x="0" y="6504"/>
                    </a:lnTo>
                    <a:lnTo>
                      <a:pt x="5214" y="11057"/>
                    </a:lnTo>
                    <a:lnTo>
                      <a:pt x="975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51" tIns="110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6" name="shp_Region_Belize_$2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1E18E78-DF79-FCAA-1485-BEAE5D097D69}"/>
                  </a:ext>
                </a:extLst>
              </p:cNvPr>
              <p:cNvSpPr/>
              <p:nvPr/>
            </p:nvSpPr>
            <p:spPr>
              <a:xfrm>
                <a:off x="2700963" y="2454052"/>
                <a:ext cx="14946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14946" h="17554">
                    <a:moveTo>
                      <a:pt x="14302" y="0"/>
                    </a:moveTo>
                    <a:lnTo>
                      <a:pt x="0" y="11700"/>
                    </a:lnTo>
                    <a:lnTo>
                      <a:pt x="7803" y="17553"/>
                    </a:lnTo>
                    <a:lnTo>
                      <a:pt x="14945" y="9102"/>
                    </a:lnTo>
                    <a:lnTo>
                      <a:pt x="1430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6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7" name="shp_Region_Belize_$2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52B24C8-6482-FD52-D9B5-920DF8E8C15F}"/>
                  </a:ext>
                </a:extLst>
              </p:cNvPr>
              <p:cNvSpPr/>
              <p:nvPr/>
            </p:nvSpPr>
            <p:spPr>
              <a:xfrm>
                <a:off x="2694463" y="2478104"/>
                <a:ext cx="16250" cy="14304"/>
              </a:xfrm>
              <a:custGeom>
                <a:avLst/>
                <a:gdLst/>
                <a:ahLst/>
                <a:cxnLst/>
                <a:rect l="0" t="0" r="0" b="0"/>
                <a:pathLst>
                  <a:path w="16250" h="14304">
                    <a:moveTo>
                      <a:pt x="16249" y="0"/>
                    </a:moveTo>
                    <a:lnTo>
                      <a:pt x="7803" y="0"/>
                    </a:lnTo>
                    <a:lnTo>
                      <a:pt x="643" y="5201"/>
                    </a:lnTo>
                    <a:lnTo>
                      <a:pt x="0" y="13004"/>
                    </a:lnTo>
                    <a:lnTo>
                      <a:pt x="7803" y="14303"/>
                    </a:lnTo>
                    <a:lnTo>
                      <a:pt x="16249" y="4558"/>
                    </a:lnTo>
                    <a:lnTo>
                      <a:pt x="162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0" tIns="143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8" name="shp_Region_Belize_$2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70E72D55-A2D6-713C-F4CB-17F4D50772B8}"/>
                  </a:ext>
                </a:extLst>
              </p:cNvPr>
              <p:cNvSpPr/>
              <p:nvPr/>
            </p:nvSpPr>
            <p:spPr>
              <a:xfrm>
                <a:off x="2697052" y="2495661"/>
                <a:ext cx="1300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12353">
                    <a:moveTo>
                      <a:pt x="13000" y="0"/>
                    </a:moveTo>
                    <a:lnTo>
                      <a:pt x="0" y="5201"/>
                    </a:lnTo>
                    <a:lnTo>
                      <a:pt x="0" y="12352"/>
                    </a:lnTo>
                    <a:lnTo>
                      <a:pt x="7803" y="11700"/>
                    </a:lnTo>
                    <a:lnTo>
                      <a:pt x="130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1" tIns="123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39" name="shp_Region_Belize_$2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45A6206-A952-CB18-0506-6FF54C1843F6}"/>
                  </a:ext>
                </a:extLst>
              </p:cNvPr>
              <p:cNvSpPr/>
              <p:nvPr/>
            </p:nvSpPr>
            <p:spPr>
              <a:xfrm>
                <a:off x="3253558" y="2505411"/>
                <a:ext cx="95568" cy="288655"/>
              </a:xfrm>
              <a:custGeom>
                <a:avLst/>
                <a:gdLst/>
                <a:ahLst/>
                <a:cxnLst/>
                <a:rect l="0" t="0" r="0" b="0"/>
                <a:pathLst>
                  <a:path w="95568" h="288655">
                    <a:moveTo>
                      <a:pt x="68925" y="248348"/>
                    </a:moveTo>
                    <a:lnTo>
                      <a:pt x="76728" y="263950"/>
                    </a:lnTo>
                    <a:lnTo>
                      <a:pt x="72175" y="267852"/>
                    </a:lnTo>
                    <a:lnTo>
                      <a:pt x="62425" y="267200"/>
                    </a:lnTo>
                    <a:lnTo>
                      <a:pt x="57872" y="284752"/>
                    </a:lnTo>
                    <a:lnTo>
                      <a:pt x="76728" y="284752"/>
                    </a:lnTo>
                    <a:lnTo>
                      <a:pt x="74764" y="276302"/>
                    </a:lnTo>
                    <a:lnTo>
                      <a:pt x="79978" y="261999"/>
                    </a:lnTo>
                    <a:lnTo>
                      <a:pt x="86478" y="254843"/>
                    </a:lnTo>
                    <a:lnTo>
                      <a:pt x="94281" y="239250"/>
                    </a:lnTo>
                    <a:lnTo>
                      <a:pt x="95567" y="218443"/>
                    </a:lnTo>
                    <a:lnTo>
                      <a:pt x="92977" y="209341"/>
                    </a:lnTo>
                    <a:lnTo>
                      <a:pt x="84513" y="197636"/>
                    </a:lnTo>
                    <a:lnTo>
                      <a:pt x="81924" y="175535"/>
                    </a:lnTo>
                    <a:lnTo>
                      <a:pt x="65675" y="139778"/>
                    </a:lnTo>
                    <a:lnTo>
                      <a:pt x="65675" y="134573"/>
                    </a:lnTo>
                    <a:lnTo>
                      <a:pt x="58515" y="120274"/>
                    </a:lnTo>
                    <a:lnTo>
                      <a:pt x="58515" y="99463"/>
                    </a:lnTo>
                    <a:lnTo>
                      <a:pt x="53319" y="94919"/>
                    </a:lnTo>
                    <a:lnTo>
                      <a:pt x="48766" y="82567"/>
                    </a:lnTo>
                    <a:lnTo>
                      <a:pt x="46819" y="65010"/>
                    </a:lnTo>
                    <a:lnTo>
                      <a:pt x="36409" y="51359"/>
                    </a:lnTo>
                    <a:lnTo>
                      <a:pt x="36409" y="32507"/>
                    </a:lnTo>
                    <a:lnTo>
                      <a:pt x="42266" y="23405"/>
                    </a:lnTo>
                    <a:lnTo>
                      <a:pt x="42266" y="14954"/>
                    </a:lnTo>
                    <a:lnTo>
                      <a:pt x="54622" y="5200"/>
                    </a:lnTo>
                    <a:lnTo>
                      <a:pt x="50069" y="647"/>
                    </a:lnTo>
                    <a:lnTo>
                      <a:pt x="41605" y="7151"/>
                    </a:lnTo>
                    <a:lnTo>
                      <a:pt x="25356" y="0"/>
                    </a:lnTo>
                    <a:lnTo>
                      <a:pt x="21463" y="3901"/>
                    </a:lnTo>
                    <a:lnTo>
                      <a:pt x="16910" y="16905"/>
                    </a:lnTo>
                    <a:lnTo>
                      <a:pt x="9107" y="23405"/>
                    </a:lnTo>
                    <a:lnTo>
                      <a:pt x="12357" y="28605"/>
                    </a:lnTo>
                    <a:lnTo>
                      <a:pt x="7803" y="40953"/>
                    </a:lnTo>
                    <a:lnTo>
                      <a:pt x="0" y="46814"/>
                    </a:lnTo>
                    <a:lnTo>
                      <a:pt x="11714" y="52658"/>
                    </a:lnTo>
                    <a:lnTo>
                      <a:pt x="21463" y="48109"/>
                    </a:lnTo>
                    <a:lnTo>
                      <a:pt x="31213" y="52658"/>
                    </a:lnTo>
                    <a:lnTo>
                      <a:pt x="30570" y="61113"/>
                    </a:lnTo>
                    <a:lnTo>
                      <a:pt x="37070" y="66313"/>
                    </a:lnTo>
                    <a:lnTo>
                      <a:pt x="37070" y="78670"/>
                    </a:lnTo>
                    <a:lnTo>
                      <a:pt x="34463" y="91669"/>
                    </a:lnTo>
                    <a:lnTo>
                      <a:pt x="49408" y="104021"/>
                    </a:lnTo>
                    <a:lnTo>
                      <a:pt x="52658" y="109864"/>
                    </a:lnTo>
                    <a:lnTo>
                      <a:pt x="50712" y="123524"/>
                    </a:lnTo>
                    <a:lnTo>
                      <a:pt x="46158" y="131323"/>
                    </a:lnTo>
                    <a:lnTo>
                      <a:pt x="50069" y="141077"/>
                    </a:lnTo>
                    <a:lnTo>
                      <a:pt x="43569" y="146278"/>
                    </a:lnTo>
                    <a:lnTo>
                      <a:pt x="24713" y="145630"/>
                    </a:lnTo>
                    <a:lnTo>
                      <a:pt x="24052" y="157331"/>
                    </a:lnTo>
                    <a:lnTo>
                      <a:pt x="33159" y="163178"/>
                    </a:lnTo>
                    <a:lnTo>
                      <a:pt x="33159" y="182035"/>
                    </a:lnTo>
                    <a:lnTo>
                      <a:pt x="26017" y="200239"/>
                    </a:lnTo>
                    <a:lnTo>
                      <a:pt x="26017" y="211939"/>
                    </a:lnTo>
                    <a:lnTo>
                      <a:pt x="23410" y="221693"/>
                    </a:lnTo>
                    <a:lnTo>
                      <a:pt x="31213" y="232742"/>
                    </a:lnTo>
                    <a:lnTo>
                      <a:pt x="31856" y="242496"/>
                    </a:lnTo>
                    <a:lnTo>
                      <a:pt x="14964" y="256798"/>
                    </a:lnTo>
                    <a:lnTo>
                      <a:pt x="16267" y="269802"/>
                    </a:lnTo>
                    <a:lnTo>
                      <a:pt x="11053" y="275650"/>
                    </a:lnTo>
                    <a:lnTo>
                      <a:pt x="7803" y="287355"/>
                    </a:lnTo>
                    <a:lnTo>
                      <a:pt x="15606" y="288654"/>
                    </a:lnTo>
                    <a:lnTo>
                      <a:pt x="29909" y="256147"/>
                    </a:lnTo>
                    <a:lnTo>
                      <a:pt x="50712" y="248348"/>
                    </a:lnTo>
                    <a:lnTo>
                      <a:pt x="53319" y="241197"/>
                    </a:lnTo>
                    <a:lnTo>
                      <a:pt x="61122" y="241197"/>
                    </a:lnTo>
                    <a:lnTo>
                      <a:pt x="68925" y="248348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5568" tIns="2886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0" name="shp_Region_Belize_$2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A55415B-0B3F-7B67-30AE-BDF80B64FAD6}"/>
                  </a:ext>
                </a:extLst>
              </p:cNvPr>
              <p:cNvSpPr/>
              <p:nvPr/>
            </p:nvSpPr>
            <p:spPr>
              <a:xfrm>
                <a:off x="2684714" y="2513857"/>
                <a:ext cx="27303" cy="46815"/>
              </a:xfrm>
              <a:custGeom>
                <a:avLst/>
                <a:gdLst/>
                <a:ahLst/>
                <a:cxnLst/>
                <a:rect l="0" t="0" r="0" b="0"/>
                <a:pathLst>
                  <a:path w="27303" h="46815">
                    <a:moveTo>
                      <a:pt x="18195" y="0"/>
                    </a:moveTo>
                    <a:lnTo>
                      <a:pt x="11035" y="7807"/>
                    </a:lnTo>
                    <a:lnTo>
                      <a:pt x="11035" y="17557"/>
                    </a:lnTo>
                    <a:lnTo>
                      <a:pt x="1285" y="36413"/>
                    </a:lnTo>
                    <a:lnTo>
                      <a:pt x="0" y="43569"/>
                    </a:lnTo>
                    <a:lnTo>
                      <a:pt x="7785" y="46814"/>
                    </a:lnTo>
                    <a:lnTo>
                      <a:pt x="14302" y="40314"/>
                    </a:lnTo>
                    <a:lnTo>
                      <a:pt x="18838" y="29261"/>
                    </a:lnTo>
                    <a:lnTo>
                      <a:pt x="27302" y="20811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303" tIns="4681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1" name="shp_Region_Belize_$2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80ABB83-D3FC-9E08-35DB-E7FBA3AEC0E4}"/>
                  </a:ext>
                </a:extLst>
              </p:cNvPr>
              <p:cNvSpPr/>
              <p:nvPr/>
            </p:nvSpPr>
            <p:spPr>
              <a:xfrm>
                <a:off x="2696409" y="2587978"/>
                <a:ext cx="33803" cy="48757"/>
              </a:xfrm>
              <a:custGeom>
                <a:avLst/>
                <a:gdLst/>
                <a:ahLst/>
                <a:cxnLst/>
                <a:rect l="0" t="0" r="0" b="0"/>
                <a:pathLst>
                  <a:path w="33803" h="48757">
                    <a:moveTo>
                      <a:pt x="21446" y="0"/>
                    </a:moveTo>
                    <a:lnTo>
                      <a:pt x="9107" y="647"/>
                    </a:lnTo>
                    <a:lnTo>
                      <a:pt x="0" y="7151"/>
                    </a:lnTo>
                    <a:lnTo>
                      <a:pt x="0" y="18851"/>
                    </a:lnTo>
                    <a:lnTo>
                      <a:pt x="2607" y="40306"/>
                    </a:lnTo>
                    <a:lnTo>
                      <a:pt x="14303" y="48756"/>
                    </a:lnTo>
                    <a:lnTo>
                      <a:pt x="25356" y="45506"/>
                    </a:lnTo>
                    <a:lnTo>
                      <a:pt x="33802" y="35757"/>
                    </a:lnTo>
                    <a:lnTo>
                      <a:pt x="33802" y="27954"/>
                    </a:lnTo>
                    <a:lnTo>
                      <a:pt x="27945" y="18200"/>
                    </a:lnTo>
                    <a:lnTo>
                      <a:pt x="27945" y="6499"/>
                    </a:lnTo>
                    <a:lnTo>
                      <a:pt x="2144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3803" tIns="487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2" name="shp_Region_Belize_$3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B4D1900-D722-A8EE-55A2-2BB0CAFE0E9B}"/>
                  </a:ext>
                </a:extLst>
              </p:cNvPr>
              <p:cNvSpPr/>
              <p:nvPr/>
            </p:nvSpPr>
            <p:spPr>
              <a:xfrm>
                <a:off x="3251612" y="2611383"/>
                <a:ext cx="1494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9504">
                    <a:moveTo>
                      <a:pt x="11696" y="0"/>
                    </a:moveTo>
                    <a:lnTo>
                      <a:pt x="0" y="4549"/>
                    </a:lnTo>
                    <a:lnTo>
                      <a:pt x="11696" y="19503"/>
                    </a:lnTo>
                    <a:lnTo>
                      <a:pt x="14946" y="1950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7" tIns="195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3" name="shp_Region_Belize_$3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426C11D-F617-1287-AE50-0DA37B499F64}"/>
                  </a:ext>
                </a:extLst>
              </p:cNvPr>
              <p:cNvSpPr/>
              <p:nvPr/>
            </p:nvSpPr>
            <p:spPr>
              <a:xfrm>
                <a:off x="2410996" y="2645189"/>
                <a:ext cx="57873" cy="29910"/>
              </a:xfrm>
              <a:custGeom>
                <a:avLst/>
                <a:gdLst/>
                <a:ahLst/>
                <a:cxnLst/>
                <a:rect l="0" t="0" r="0" b="0"/>
                <a:pathLst>
                  <a:path w="57873" h="29910">
                    <a:moveTo>
                      <a:pt x="0" y="0"/>
                    </a:moveTo>
                    <a:lnTo>
                      <a:pt x="3250" y="7799"/>
                    </a:lnTo>
                    <a:lnTo>
                      <a:pt x="10410" y="13651"/>
                    </a:lnTo>
                    <a:lnTo>
                      <a:pt x="22106" y="13651"/>
                    </a:lnTo>
                    <a:lnTo>
                      <a:pt x="30570" y="29909"/>
                    </a:lnTo>
                    <a:lnTo>
                      <a:pt x="41623" y="29248"/>
                    </a:lnTo>
                    <a:lnTo>
                      <a:pt x="57872" y="18200"/>
                    </a:lnTo>
                    <a:lnTo>
                      <a:pt x="57872" y="14303"/>
                    </a:lnTo>
                    <a:lnTo>
                      <a:pt x="37712" y="20151"/>
                    </a:lnTo>
                    <a:lnTo>
                      <a:pt x="28606" y="12352"/>
                    </a:lnTo>
                    <a:lnTo>
                      <a:pt x="11714" y="11048"/>
                    </a:lnTo>
                    <a:lnTo>
                      <a:pt x="10410" y="58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7873" tIns="299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4" name="shp_Region_Belize_$3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7575072-EAB3-E14C-2519-63F609F3C2CD}"/>
                  </a:ext>
                </a:extLst>
              </p:cNvPr>
              <p:cNvSpPr/>
              <p:nvPr/>
            </p:nvSpPr>
            <p:spPr>
              <a:xfrm>
                <a:off x="3037730" y="2678343"/>
                <a:ext cx="1039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0394" h="7805">
                    <a:moveTo>
                      <a:pt x="10393" y="0"/>
                    </a:moveTo>
                    <a:lnTo>
                      <a:pt x="0" y="1956"/>
                    </a:lnTo>
                    <a:lnTo>
                      <a:pt x="3250" y="7804"/>
                    </a:lnTo>
                    <a:lnTo>
                      <a:pt x="1039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394" tIns="7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5" name="shp_Region_Belize_$3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9F8DE9E8-5493-C344-B82F-19381796ED05}"/>
                  </a:ext>
                </a:extLst>
              </p:cNvPr>
              <p:cNvSpPr/>
              <p:nvPr/>
            </p:nvSpPr>
            <p:spPr>
              <a:xfrm>
                <a:off x="3100781" y="2708900"/>
                <a:ext cx="1235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2357" h="14955">
                    <a:moveTo>
                      <a:pt x="11713" y="0"/>
                    </a:moveTo>
                    <a:lnTo>
                      <a:pt x="0" y="7151"/>
                    </a:lnTo>
                    <a:lnTo>
                      <a:pt x="2607" y="14954"/>
                    </a:lnTo>
                    <a:lnTo>
                      <a:pt x="12356" y="3901"/>
                    </a:lnTo>
                    <a:lnTo>
                      <a:pt x="1171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57" tIns="149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6" name="shp_Region_Belize_$3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FB877CF-2488-938C-D49F-A2407A7EFAEA}"/>
                  </a:ext>
                </a:extLst>
              </p:cNvPr>
              <p:cNvSpPr/>
              <p:nvPr/>
            </p:nvSpPr>
            <p:spPr>
              <a:xfrm>
                <a:off x="3170348" y="2749862"/>
                <a:ext cx="11054" cy="1169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697">
                    <a:moveTo>
                      <a:pt x="5197" y="0"/>
                    </a:moveTo>
                    <a:lnTo>
                      <a:pt x="643" y="1294"/>
                    </a:lnTo>
                    <a:lnTo>
                      <a:pt x="0" y="11696"/>
                    </a:lnTo>
                    <a:lnTo>
                      <a:pt x="11053" y="6495"/>
                    </a:lnTo>
                    <a:lnTo>
                      <a:pt x="519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16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7" name="shp_Region_Belize_$3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9FF12131-9AF8-0C33-6F04-41114ABCCCAB}"/>
                  </a:ext>
                </a:extLst>
              </p:cNvPr>
              <p:cNvSpPr/>
              <p:nvPr/>
            </p:nvSpPr>
            <p:spPr>
              <a:xfrm>
                <a:off x="3091674" y="2763508"/>
                <a:ext cx="9768" cy="13010"/>
              </a:xfrm>
              <a:custGeom>
                <a:avLst/>
                <a:gdLst/>
                <a:ahLst/>
                <a:cxnLst/>
                <a:rect l="0" t="0" r="0" b="0"/>
                <a:pathLst>
                  <a:path w="9768" h="13010">
                    <a:moveTo>
                      <a:pt x="9767" y="0"/>
                    </a:moveTo>
                    <a:lnTo>
                      <a:pt x="0" y="13009"/>
                    </a:lnTo>
                    <a:lnTo>
                      <a:pt x="8464" y="13009"/>
                    </a:lnTo>
                    <a:lnTo>
                      <a:pt x="976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68" tIns="130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8" name="shp_Region_Belize_$3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964DA593-486F-CF5F-28E5-C8BB2E30B66F}"/>
                  </a:ext>
                </a:extLst>
              </p:cNvPr>
              <p:cNvSpPr/>
              <p:nvPr/>
            </p:nvSpPr>
            <p:spPr>
              <a:xfrm>
                <a:off x="3179455" y="2799913"/>
                <a:ext cx="12340" cy="8456"/>
              </a:xfrm>
              <a:custGeom>
                <a:avLst/>
                <a:gdLst/>
                <a:ahLst/>
                <a:cxnLst/>
                <a:rect l="0" t="0" r="0" b="0"/>
                <a:pathLst>
                  <a:path w="12340" h="8456">
                    <a:moveTo>
                      <a:pt x="12339" y="0"/>
                    </a:moveTo>
                    <a:lnTo>
                      <a:pt x="0" y="656"/>
                    </a:lnTo>
                    <a:lnTo>
                      <a:pt x="4553" y="8455"/>
                    </a:lnTo>
                    <a:lnTo>
                      <a:pt x="1233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40" tIns="84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49" name="shp_Region_Belize_$3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DF80D79-A647-CFEA-24B7-F1D6998D8086}"/>
                  </a:ext>
                </a:extLst>
              </p:cNvPr>
              <p:cNvSpPr/>
              <p:nvPr/>
            </p:nvSpPr>
            <p:spPr>
              <a:xfrm>
                <a:off x="3197008" y="2801216"/>
                <a:ext cx="68908" cy="75417"/>
              </a:xfrm>
              <a:custGeom>
                <a:avLst/>
                <a:gdLst/>
                <a:ahLst/>
                <a:cxnLst/>
                <a:rect l="0" t="0" r="0" b="0"/>
                <a:pathLst>
                  <a:path w="68908" h="75417">
                    <a:moveTo>
                      <a:pt x="21445" y="0"/>
                    </a:moveTo>
                    <a:lnTo>
                      <a:pt x="24052" y="14303"/>
                    </a:lnTo>
                    <a:lnTo>
                      <a:pt x="21445" y="19504"/>
                    </a:lnTo>
                    <a:lnTo>
                      <a:pt x="33159" y="24704"/>
                    </a:lnTo>
                    <a:lnTo>
                      <a:pt x="21445" y="31208"/>
                    </a:lnTo>
                    <a:lnTo>
                      <a:pt x="20802" y="40958"/>
                    </a:lnTo>
                    <a:lnTo>
                      <a:pt x="13642" y="40958"/>
                    </a:lnTo>
                    <a:lnTo>
                      <a:pt x="9089" y="33802"/>
                    </a:lnTo>
                    <a:lnTo>
                      <a:pt x="8446" y="24057"/>
                    </a:lnTo>
                    <a:lnTo>
                      <a:pt x="0" y="29262"/>
                    </a:lnTo>
                    <a:lnTo>
                      <a:pt x="3892" y="39663"/>
                    </a:lnTo>
                    <a:lnTo>
                      <a:pt x="2589" y="46159"/>
                    </a:lnTo>
                    <a:lnTo>
                      <a:pt x="12999" y="46810"/>
                    </a:lnTo>
                    <a:lnTo>
                      <a:pt x="18856" y="52658"/>
                    </a:lnTo>
                    <a:lnTo>
                      <a:pt x="26659" y="53962"/>
                    </a:lnTo>
                    <a:lnTo>
                      <a:pt x="31194" y="63064"/>
                    </a:lnTo>
                    <a:lnTo>
                      <a:pt x="22106" y="72166"/>
                    </a:lnTo>
                    <a:lnTo>
                      <a:pt x="12356" y="67613"/>
                    </a:lnTo>
                    <a:lnTo>
                      <a:pt x="643" y="68264"/>
                    </a:lnTo>
                    <a:lnTo>
                      <a:pt x="3250" y="75416"/>
                    </a:lnTo>
                    <a:lnTo>
                      <a:pt x="11053" y="70215"/>
                    </a:lnTo>
                    <a:lnTo>
                      <a:pt x="22106" y="75416"/>
                    </a:lnTo>
                    <a:lnTo>
                      <a:pt x="30552" y="67613"/>
                    </a:lnTo>
                    <a:lnTo>
                      <a:pt x="35748" y="67613"/>
                    </a:lnTo>
                    <a:lnTo>
                      <a:pt x="41605" y="59814"/>
                    </a:lnTo>
                    <a:lnTo>
                      <a:pt x="57854" y="32508"/>
                    </a:lnTo>
                    <a:lnTo>
                      <a:pt x="64353" y="26655"/>
                    </a:lnTo>
                    <a:lnTo>
                      <a:pt x="63710" y="17553"/>
                    </a:lnTo>
                    <a:lnTo>
                      <a:pt x="68907" y="7152"/>
                    </a:lnTo>
                    <a:lnTo>
                      <a:pt x="51354" y="3902"/>
                    </a:lnTo>
                    <a:lnTo>
                      <a:pt x="28605" y="7152"/>
                    </a:lnTo>
                    <a:lnTo>
                      <a:pt x="2144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908" tIns="754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0" name="shp_Region_Belize_$3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787CE85-4DF0-83F8-727B-D9AF1422F90C}"/>
                  </a:ext>
                </a:extLst>
              </p:cNvPr>
              <p:cNvSpPr/>
              <p:nvPr/>
            </p:nvSpPr>
            <p:spPr>
              <a:xfrm>
                <a:off x="2654144" y="2812269"/>
                <a:ext cx="26660" cy="87773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87773">
                    <a:moveTo>
                      <a:pt x="22106" y="0"/>
                    </a:moveTo>
                    <a:lnTo>
                      <a:pt x="8464" y="3902"/>
                    </a:lnTo>
                    <a:lnTo>
                      <a:pt x="0" y="13004"/>
                    </a:lnTo>
                    <a:lnTo>
                      <a:pt x="660" y="20807"/>
                    </a:lnTo>
                    <a:lnTo>
                      <a:pt x="7803" y="35757"/>
                    </a:lnTo>
                    <a:lnTo>
                      <a:pt x="9749" y="48761"/>
                    </a:lnTo>
                    <a:lnTo>
                      <a:pt x="9106" y="59810"/>
                    </a:lnTo>
                    <a:lnTo>
                      <a:pt x="5214" y="66314"/>
                    </a:lnTo>
                    <a:lnTo>
                      <a:pt x="3910" y="81911"/>
                    </a:lnTo>
                    <a:lnTo>
                      <a:pt x="9106" y="87772"/>
                    </a:lnTo>
                    <a:lnTo>
                      <a:pt x="20159" y="76715"/>
                    </a:lnTo>
                    <a:lnTo>
                      <a:pt x="18856" y="59162"/>
                    </a:lnTo>
                    <a:lnTo>
                      <a:pt x="21463" y="55913"/>
                    </a:lnTo>
                    <a:lnTo>
                      <a:pt x="23409" y="40958"/>
                    </a:lnTo>
                    <a:lnTo>
                      <a:pt x="26659" y="31856"/>
                    </a:lnTo>
                    <a:lnTo>
                      <a:pt x="22766" y="13651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0" tIns="8777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1" name="shp_Region_Belize_$3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E252A0A-42BB-2EBB-4496-861FD8B5E7E9}"/>
                  </a:ext>
                </a:extLst>
              </p:cNvPr>
              <p:cNvSpPr/>
              <p:nvPr/>
            </p:nvSpPr>
            <p:spPr>
              <a:xfrm>
                <a:off x="3187258" y="2822671"/>
                <a:ext cx="128066" cy="93621"/>
              </a:xfrm>
              <a:custGeom>
                <a:avLst/>
                <a:gdLst/>
                <a:ahLst/>
                <a:cxnLst/>
                <a:rect l="0" t="0" r="0" b="0"/>
                <a:pathLst>
                  <a:path w="128066" h="93621">
                    <a:moveTo>
                      <a:pt x="119619" y="0"/>
                    </a:moveTo>
                    <a:lnTo>
                      <a:pt x="105316" y="7807"/>
                    </a:lnTo>
                    <a:lnTo>
                      <a:pt x="95566" y="19503"/>
                    </a:lnTo>
                    <a:lnTo>
                      <a:pt x="98816" y="23409"/>
                    </a:lnTo>
                    <a:lnTo>
                      <a:pt x="95566" y="31203"/>
                    </a:lnTo>
                    <a:lnTo>
                      <a:pt x="96209" y="44863"/>
                    </a:lnTo>
                    <a:lnTo>
                      <a:pt x="87763" y="55260"/>
                    </a:lnTo>
                    <a:lnTo>
                      <a:pt x="84514" y="63710"/>
                    </a:lnTo>
                    <a:lnTo>
                      <a:pt x="74103" y="58510"/>
                    </a:lnTo>
                    <a:lnTo>
                      <a:pt x="76710" y="51358"/>
                    </a:lnTo>
                    <a:lnTo>
                      <a:pt x="66300" y="47461"/>
                    </a:lnTo>
                    <a:lnTo>
                      <a:pt x="60461" y="63710"/>
                    </a:lnTo>
                    <a:lnTo>
                      <a:pt x="51997" y="65014"/>
                    </a:lnTo>
                    <a:lnTo>
                      <a:pt x="40302" y="59162"/>
                    </a:lnTo>
                    <a:lnTo>
                      <a:pt x="20142" y="61760"/>
                    </a:lnTo>
                    <a:lnTo>
                      <a:pt x="5839" y="60461"/>
                    </a:lnTo>
                    <a:lnTo>
                      <a:pt x="0" y="68911"/>
                    </a:lnTo>
                    <a:lnTo>
                      <a:pt x="1947" y="74768"/>
                    </a:lnTo>
                    <a:lnTo>
                      <a:pt x="9750" y="74768"/>
                    </a:lnTo>
                    <a:lnTo>
                      <a:pt x="18839" y="80616"/>
                    </a:lnTo>
                    <a:lnTo>
                      <a:pt x="23392" y="93620"/>
                    </a:lnTo>
                    <a:lnTo>
                      <a:pt x="49408" y="92316"/>
                    </a:lnTo>
                    <a:lnTo>
                      <a:pt x="51997" y="82567"/>
                    </a:lnTo>
                    <a:lnTo>
                      <a:pt x="63711" y="67612"/>
                    </a:lnTo>
                    <a:lnTo>
                      <a:pt x="71514" y="67612"/>
                    </a:lnTo>
                    <a:lnTo>
                      <a:pt x="79960" y="72170"/>
                    </a:lnTo>
                    <a:lnTo>
                      <a:pt x="87763" y="70857"/>
                    </a:lnTo>
                    <a:lnTo>
                      <a:pt x="95566" y="61112"/>
                    </a:lnTo>
                    <a:lnTo>
                      <a:pt x="96870" y="47461"/>
                    </a:lnTo>
                    <a:lnTo>
                      <a:pt x="101406" y="42908"/>
                    </a:lnTo>
                    <a:lnTo>
                      <a:pt x="109869" y="43560"/>
                    </a:lnTo>
                    <a:lnTo>
                      <a:pt x="115708" y="23409"/>
                    </a:lnTo>
                    <a:lnTo>
                      <a:pt x="126761" y="20155"/>
                    </a:lnTo>
                    <a:lnTo>
                      <a:pt x="128065" y="13008"/>
                    </a:lnTo>
                    <a:lnTo>
                      <a:pt x="121565" y="9102"/>
                    </a:lnTo>
                    <a:lnTo>
                      <a:pt x="11961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8066" tIns="9362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2" name="shp_Region_Belize_$4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DA97F26-1894-DDAB-6063-925A4D1FF6D1}"/>
                  </a:ext>
                </a:extLst>
              </p:cNvPr>
              <p:cNvSpPr/>
              <p:nvPr/>
            </p:nvSpPr>
            <p:spPr>
              <a:xfrm>
                <a:off x="2990912" y="2830478"/>
                <a:ext cx="86478" cy="272397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272397">
                    <a:moveTo>
                      <a:pt x="21463" y="78661"/>
                    </a:moveTo>
                    <a:lnTo>
                      <a:pt x="14302" y="68907"/>
                    </a:lnTo>
                    <a:lnTo>
                      <a:pt x="11052" y="59162"/>
                    </a:lnTo>
                    <a:lnTo>
                      <a:pt x="14963" y="53305"/>
                    </a:lnTo>
                    <a:lnTo>
                      <a:pt x="20159" y="35753"/>
                    </a:lnTo>
                    <a:lnTo>
                      <a:pt x="33158" y="35753"/>
                    </a:lnTo>
                    <a:lnTo>
                      <a:pt x="41604" y="46154"/>
                    </a:lnTo>
                    <a:lnTo>
                      <a:pt x="52015" y="52006"/>
                    </a:lnTo>
                    <a:lnTo>
                      <a:pt x="43569" y="70206"/>
                    </a:lnTo>
                    <a:lnTo>
                      <a:pt x="52015" y="68907"/>
                    </a:lnTo>
                    <a:lnTo>
                      <a:pt x="58514" y="61756"/>
                    </a:lnTo>
                    <a:lnTo>
                      <a:pt x="61121" y="40953"/>
                    </a:lnTo>
                    <a:lnTo>
                      <a:pt x="57871" y="24048"/>
                    </a:lnTo>
                    <a:lnTo>
                      <a:pt x="48765" y="15602"/>
                    </a:lnTo>
                    <a:lnTo>
                      <a:pt x="47461" y="0"/>
                    </a:lnTo>
                    <a:lnTo>
                      <a:pt x="39658" y="2598"/>
                    </a:lnTo>
                    <a:lnTo>
                      <a:pt x="25998" y="27298"/>
                    </a:lnTo>
                    <a:lnTo>
                      <a:pt x="19498" y="21450"/>
                    </a:lnTo>
                    <a:lnTo>
                      <a:pt x="3249" y="33802"/>
                    </a:lnTo>
                    <a:lnTo>
                      <a:pt x="4553" y="46806"/>
                    </a:lnTo>
                    <a:lnTo>
                      <a:pt x="0" y="53305"/>
                    </a:lnTo>
                    <a:lnTo>
                      <a:pt x="0" y="66309"/>
                    </a:lnTo>
                    <a:lnTo>
                      <a:pt x="5856" y="78009"/>
                    </a:lnTo>
                    <a:lnTo>
                      <a:pt x="5196" y="95558"/>
                    </a:lnTo>
                    <a:lnTo>
                      <a:pt x="9106" y="115717"/>
                    </a:lnTo>
                    <a:lnTo>
                      <a:pt x="14963" y="126770"/>
                    </a:lnTo>
                    <a:lnTo>
                      <a:pt x="20802" y="146921"/>
                    </a:lnTo>
                    <a:lnTo>
                      <a:pt x="20159" y="161224"/>
                    </a:lnTo>
                    <a:lnTo>
                      <a:pt x="29909" y="174879"/>
                    </a:lnTo>
                    <a:lnTo>
                      <a:pt x="37051" y="176830"/>
                    </a:lnTo>
                    <a:lnTo>
                      <a:pt x="44854" y="188530"/>
                    </a:lnTo>
                    <a:lnTo>
                      <a:pt x="55907" y="187236"/>
                    </a:lnTo>
                    <a:lnTo>
                      <a:pt x="58514" y="195682"/>
                    </a:lnTo>
                    <a:lnTo>
                      <a:pt x="65014" y="204132"/>
                    </a:lnTo>
                    <a:lnTo>
                      <a:pt x="58514" y="212587"/>
                    </a:lnTo>
                    <a:lnTo>
                      <a:pt x="65014" y="217788"/>
                    </a:lnTo>
                    <a:lnTo>
                      <a:pt x="61764" y="230787"/>
                    </a:lnTo>
                    <a:lnTo>
                      <a:pt x="68907" y="239242"/>
                    </a:lnTo>
                    <a:lnTo>
                      <a:pt x="68907" y="252241"/>
                    </a:lnTo>
                    <a:lnTo>
                      <a:pt x="77370" y="267847"/>
                    </a:lnTo>
                    <a:lnTo>
                      <a:pt x="86477" y="272396"/>
                    </a:lnTo>
                    <a:lnTo>
                      <a:pt x="81263" y="255495"/>
                    </a:lnTo>
                    <a:lnTo>
                      <a:pt x="81263" y="242492"/>
                    </a:lnTo>
                    <a:lnTo>
                      <a:pt x="75424" y="233389"/>
                    </a:lnTo>
                    <a:lnTo>
                      <a:pt x="85816" y="224292"/>
                    </a:lnTo>
                    <a:lnTo>
                      <a:pt x="81924" y="213886"/>
                    </a:lnTo>
                    <a:lnTo>
                      <a:pt x="69567" y="208685"/>
                    </a:lnTo>
                    <a:lnTo>
                      <a:pt x="63710" y="198931"/>
                    </a:lnTo>
                    <a:lnTo>
                      <a:pt x="73460" y="185932"/>
                    </a:lnTo>
                    <a:lnTo>
                      <a:pt x="62407" y="175527"/>
                    </a:lnTo>
                    <a:lnTo>
                      <a:pt x="52657" y="174879"/>
                    </a:lnTo>
                    <a:lnTo>
                      <a:pt x="53318" y="159268"/>
                    </a:lnTo>
                    <a:lnTo>
                      <a:pt x="61764" y="154068"/>
                    </a:lnTo>
                    <a:lnTo>
                      <a:pt x="71513" y="159920"/>
                    </a:lnTo>
                    <a:lnTo>
                      <a:pt x="68264" y="141720"/>
                    </a:lnTo>
                    <a:lnTo>
                      <a:pt x="57211" y="138470"/>
                    </a:lnTo>
                    <a:lnTo>
                      <a:pt x="44211" y="141073"/>
                    </a:lnTo>
                    <a:lnTo>
                      <a:pt x="41604" y="150822"/>
                    </a:lnTo>
                    <a:lnTo>
                      <a:pt x="33801" y="148872"/>
                    </a:lnTo>
                    <a:lnTo>
                      <a:pt x="35105" y="131971"/>
                    </a:lnTo>
                    <a:lnTo>
                      <a:pt x="27302" y="121570"/>
                    </a:lnTo>
                    <a:lnTo>
                      <a:pt x="23409" y="109218"/>
                    </a:lnTo>
                    <a:lnTo>
                      <a:pt x="38355" y="97513"/>
                    </a:lnTo>
                    <a:lnTo>
                      <a:pt x="39658" y="89062"/>
                    </a:lnTo>
                    <a:lnTo>
                      <a:pt x="24052" y="86460"/>
                    </a:lnTo>
                    <a:lnTo>
                      <a:pt x="21463" y="7866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6478" tIns="2723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3" name="shp_Region_Belize_$4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6D6D6C2-0E20-2A2D-7B4D-2662BB29FB8A}"/>
                  </a:ext>
                </a:extLst>
              </p:cNvPr>
              <p:cNvSpPr/>
              <p:nvPr/>
            </p:nvSpPr>
            <p:spPr>
              <a:xfrm>
                <a:off x="3137850" y="2870780"/>
                <a:ext cx="21446" cy="29262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2">
                    <a:moveTo>
                      <a:pt x="16892" y="0"/>
                    </a:moveTo>
                    <a:lnTo>
                      <a:pt x="11696" y="2602"/>
                    </a:lnTo>
                    <a:lnTo>
                      <a:pt x="12339" y="12352"/>
                    </a:lnTo>
                    <a:lnTo>
                      <a:pt x="7143" y="13651"/>
                    </a:lnTo>
                    <a:lnTo>
                      <a:pt x="0" y="24061"/>
                    </a:lnTo>
                    <a:lnTo>
                      <a:pt x="3250" y="29261"/>
                    </a:lnTo>
                    <a:lnTo>
                      <a:pt x="20803" y="14954"/>
                    </a:lnTo>
                    <a:lnTo>
                      <a:pt x="21445" y="7151"/>
                    </a:lnTo>
                    <a:lnTo>
                      <a:pt x="1689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2926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4" name="shp_Region_Belize_$4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B128042-BFE3-468A-4965-7C6336CB6B1D}"/>
                  </a:ext>
                </a:extLst>
              </p:cNvPr>
              <p:cNvSpPr/>
              <p:nvPr/>
            </p:nvSpPr>
            <p:spPr>
              <a:xfrm>
                <a:off x="3115084" y="2927991"/>
                <a:ext cx="86478" cy="137828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137828">
                    <a:moveTo>
                      <a:pt x="36408" y="137827"/>
                    </a:moveTo>
                    <a:lnTo>
                      <a:pt x="49408" y="137827"/>
                    </a:lnTo>
                    <a:lnTo>
                      <a:pt x="55264" y="126118"/>
                    </a:lnTo>
                    <a:lnTo>
                      <a:pt x="68924" y="112471"/>
                    </a:lnTo>
                    <a:lnTo>
                      <a:pt x="65014" y="91017"/>
                    </a:lnTo>
                    <a:lnTo>
                      <a:pt x="56568" y="81263"/>
                    </a:lnTo>
                    <a:lnTo>
                      <a:pt x="65014" y="74764"/>
                    </a:lnTo>
                    <a:lnTo>
                      <a:pt x="67621" y="53961"/>
                    </a:lnTo>
                    <a:lnTo>
                      <a:pt x="76067" y="47457"/>
                    </a:lnTo>
                    <a:lnTo>
                      <a:pt x="73460" y="30561"/>
                    </a:lnTo>
                    <a:lnTo>
                      <a:pt x="86477" y="22753"/>
                    </a:lnTo>
                    <a:lnTo>
                      <a:pt x="86477" y="16901"/>
                    </a:lnTo>
                    <a:lnTo>
                      <a:pt x="72174" y="0"/>
                    </a:lnTo>
                    <a:lnTo>
                      <a:pt x="57871" y="7151"/>
                    </a:lnTo>
                    <a:lnTo>
                      <a:pt x="56568" y="15602"/>
                    </a:lnTo>
                    <a:lnTo>
                      <a:pt x="63068" y="24057"/>
                    </a:lnTo>
                    <a:lnTo>
                      <a:pt x="55907" y="35105"/>
                    </a:lnTo>
                    <a:lnTo>
                      <a:pt x="60461" y="48109"/>
                    </a:lnTo>
                    <a:lnTo>
                      <a:pt x="49408" y="53961"/>
                    </a:lnTo>
                    <a:lnTo>
                      <a:pt x="42908" y="51359"/>
                    </a:lnTo>
                    <a:lnTo>
                      <a:pt x="27302" y="53309"/>
                    </a:lnTo>
                    <a:lnTo>
                      <a:pt x="23409" y="50060"/>
                    </a:lnTo>
                    <a:lnTo>
                      <a:pt x="26016" y="37708"/>
                    </a:lnTo>
                    <a:lnTo>
                      <a:pt x="38355" y="37708"/>
                    </a:lnTo>
                    <a:lnTo>
                      <a:pt x="35765" y="29257"/>
                    </a:lnTo>
                    <a:lnTo>
                      <a:pt x="26659" y="29900"/>
                    </a:lnTo>
                    <a:lnTo>
                      <a:pt x="23409" y="20802"/>
                    </a:lnTo>
                    <a:lnTo>
                      <a:pt x="14963" y="24699"/>
                    </a:lnTo>
                    <a:lnTo>
                      <a:pt x="1946" y="26655"/>
                    </a:lnTo>
                    <a:lnTo>
                      <a:pt x="0" y="31855"/>
                    </a:lnTo>
                    <a:lnTo>
                      <a:pt x="8463" y="44207"/>
                    </a:lnTo>
                    <a:lnTo>
                      <a:pt x="5856" y="55260"/>
                    </a:lnTo>
                    <a:lnTo>
                      <a:pt x="14963" y="59162"/>
                    </a:lnTo>
                    <a:lnTo>
                      <a:pt x="14302" y="65666"/>
                    </a:lnTo>
                    <a:lnTo>
                      <a:pt x="3910" y="74764"/>
                    </a:lnTo>
                    <a:lnTo>
                      <a:pt x="11713" y="77366"/>
                    </a:lnTo>
                    <a:lnTo>
                      <a:pt x="18856" y="66313"/>
                    </a:lnTo>
                    <a:lnTo>
                      <a:pt x="30551" y="69563"/>
                    </a:lnTo>
                    <a:lnTo>
                      <a:pt x="40319" y="69563"/>
                    </a:lnTo>
                    <a:lnTo>
                      <a:pt x="39015" y="100124"/>
                    </a:lnTo>
                    <a:lnTo>
                      <a:pt x="47461" y="110516"/>
                    </a:lnTo>
                    <a:lnTo>
                      <a:pt x="36408" y="137827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6478" tIns="13782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5" name="shp_Region_Belize_$4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E8E14FE-5296-1D61-1BAD-32C86A88BF44}"/>
                  </a:ext>
                </a:extLst>
              </p:cNvPr>
              <p:cNvSpPr/>
              <p:nvPr/>
            </p:nvSpPr>
            <p:spPr>
              <a:xfrm>
                <a:off x="3099477" y="2936441"/>
                <a:ext cx="13018" cy="20808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20808">
                    <a:moveTo>
                      <a:pt x="0" y="0"/>
                    </a:moveTo>
                    <a:lnTo>
                      <a:pt x="1964" y="20807"/>
                    </a:lnTo>
                    <a:lnTo>
                      <a:pt x="11053" y="12352"/>
                    </a:lnTo>
                    <a:lnTo>
                      <a:pt x="13017" y="32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18" tIns="2080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6" name="shp_Region_Belize_$4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DB0C593-36E6-E254-648A-1ADE22C465B4}"/>
                  </a:ext>
                </a:extLst>
              </p:cNvPr>
              <p:cNvSpPr/>
              <p:nvPr/>
            </p:nvSpPr>
            <p:spPr>
              <a:xfrm>
                <a:off x="2654804" y="2949445"/>
                <a:ext cx="11697" cy="39660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39660">
                    <a:moveTo>
                      <a:pt x="11696" y="0"/>
                    </a:moveTo>
                    <a:lnTo>
                      <a:pt x="2590" y="7151"/>
                    </a:lnTo>
                    <a:lnTo>
                      <a:pt x="6500" y="18204"/>
                    </a:lnTo>
                    <a:lnTo>
                      <a:pt x="0" y="37708"/>
                    </a:lnTo>
                    <a:lnTo>
                      <a:pt x="7804" y="39659"/>
                    </a:lnTo>
                    <a:lnTo>
                      <a:pt x="11696" y="27954"/>
                    </a:lnTo>
                    <a:lnTo>
                      <a:pt x="10393" y="1755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396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7" name="shp_Region_Belize_$4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E8CEB74-75C9-C354-A185-E67B4DEFD719}"/>
                  </a:ext>
                </a:extLst>
              </p:cNvPr>
              <p:cNvSpPr/>
              <p:nvPr/>
            </p:nvSpPr>
            <p:spPr>
              <a:xfrm>
                <a:off x="3788619" y="2985207"/>
                <a:ext cx="46159" cy="72809"/>
              </a:xfrm>
              <a:custGeom>
                <a:avLst/>
                <a:gdLst/>
                <a:ahLst/>
                <a:cxnLst/>
                <a:rect l="0" t="0" r="0" b="0"/>
                <a:pathLst>
                  <a:path w="46159" h="72809">
                    <a:moveTo>
                      <a:pt x="28605" y="0"/>
                    </a:moveTo>
                    <a:lnTo>
                      <a:pt x="22749" y="0"/>
                    </a:lnTo>
                    <a:lnTo>
                      <a:pt x="22749" y="12347"/>
                    </a:lnTo>
                    <a:lnTo>
                      <a:pt x="12356" y="42908"/>
                    </a:lnTo>
                    <a:lnTo>
                      <a:pt x="11696" y="49403"/>
                    </a:lnTo>
                    <a:lnTo>
                      <a:pt x="4553" y="55255"/>
                    </a:lnTo>
                    <a:lnTo>
                      <a:pt x="0" y="66304"/>
                    </a:lnTo>
                    <a:lnTo>
                      <a:pt x="643" y="72808"/>
                    </a:lnTo>
                    <a:lnTo>
                      <a:pt x="16249" y="52006"/>
                    </a:lnTo>
                    <a:lnTo>
                      <a:pt x="31855" y="43555"/>
                    </a:lnTo>
                    <a:lnTo>
                      <a:pt x="42908" y="32507"/>
                    </a:lnTo>
                    <a:lnTo>
                      <a:pt x="46158" y="17548"/>
                    </a:lnTo>
                    <a:lnTo>
                      <a:pt x="36409" y="11695"/>
                    </a:lnTo>
                    <a:lnTo>
                      <a:pt x="36409" y="4539"/>
                    </a:lnTo>
                    <a:lnTo>
                      <a:pt x="2860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159" tIns="728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8" name="shp_Region_Belize_$4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8CF31FA-6168-086A-6568-A7025BCC4D72}"/>
                  </a:ext>
                </a:extLst>
              </p:cNvPr>
              <p:cNvSpPr/>
              <p:nvPr/>
            </p:nvSpPr>
            <p:spPr>
              <a:xfrm>
                <a:off x="3083889" y="3004054"/>
                <a:ext cx="9089" cy="9103"/>
              </a:xfrm>
              <a:custGeom>
                <a:avLst/>
                <a:gdLst/>
                <a:ahLst/>
                <a:cxnLst/>
                <a:rect l="0" t="0" r="0" b="0"/>
                <a:pathLst>
                  <a:path w="9089" h="9103">
                    <a:moveTo>
                      <a:pt x="3250" y="0"/>
                    </a:moveTo>
                    <a:lnTo>
                      <a:pt x="0" y="9102"/>
                    </a:lnTo>
                    <a:lnTo>
                      <a:pt x="9088" y="7798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89" tIns="91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59" name="shp_Region_Belize_$4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51B52DD-F138-4BFC-CD2E-AC03D2478365}"/>
                  </a:ext>
                </a:extLst>
              </p:cNvPr>
              <p:cNvSpPr/>
              <p:nvPr/>
            </p:nvSpPr>
            <p:spPr>
              <a:xfrm>
                <a:off x="2658054" y="3039163"/>
                <a:ext cx="13001" cy="29906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29906">
                    <a:moveTo>
                      <a:pt x="6500" y="0"/>
                    </a:moveTo>
                    <a:lnTo>
                      <a:pt x="0" y="17553"/>
                    </a:lnTo>
                    <a:lnTo>
                      <a:pt x="1947" y="29905"/>
                    </a:lnTo>
                    <a:lnTo>
                      <a:pt x="13000" y="26004"/>
                    </a:lnTo>
                    <a:lnTo>
                      <a:pt x="13000" y="7799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1" tIns="299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60" name="shp_Region_Belize_$4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A9C3AC6-3866-BFD1-AD27-F067AB887C0D}"/>
                  </a:ext>
                </a:extLst>
              </p:cNvPr>
              <p:cNvSpPr/>
              <p:nvPr/>
            </p:nvSpPr>
            <p:spPr>
              <a:xfrm>
                <a:off x="3076728" y="3094424"/>
                <a:ext cx="21465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21465" h="17554">
                    <a:moveTo>
                      <a:pt x="18214" y="0"/>
                    </a:moveTo>
                    <a:lnTo>
                      <a:pt x="11696" y="647"/>
                    </a:lnTo>
                    <a:lnTo>
                      <a:pt x="0" y="14303"/>
                    </a:lnTo>
                    <a:lnTo>
                      <a:pt x="15607" y="17553"/>
                    </a:lnTo>
                    <a:lnTo>
                      <a:pt x="21464" y="13646"/>
                    </a:lnTo>
                    <a:lnTo>
                      <a:pt x="1821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65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61" name="shp_Region_Belize_$4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8746DF6-B470-6649-57B1-7F7D69729AC1}"/>
                  </a:ext>
                </a:extLst>
              </p:cNvPr>
              <p:cNvSpPr/>
              <p:nvPr/>
            </p:nvSpPr>
            <p:spPr>
              <a:xfrm>
                <a:off x="2676910" y="3183495"/>
                <a:ext cx="15590" cy="22098"/>
              </a:xfrm>
              <a:custGeom>
                <a:avLst/>
                <a:gdLst/>
                <a:ahLst/>
                <a:cxnLst/>
                <a:rect l="0" t="0" r="0" b="0"/>
                <a:pathLst>
                  <a:path w="15590" h="22098">
                    <a:moveTo>
                      <a:pt x="0" y="0"/>
                    </a:moveTo>
                    <a:lnTo>
                      <a:pt x="8446" y="7794"/>
                    </a:lnTo>
                    <a:lnTo>
                      <a:pt x="5197" y="22097"/>
                    </a:lnTo>
                    <a:lnTo>
                      <a:pt x="15589" y="18195"/>
                    </a:lnTo>
                    <a:lnTo>
                      <a:pt x="15589" y="12348"/>
                    </a:lnTo>
                    <a:lnTo>
                      <a:pt x="6500" y="25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590" tIns="2209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62" name="shp_Region_Belize_$5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1127487-D1CB-28E0-95BD-54AF03788CA5}"/>
                  </a:ext>
                </a:extLst>
              </p:cNvPr>
              <p:cNvSpPr/>
              <p:nvPr/>
            </p:nvSpPr>
            <p:spPr>
              <a:xfrm>
                <a:off x="2017678" y="4638471"/>
                <a:ext cx="9107" cy="18196"/>
              </a:xfrm>
              <a:custGeom>
                <a:avLst/>
                <a:gdLst/>
                <a:ahLst/>
                <a:cxnLst/>
                <a:rect l="0" t="0" r="0" b="0"/>
                <a:pathLst>
                  <a:path w="9107" h="18196">
                    <a:moveTo>
                      <a:pt x="7803" y="0"/>
                    </a:moveTo>
                    <a:lnTo>
                      <a:pt x="0" y="1294"/>
                    </a:lnTo>
                    <a:lnTo>
                      <a:pt x="2607" y="17548"/>
                    </a:lnTo>
                    <a:lnTo>
                      <a:pt x="9106" y="18195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07" tIns="1819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</p:grpSp>
        <p:sp>
          <p:nvSpPr>
            <p:cNvPr id="262" name="shp_Region_Cayo" descr="Admin1_Id=&quot;BLZ&quot;&#10;Admin1_Label=&quot;Belize&quot;&#10;Admin2_Id=&quot;BLZ.2_1&quot;&#10;Admin2_Label=&quot;Cayo&quot;&#10;" title="Cayo">
              <a:extLst>
                <a:ext uri="{FF2B5EF4-FFF2-40B4-BE49-F238E27FC236}">
                  <a16:creationId xmlns:a16="http://schemas.microsoft.com/office/drawing/2014/main" id="{210B14C2-0D50-25C3-171F-B7C4601C30A2}"/>
                </a:ext>
              </a:extLst>
            </p:cNvPr>
            <p:cNvSpPr/>
            <p:nvPr/>
          </p:nvSpPr>
          <p:spPr>
            <a:xfrm>
              <a:off x="85138" y="2323153"/>
              <a:ext cx="1509278" cy="2519196"/>
            </a:xfrm>
            <a:custGeom>
              <a:avLst/>
              <a:gdLst/>
              <a:ahLst/>
              <a:cxnLst/>
              <a:rect l="0" t="0" r="0" b="0"/>
              <a:pathLst>
                <a:path w="1509278" h="2519196">
                  <a:moveTo>
                    <a:pt x="96067" y="409942"/>
                  </a:moveTo>
                  <a:lnTo>
                    <a:pt x="97459" y="1064510"/>
                  </a:lnTo>
                  <a:lnTo>
                    <a:pt x="79639" y="1330723"/>
                  </a:lnTo>
                  <a:lnTo>
                    <a:pt x="62051" y="1593289"/>
                  </a:lnTo>
                  <a:lnTo>
                    <a:pt x="39266" y="1933316"/>
                  </a:lnTo>
                  <a:lnTo>
                    <a:pt x="47712" y="1933369"/>
                  </a:lnTo>
                  <a:lnTo>
                    <a:pt x="21142" y="2324139"/>
                  </a:lnTo>
                  <a:lnTo>
                    <a:pt x="13053" y="2324532"/>
                  </a:lnTo>
                  <a:lnTo>
                    <a:pt x="0" y="2519195"/>
                  </a:lnTo>
                  <a:lnTo>
                    <a:pt x="176812" y="2401331"/>
                  </a:lnTo>
                  <a:lnTo>
                    <a:pt x="329697" y="2373529"/>
                  </a:lnTo>
                  <a:lnTo>
                    <a:pt x="420049" y="2283181"/>
                  </a:lnTo>
                  <a:lnTo>
                    <a:pt x="496492" y="2324884"/>
                  </a:lnTo>
                  <a:lnTo>
                    <a:pt x="593790" y="2262334"/>
                  </a:lnTo>
                  <a:lnTo>
                    <a:pt x="593790" y="2199784"/>
                  </a:lnTo>
                  <a:lnTo>
                    <a:pt x="711944" y="2171986"/>
                  </a:lnTo>
                  <a:lnTo>
                    <a:pt x="823135" y="2116386"/>
                  </a:lnTo>
                  <a:lnTo>
                    <a:pt x="885685" y="2019088"/>
                  </a:lnTo>
                  <a:lnTo>
                    <a:pt x="878739" y="1984340"/>
                  </a:lnTo>
                  <a:lnTo>
                    <a:pt x="878739" y="1963493"/>
                  </a:lnTo>
                  <a:lnTo>
                    <a:pt x="896863" y="1939316"/>
                  </a:lnTo>
                  <a:lnTo>
                    <a:pt x="913362" y="1939432"/>
                  </a:lnTo>
                  <a:lnTo>
                    <a:pt x="980001" y="1889448"/>
                  </a:lnTo>
                  <a:lnTo>
                    <a:pt x="986162" y="1875096"/>
                  </a:lnTo>
                  <a:lnTo>
                    <a:pt x="1002875" y="1836102"/>
                  </a:lnTo>
                  <a:lnTo>
                    <a:pt x="1060015" y="1695119"/>
                  </a:lnTo>
                  <a:lnTo>
                    <a:pt x="1117173" y="1618909"/>
                  </a:lnTo>
                  <a:lnTo>
                    <a:pt x="1155278" y="1592236"/>
                  </a:lnTo>
                  <a:lnTo>
                    <a:pt x="1227685" y="1592236"/>
                  </a:lnTo>
                  <a:lnTo>
                    <a:pt x="1201008" y="1535083"/>
                  </a:lnTo>
                  <a:lnTo>
                    <a:pt x="1260308" y="1504651"/>
                  </a:lnTo>
                  <a:lnTo>
                    <a:pt x="1239113" y="1321701"/>
                  </a:lnTo>
                  <a:lnTo>
                    <a:pt x="1297931" y="1302095"/>
                  </a:lnTo>
                  <a:lnTo>
                    <a:pt x="1304859" y="1281757"/>
                  </a:lnTo>
                  <a:lnTo>
                    <a:pt x="1339375" y="1253821"/>
                  </a:lnTo>
                  <a:lnTo>
                    <a:pt x="1405604" y="1149728"/>
                  </a:lnTo>
                  <a:lnTo>
                    <a:pt x="1486046" y="1055104"/>
                  </a:lnTo>
                  <a:lnTo>
                    <a:pt x="1475975" y="1030610"/>
                  </a:lnTo>
                  <a:lnTo>
                    <a:pt x="1472689" y="1032261"/>
                  </a:lnTo>
                  <a:lnTo>
                    <a:pt x="1439459" y="917754"/>
                  </a:lnTo>
                  <a:lnTo>
                    <a:pt x="1450780" y="904295"/>
                  </a:lnTo>
                  <a:lnTo>
                    <a:pt x="1457262" y="895179"/>
                  </a:lnTo>
                  <a:lnTo>
                    <a:pt x="1478171" y="876475"/>
                  </a:lnTo>
                  <a:lnTo>
                    <a:pt x="1489814" y="862445"/>
                  </a:lnTo>
                  <a:lnTo>
                    <a:pt x="1496777" y="850767"/>
                  </a:lnTo>
                  <a:lnTo>
                    <a:pt x="1496760" y="818067"/>
                  </a:lnTo>
                  <a:lnTo>
                    <a:pt x="1487439" y="785373"/>
                  </a:lnTo>
                  <a:lnTo>
                    <a:pt x="1485082" y="755004"/>
                  </a:lnTo>
                  <a:lnTo>
                    <a:pt x="1485064" y="722309"/>
                  </a:lnTo>
                  <a:lnTo>
                    <a:pt x="1509277" y="674231"/>
                  </a:lnTo>
                  <a:lnTo>
                    <a:pt x="1481314" y="596155"/>
                  </a:lnTo>
                  <a:lnTo>
                    <a:pt x="1467118" y="317005"/>
                  </a:lnTo>
                  <a:lnTo>
                    <a:pt x="1443459" y="0"/>
                  </a:lnTo>
                  <a:lnTo>
                    <a:pt x="1400872" y="75701"/>
                  </a:lnTo>
                  <a:lnTo>
                    <a:pt x="1327733" y="53193"/>
                  </a:lnTo>
                  <a:lnTo>
                    <a:pt x="1060211" y="193989"/>
                  </a:lnTo>
                  <a:lnTo>
                    <a:pt x="776334" y="212912"/>
                  </a:lnTo>
                  <a:lnTo>
                    <a:pt x="781066" y="175062"/>
                  </a:lnTo>
                  <a:lnTo>
                    <a:pt x="691178" y="269690"/>
                  </a:lnTo>
                  <a:lnTo>
                    <a:pt x="459333" y="269690"/>
                  </a:lnTo>
                  <a:lnTo>
                    <a:pt x="416746" y="312273"/>
                  </a:lnTo>
                  <a:lnTo>
                    <a:pt x="359981" y="321737"/>
                  </a:lnTo>
                  <a:lnTo>
                    <a:pt x="388355" y="283882"/>
                  </a:lnTo>
                  <a:lnTo>
                    <a:pt x="303198" y="283882"/>
                  </a:lnTo>
                  <a:lnTo>
                    <a:pt x="208561" y="326464"/>
                  </a:lnTo>
                  <a:lnTo>
                    <a:pt x="96067" y="40994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9278" tIns="2519196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 err="1">
                  <a:solidFill>
                    <a:srgbClr val="FFFFFF"/>
                  </a:solidFill>
                  <a:latin typeface="Arial" panose="020B0604020202020204" pitchFamily="34" charset="0"/>
                </a:rPr>
                <a:t>Cayo</a:t>
              </a:r>
              <a:endParaRPr lang="en-US" sz="600" b="1" i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263" name="shp_Region_Corozal" descr="Admin1_Id=&quot;BLZ&quot;&#10;Admin1_Label=&quot;Belize&quot;&#10;Admin2_Id=&quot;BLZ.3_1&quot;&#10;Admin2_Label=&quot;Corozal&quot;&#10;" title="Corozal">
              <a:extLst>
                <a:ext uri="{FF2B5EF4-FFF2-40B4-BE49-F238E27FC236}">
                  <a16:creationId xmlns:a16="http://schemas.microsoft.com/office/drawing/2014/main" id="{80289107-4FB2-1A39-DCCD-42E1FD783D3D}"/>
                </a:ext>
              </a:extLst>
            </p:cNvPr>
            <p:cNvGrpSpPr/>
            <p:nvPr/>
          </p:nvGrpSpPr>
          <p:grpSpPr>
            <a:xfrm>
              <a:off x="1450565" y="0"/>
              <a:ext cx="1818600" cy="1525027"/>
              <a:chOff x="1450565" y="0"/>
              <a:chExt cx="1818600" cy="1525027"/>
            </a:xfrm>
            <a:solidFill>
              <a:srgbClr val="92D050"/>
            </a:solidFill>
          </p:grpSpPr>
          <p:sp>
            <p:nvSpPr>
              <p:cNvPr id="303" name="shp_Region_Corozal_$1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49A9CCD6-0295-93FE-203A-F6D517F01D3E}"/>
                  </a:ext>
                </a:extLst>
              </p:cNvPr>
              <p:cNvSpPr/>
              <p:nvPr/>
            </p:nvSpPr>
            <p:spPr>
              <a:xfrm>
                <a:off x="1450565" y="0"/>
                <a:ext cx="1206187" cy="1213664"/>
              </a:xfrm>
              <a:custGeom>
                <a:avLst/>
                <a:gdLst/>
                <a:ahLst/>
                <a:cxnLst/>
                <a:rect l="0" t="0" r="0" b="0"/>
                <a:pathLst>
                  <a:path w="1206187" h="1213664">
                    <a:moveTo>
                      <a:pt x="1052105" y="1213663"/>
                    </a:moveTo>
                    <a:lnTo>
                      <a:pt x="1050801" y="1199963"/>
                    </a:lnTo>
                    <a:lnTo>
                      <a:pt x="1057301" y="1165500"/>
                    </a:lnTo>
                    <a:lnTo>
                      <a:pt x="1059908" y="1158353"/>
                    </a:lnTo>
                    <a:lnTo>
                      <a:pt x="1081353" y="1138850"/>
                    </a:lnTo>
                    <a:lnTo>
                      <a:pt x="1089817" y="1125846"/>
                    </a:lnTo>
                    <a:lnTo>
                      <a:pt x="1104120" y="1110244"/>
                    </a:lnTo>
                    <a:lnTo>
                      <a:pt x="1111923" y="1085540"/>
                    </a:lnTo>
                    <a:lnTo>
                      <a:pt x="1116476" y="1054332"/>
                    </a:lnTo>
                    <a:lnTo>
                      <a:pt x="1122976" y="1031579"/>
                    </a:lnTo>
                    <a:lnTo>
                      <a:pt x="1127512" y="1020526"/>
                    </a:lnTo>
                    <a:lnTo>
                      <a:pt x="1128815" y="1004919"/>
                    </a:lnTo>
                    <a:lnTo>
                      <a:pt x="1141171" y="988023"/>
                    </a:lnTo>
                    <a:lnTo>
                      <a:pt x="1146368" y="954217"/>
                    </a:lnTo>
                    <a:lnTo>
                      <a:pt x="1148975" y="943164"/>
                    </a:lnTo>
                    <a:lnTo>
                      <a:pt x="1158081" y="930160"/>
                    </a:lnTo>
                    <a:lnTo>
                      <a:pt x="1167170" y="932111"/>
                    </a:lnTo>
                    <a:lnTo>
                      <a:pt x="1169777" y="902854"/>
                    </a:lnTo>
                    <a:lnTo>
                      <a:pt x="1178223" y="887252"/>
                    </a:lnTo>
                    <a:lnTo>
                      <a:pt x="1177580" y="854744"/>
                    </a:lnTo>
                    <a:lnTo>
                      <a:pt x="1182776" y="844339"/>
                    </a:lnTo>
                    <a:lnTo>
                      <a:pt x="1183437" y="824840"/>
                    </a:lnTo>
                    <a:lnTo>
                      <a:pt x="1188633" y="800788"/>
                    </a:lnTo>
                    <a:lnTo>
                      <a:pt x="1187990" y="776731"/>
                    </a:lnTo>
                    <a:lnTo>
                      <a:pt x="1192526" y="763727"/>
                    </a:lnTo>
                    <a:lnTo>
                      <a:pt x="1192526" y="740974"/>
                    </a:lnTo>
                    <a:lnTo>
                      <a:pt x="1196436" y="718221"/>
                    </a:lnTo>
                    <a:lnTo>
                      <a:pt x="1200990" y="705217"/>
                    </a:lnTo>
                    <a:lnTo>
                      <a:pt x="1204239" y="685062"/>
                    </a:lnTo>
                    <a:lnTo>
                      <a:pt x="1204882" y="665563"/>
                    </a:lnTo>
                    <a:lnTo>
                      <a:pt x="1199686" y="660362"/>
                    </a:lnTo>
                    <a:lnTo>
                      <a:pt x="1199025" y="649956"/>
                    </a:lnTo>
                    <a:lnTo>
                      <a:pt x="1193829" y="644756"/>
                    </a:lnTo>
                    <a:lnTo>
                      <a:pt x="1192526" y="622645"/>
                    </a:lnTo>
                    <a:lnTo>
                      <a:pt x="1193829" y="607700"/>
                    </a:lnTo>
                    <a:lnTo>
                      <a:pt x="1190580" y="589495"/>
                    </a:lnTo>
                    <a:lnTo>
                      <a:pt x="1191240" y="574545"/>
                    </a:lnTo>
                    <a:lnTo>
                      <a:pt x="1195133" y="563492"/>
                    </a:lnTo>
                    <a:lnTo>
                      <a:pt x="1193829" y="545288"/>
                    </a:lnTo>
                    <a:lnTo>
                      <a:pt x="1190580" y="534230"/>
                    </a:lnTo>
                    <a:lnTo>
                      <a:pt x="1201632" y="537489"/>
                    </a:lnTo>
                    <a:lnTo>
                      <a:pt x="1206186" y="534230"/>
                    </a:lnTo>
                    <a:lnTo>
                      <a:pt x="1206186" y="522535"/>
                    </a:lnTo>
                    <a:lnTo>
                      <a:pt x="1187330" y="517329"/>
                    </a:lnTo>
                    <a:lnTo>
                      <a:pt x="1190580" y="503031"/>
                    </a:lnTo>
                    <a:lnTo>
                      <a:pt x="1203579" y="503678"/>
                    </a:lnTo>
                    <a:lnTo>
                      <a:pt x="1199025" y="495875"/>
                    </a:lnTo>
                    <a:lnTo>
                      <a:pt x="1193187" y="497826"/>
                    </a:lnTo>
                    <a:lnTo>
                      <a:pt x="1187990" y="489376"/>
                    </a:lnTo>
                    <a:lnTo>
                      <a:pt x="1179527" y="488077"/>
                    </a:lnTo>
                    <a:lnTo>
                      <a:pt x="1180830" y="497174"/>
                    </a:lnTo>
                    <a:lnTo>
                      <a:pt x="1172384" y="498478"/>
                    </a:lnTo>
                    <a:lnTo>
                      <a:pt x="1173688" y="480273"/>
                    </a:lnTo>
                    <a:lnTo>
                      <a:pt x="1176937" y="465971"/>
                    </a:lnTo>
                    <a:lnTo>
                      <a:pt x="1182776" y="464667"/>
                    </a:lnTo>
                    <a:lnTo>
                      <a:pt x="1185383" y="454918"/>
                    </a:lnTo>
                    <a:lnTo>
                      <a:pt x="1179527" y="448418"/>
                    </a:lnTo>
                    <a:lnTo>
                      <a:pt x="1184723" y="437365"/>
                    </a:lnTo>
                    <a:lnTo>
                      <a:pt x="1185383" y="411362"/>
                    </a:lnTo>
                    <a:lnTo>
                      <a:pt x="1189937" y="400309"/>
                    </a:lnTo>
                    <a:lnTo>
                      <a:pt x="1187330" y="386006"/>
                    </a:lnTo>
                    <a:lnTo>
                      <a:pt x="1186687" y="369110"/>
                    </a:lnTo>
                    <a:lnTo>
                      <a:pt x="1183437" y="357401"/>
                    </a:lnTo>
                    <a:lnTo>
                      <a:pt x="1174973" y="349593"/>
                    </a:lnTo>
                    <a:lnTo>
                      <a:pt x="1173688" y="328795"/>
                    </a:lnTo>
                    <a:lnTo>
                      <a:pt x="1181473" y="328795"/>
                    </a:lnTo>
                    <a:lnTo>
                      <a:pt x="1181473" y="311242"/>
                    </a:lnTo>
                    <a:lnTo>
                      <a:pt x="1186687" y="297591"/>
                    </a:lnTo>
                    <a:lnTo>
                      <a:pt x="1182776" y="288489"/>
                    </a:lnTo>
                    <a:lnTo>
                      <a:pt x="1169134" y="302140"/>
                    </a:lnTo>
                    <a:lnTo>
                      <a:pt x="1150921" y="307992"/>
                    </a:lnTo>
                    <a:lnTo>
                      <a:pt x="1122976" y="306042"/>
                    </a:lnTo>
                    <a:lnTo>
                      <a:pt x="1115173" y="310591"/>
                    </a:lnTo>
                    <a:lnTo>
                      <a:pt x="1103459" y="312546"/>
                    </a:lnTo>
                    <a:lnTo>
                      <a:pt x="1094370" y="319045"/>
                    </a:lnTo>
                    <a:lnTo>
                      <a:pt x="1079407" y="324246"/>
                    </a:lnTo>
                    <a:lnTo>
                      <a:pt x="1075514" y="329447"/>
                    </a:lnTo>
                    <a:lnTo>
                      <a:pt x="1061854" y="338549"/>
                    </a:lnTo>
                    <a:lnTo>
                      <a:pt x="1028053" y="351548"/>
                    </a:lnTo>
                    <a:lnTo>
                      <a:pt x="1020892" y="361302"/>
                    </a:lnTo>
                    <a:lnTo>
                      <a:pt x="1005304" y="369753"/>
                    </a:lnTo>
                    <a:lnTo>
                      <a:pt x="989037" y="370404"/>
                    </a:lnTo>
                    <a:lnTo>
                      <a:pt x="974734" y="369110"/>
                    </a:lnTo>
                    <a:lnTo>
                      <a:pt x="953931" y="369753"/>
                    </a:lnTo>
                    <a:lnTo>
                      <a:pt x="944843" y="371703"/>
                    </a:lnTo>
                    <a:lnTo>
                      <a:pt x="924022" y="389908"/>
                    </a:lnTo>
                    <a:lnTo>
                      <a:pt x="911684" y="396407"/>
                    </a:lnTo>
                    <a:lnTo>
                      <a:pt x="900631" y="382109"/>
                    </a:lnTo>
                    <a:lnTo>
                      <a:pt x="927290" y="372355"/>
                    </a:lnTo>
                    <a:lnTo>
                      <a:pt x="917523" y="365847"/>
                    </a:lnTo>
                    <a:lnTo>
                      <a:pt x="925326" y="356749"/>
                    </a:lnTo>
                    <a:lnTo>
                      <a:pt x="928576" y="342446"/>
                    </a:lnTo>
                    <a:lnTo>
                      <a:pt x="918826" y="345700"/>
                    </a:lnTo>
                    <a:lnTo>
                      <a:pt x="911023" y="351548"/>
                    </a:lnTo>
                    <a:lnTo>
                      <a:pt x="897381" y="356749"/>
                    </a:lnTo>
                    <a:lnTo>
                      <a:pt x="885024" y="365204"/>
                    </a:lnTo>
                    <a:lnTo>
                      <a:pt x="877221" y="365204"/>
                    </a:lnTo>
                    <a:lnTo>
                      <a:pt x="865525" y="369110"/>
                    </a:lnTo>
                    <a:lnTo>
                      <a:pt x="857062" y="358048"/>
                    </a:lnTo>
                    <a:lnTo>
                      <a:pt x="857062" y="351548"/>
                    </a:lnTo>
                    <a:lnTo>
                      <a:pt x="864865" y="347656"/>
                    </a:lnTo>
                    <a:lnTo>
                      <a:pt x="873329" y="339196"/>
                    </a:lnTo>
                    <a:lnTo>
                      <a:pt x="862276" y="335946"/>
                    </a:lnTo>
                    <a:lnTo>
                      <a:pt x="854472" y="326844"/>
                    </a:lnTo>
                    <a:lnTo>
                      <a:pt x="843420" y="323594"/>
                    </a:lnTo>
                    <a:lnTo>
                      <a:pt x="836259" y="333996"/>
                    </a:lnTo>
                    <a:lnTo>
                      <a:pt x="822617" y="337245"/>
                    </a:lnTo>
                    <a:lnTo>
                      <a:pt x="816117" y="330094"/>
                    </a:lnTo>
                    <a:lnTo>
                      <a:pt x="809618" y="335946"/>
                    </a:lnTo>
                    <a:lnTo>
                      <a:pt x="795958" y="334647"/>
                    </a:lnTo>
                    <a:lnTo>
                      <a:pt x="777102" y="346999"/>
                    </a:lnTo>
                    <a:lnTo>
                      <a:pt x="762799" y="345053"/>
                    </a:lnTo>
                    <a:lnTo>
                      <a:pt x="756299" y="349593"/>
                    </a:lnTo>
                    <a:lnTo>
                      <a:pt x="749157" y="348298"/>
                    </a:lnTo>
                    <a:lnTo>
                      <a:pt x="739389" y="351548"/>
                    </a:lnTo>
                    <a:lnTo>
                      <a:pt x="727694" y="350901"/>
                    </a:lnTo>
                    <a:lnTo>
                      <a:pt x="714694" y="357401"/>
                    </a:lnTo>
                    <a:lnTo>
                      <a:pt x="711445" y="361954"/>
                    </a:lnTo>
                    <a:lnTo>
                      <a:pt x="684142" y="373650"/>
                    </a:lnTo>
                    <a:lnTo>
                      <a:pt x="673732" y="373650"/>
                    </a:lnTo>
                    <a:lnTo>
                      <a:pt x="664625" y="382109"/>
                    </a:lnTo>
                    <a:lnTo>
                      <a:pt x="639270" y="389256"/>
                    </a:lnTo>
                    <a:lnTo>
                      <a:pt x="636680" y="396407"/>
                    </a:lnTo>
                    <a:lnTo>
                      <a:pt x="630824" y="396407"/>
                    </a:lnTo>
                    <a:lnTo>
                      <a:pt x="616521" y="390559"/>
                    </a:lnTo>
                    <a:lnTo>
                      <a:pt x="607414" y="391207"/>
                    </a:lnTo>
                    <a:lnTo>
                      <a:pt x="607414" y="376908"/>
                    </a:lnTo>
                    <a:lnTo>
                      <a:pt x="611325" y="363248"/>
                    </a:lnTo>
                    <a:lnTo>
                      <a:pt x="617824" y="361954"/>
                    </a:lnTo>
                    <a:lnTo>
                      <a:pt x="619771" y="354802"/>
                    </a:lnTo>
                    <a:lnTo>
                      <a:pt x="630824" y="343098"/>
                    </a:lnTo>
                    <a:lnTo>
                      <a:pt x="646430" y="334647"/>
                    </a:lnTo>
                    <a:lnTo>
                      <a:pt x="652287" y="325545"/>
                    </a:lnTo>
                    <a:lnTo>
                      <a:pt x="660072" y="324246"/>
                    </a:lnTo>
                    <a:lnTo>
                      <a:pt x="671786" y="315144"/>
                    </a:lnTo>
                    <a:lnTo>
                      <a:pt x="665929" y="306042"/>
                    </a:lnTo>
                    <a:lnTo>
                      <a:pt x="648376" y="305390"/>
                    </a:lnTo>
                    <a:lnTo>
                      <a:pt x="636020" y="307341"/>
                    </a:lnTo>
                    <a:lnTo>
                      <a:pt x="634074" y="311894"/>
                    </a:lnTo>
                    <a:lnTo>
                      <a:pt x="615878" y="317095"/>
                    </a:lnTo>
                    <a:lnTo>
                      <a:pt x="602218" y="324246"/>
                    </a:lnTo>
                    <a:lnTo>
                      <a:pt x="588576" y="322943"/>
                    </a:lnTo>
                    <a:lnTo>
                      <a:pt x="587272" y="326844"/>
                    </a:lnTo>
                    <a:lnTo>
                      <a:pt x="561917" y="341794"/>
                    </a:lnTo>
                    <a:lnTo>
                      <a:pt x="546953" y="348298"/>
                    </a:lnTo>
                    <a:lnTo>
                      <a:pt x="539150" y="348298"/>
                    </a:lnTo>
                    <a:lnTo>
                      <a:pt x="513794" y="354151"/>
                    </a:lnTo>
                    <a:lnTo>
                      <a:pt x="505348" y="346348"/>
                    </a:lnTo>
                    <a:lnTo>
                      <a:pt x="504705" y="341147"/>
                    </a:lnTo>
                    <a:lnTo>
                      <a:pt x="495599" y="337897"/>
                    </a:lnTo>
                    <a:lnTo>
                      <a:pt x="482600" y="319693"/>
                    </a:lnTo>
                    <a:lnTo>
                      <a:pt x="481939" y="280030"/>
                    </a:lnTo>
                    <a:lnTo>
                      <a:pt x="491046" y="264437"/>
                    </a:lnTo>
                    <a:lnTo>
                      <a:pt x="498206" y="263133"/>
                    </a:lnTo>
                    <a:lnTo>
                      <a:pt x="517062" y="245576"/>
                    </a:lnTo>
                    <a:lnTo>
                      <a:pt x="533954" y="243630"/>
                    </a:lnTo>
                    <a:lnTo>
                      <a:pt x="545668" y="235827"/>
                    </a:lnTo>
                    <a:lnTo>
                      <a:pt x="554114" y="226724"/>
                    </a:lnTo>
                    <a:lnTo>
                      <a:pt x="574916" y="217622"/>
                    </a:lnTo>
                    <a:lnTo>
                      <a:pt x="581416" y="211123"/>
                    </a:lnTo>
                    <a:lnTo>
                      <a:pt x="588576" y="209172"/>
                    </a:lnTo>
                    <a:lnTo>
                      <a:pt x="595718" y="202672"/>
                    </a:lnTo>
                    <a:lnTo>
                      <a:pt x="612628" y="200074"/>
                    </a:lnTo>
                    <a:lnTo>
                      <a:pt x="626270" y="187718"/>
                    </a:lnTo>
                    <a:lnTo>
                      <a:pt x="636680" y="185767"/>
                    </a:lnTo>
                    <a:lnTo>
                      <a:pt x="659429" y="166915"/>
                    </a:lnTo>
                    <a:lnTo>
                      <a:pt x="668536" y="153911"/>
                    </a:lnTo>
                    <a:lnTo>
                      <a:pt x="668536" y="145461"/>
                    </a:lnTo>
                    <a:lnTo>
                      <a:pt x="672429" y="129207"/>
                    </a:lnTo>
                    <a:lnTo>
                      <a:pt x="680232" y="123355"/>
                    </a:lnTo>
                    <a:lnTo>
                      <a:pt x="687392" y="125310"/>
                    </a:lnTo>
                    <a:lnTo>
                      <a:pt x="691285" y="116204"/>
                    </a:lnTo>
                    <a:lnTo>
                      <a:pt x="708195" y="108405"/>
                    </a:lnTo>
                    <a:lnTo>
                      <a:pt x="715998" y="95401"/>
                    </a:lnTo>
                    <a:lnTo>
                      <a:pt x="720551" y="93455"/>
                    </a:lnTo>
                    <a:lnTo>
                      <a:pt x="708195" y="75898"/>
                    </a:lnTo>
                    <a:lnTo>
                      <a:pt x="704945" y="58341"/>
                    </a:lnTo>
                    <a:lnTo>
                      <a:pt x="695195" y="51194"/>
                    </a:lnTo>
                    <a:lnTo>
                      <a:pt x="684142" y="47944"/>
                    </a:lnTo>
                    <a:lnTo>
                      <a:pt x="678285" y="38190"/>
                    </a:lnTo>
                    <a:lnTo>
                      <a:pt x="670482" y="34293"/>
                    </a:lnTo>
                    <a:lnTo>
                      <a:pt x="672429" y="27789"/>
                    </a:lnTo>
                    <a:lnTo>
                      <a:pt x="670482" y="17294"/>
                    </a:lnTo>
                    <a:lnTo>
                      <a:pt x="645930" y="15374"/>
                    </a:lnTo>
                    <a:lnTo>
                      <a:pt x="616128" y="19423"/>
                    </a:lnTo>
                    <a:lnTo>
                      <a:pt x="584540" y="25369"/>
                    </a:lnTo>
                    <a:lnTo>
                      <a:pt x="533918" y="27570"/>
                    </a:lnTo>
                    <a:lnTo>
                      <a:pt x="519651" y="23521"/>
                    </a:lnTo>
                    <a:lnTo>
                      <a:pt x="500170" y="0"/>
                    </a:lnTo>
                    <a:lnTo>
                      <a:pt x="489260" y="491"/>
                    </a:lnTo>
                    <a:lnTo>
                      <a:pt x="475350" y="5540"/>
                    </a:lnTo>
                    <a:lnTo>
                      <a:pt x="413818" y="31882"/>
                    </a:lnTo>
                    <a:lnTo>
                      <a:pt x="400193" y="36766"/>
                    </a:lnTo>
                    <a:lnTo>
                      <a:pt x="379855" y="39694"/>
                    </a:lnTo>
                    <a:lnTo>
                      <a:pt x="367552" y="35217"/>
                    </a:lnTo>
                    <a:lnTo>
                      <a:pt x="354892" y="15120"/>
                    </a:lnTo>
                    <a:lnTo>
                      <a:pt x="313323" y="7513"/>
                    </a:lnTo>
                    <a:lnTo>
                      <a:pt x="309430" y="4236"/>
                    </a:lnTo>
                    <a:lnTo>
                      <a:pt x="288770" y="11455"/>
                    </a:lnTo>
                    <a:lnTo>
                      <a:pt x="243916" y="54064"/>
                    </a:lnTo>
                    <a:lnTo>
                      <a:pt x="220739" y="67380"/>
                    </a:lnTo>
                    <a:lnTo>
                      <a:pt x="201990" y="85362"/>
                    </a:lnTo>
                    <a:lnTo>
                      <a:pt x="189258" y="114699"/>
                    </a:lnTo>
                    <a:lnTo>
                      <a:pt x="188401" y="133471"/>
                    </a:lnTo>
                    <a:lnTo>
                      <a:pt x="173687" y="183709"/>
                    </a:lnTo>
                    <a:lnTo>
                      <a:pt x="161545" y="209837"/>
                    </a:lnTo>
                    <a:lnTo>
                      <a:pt x="151242" y="225260"/>
                    </a:lnTo>
                    <a:lnTo>
                      <a:pt x="144153" y="251991"/>
                    </a:lnTo>
                    <a:lnTo>
                      <a:pt x="126922" y="281806"/>
                    </a:lnTo>
                    <a:lnTo>
                      <a:pt x="123851" y="300546"/>
                    </a:lnTo>
                    <a:lnTo>
                      <a:pt x="130708" y="329076"/>
                    </a:lnTo>
                    <a:lnTo>
                      <a:pt x="126583" y="344049"/>
                    </a:lnTo>
                    <a:lnTo>
                      <a:pt x="120262" y="354691"/>
                    </a:lnTo>
                    <a:lnTo>
                      <a:pt x="94156" y="380096"/>
                    </a:lnTo>
                    <a:lnTo>
                      <a:pt x="60551" y="420955"/>
                    </a:lnTo>
                    <a:lnTo>
                      <a:pt x="20535" y="455034"/>
                    </a:lnTo>
                    <a:lnTo>
                      <a:pt x="14017" y="468082"/>
                    </a:lnTo>
                    <a:lnTo>
                      <a:pt x="15464" y="484202"/>
                    </a:lnTo>
                    <a:lnTo>
                      <a:pt x="7232" y="513066"/>
                    </a:lnTo>
                    <a:lnTo>
                      <a:pt x="0" y="562448"/>
                    </a:lnTo>
                    <a:lnTo>
                      <a:pt x="67675" y="578478"/>
                    </a:lnTo>
                    <a:lnTo>
                      <a:pt x="149653" y="614914"/>
                    </a:lnTo>
                    <a:lnTo>
                      <a:pt x="274164" y="669571"/>
                    </a:lnTo>
                    <a:lnTo>
                      <a:pt x="340964" y="781922"/>
                    </a:lnTo>
                    <a:lnTo>
                      <a:pt x="380444" y="882127"/>
                    </a:lnTo>
                    <a:lnTo>
                      <a:pt x="562631" y="1027878"/>
                    </a:lnTo>
                    <a:lnTo>
                      <a:pt x="711409" y="1188811"/>
                    </a:lnTo>
                    <a:lnTo>
                      <a:pt x="722265" y="1189977"/>
                    </a:lnTo>
                    <a:lnTo>
                      <a:pt x="749889" y="1192936"/>
                    </a:lnTo>
                    <a:lnTo>
                      <a:pt x="750871" y="1194432"/>
                    </a:lnTo>
                    <a:lnTo>
                      <a:pt x="1052105" y="1213663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06187" tIns="121366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04" name="shp_Region_Corozal_$2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D54C8F70-3584-9C6C-59AD-249DFD87AD6F}"/>
                  </a:ext>
                </a:extLst>
              </p:cNvPr>
              <p:cNvSpPr/>
              <p:nvPr/>
            </p:nvSpPr>
            <p:spPr>
              <a:xfrm>
                <a:off x="2636591" y="323594"/>
                <a:ext cx="11054" cy="1690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6907">
                    <a:moveTo>
                      <a:pt x="0" y="0"/>
                    </a:moveTo>
                    <a:lnTo>
                      <a:pt x="661" y="16906"/>
                    </a:lnTo>
                    <a:lnTo>
                      <a:pt x="11053" y="6500"/>
                    </a:lnTo>
                    <a:lnTo>
                      <a:pt x="1964" y="45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690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05" name="shp_Region_Corozal_$3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AE8D456-E7C7-5226-9763-F29003579BF5}"/>
                  </a:ext>
                </a:extLst>
              </p:cNvPr>
              <p:cNvSpPr/>
              <p:nvPr/>
            </p:nvSpPr>
            <p:spPr>
              <a:xfrm>
                <a:off x="2771816" y="688535"/>
                <a:ext cx="497349" cy="769526"/>
              </a:xfrm>
              <a:custGeom>
                <a:avLst/>
                <a:gdLst/>
                <a:ahLst/>
                <a:cxnLst/>
                <a:rect l="0" t="0" r="0" b="0"/>
                <a:pathLst>
                  <a:path w="497349" h="769526">
                    <a:moveTo>
                      <a:pt x="224952" y="603744"/>
                    </a:moveTo>
                    <a:lnTo>
                      <a:pt x="232095" y="593990"/>
                    </a:lnTo>
                    <a:lnTo>
                      <a:pt x="235345" y="579040"/>
                    </a:lnTo>
                    <a:lnTo>
                      <a:pt x="244451" y="574487"/>
                    </a:lnTo>
                    <a:lnTo>
                      <a:pt x="253558" y="565385"/>
                    </a:lnTo>
                    <a:lnTo>
                      <a:pt x="258111" y="549787"/>
                    </a:lnTo>
                    <a:lnTo>
                      <a:pt x="273057" y="525079"/>
                    </a:lnTo>
                    <a:lnTo>
                      <a:pt x="286717" y="495174"/>
                    </a:lnTo>
                    <a:lnTo>
                      <a:pt x="288003" y="486724"/>
                    </a:lnTo>
                    <a:lnTo>
                      <a:pt x="294520" y="476965"/>
                    </a:lnTo>
                    <a:lnTo>
                      <a:pt x="304912" y="449663"/>
                    </a:lnTo>
                    <a:lnTo>
                      <a:pt x="315323" y="426263"/>
                    </a:lnTo>
                    <a:lnTo>
                      <a:pt x="330268" y="409357"/>
                    </a:lnTo>
                    <a:lnTo>
                      <a:pt x="339375" y="391805"/>
                    </a:lnTo>
                    <a:lnTo>
                      <a:pt x="343928" y="378145"/>
                    </a:lnTo>
                    <a:lnTo>
                      <a:pt x="344571" y="359954"/>
                    </a:lnTo>
                    <a:lnTo>
                      <a:pt x="350428" y="345646"/>
                    </a:lnTo>
                    <a:lnTo>
                      <a:pt x="357570" y="338495"/>
                    </a:lnTo>
                    <a:lnTo>
                      <a:pt x="366034" y="317688"/>
                    </a:lnTo>
                    <a:lnTo>
                      <a:pt x="369284" y="294935"/>
                    </a:lnTo>
                    <a:lnTo>
                      <a:pt x="375784" y="282583"/>
                    </a:lnTo>
                    <a:lnTo>
                      <a:pt x="385533" y="268932"/>
                    </a:lnTo>
                    <a:lnTo>
                      <a:pt x="406978" y="252674"/>
                    </a:lnTo>
                    <a:lnTo>
                      <a:pt x="418031" y="241625"/>
                    </a:lnTo>
                    <a:lnTo>
                      <a:pt x="425835" y="224720"/>
                    </a:lnTo>
                    <a:lnTo>
                      <a:pt x="434941" y="221470"/>
                    </a:lnTo>
                    <a:lnTo>
                      <a:pt x="444048" y="211720"/>
                    </a:lnTo>
                    <a:lnTo>
                      <a:pt x="457690" y="204565"/>
                    </a:lnTo>
                    <a:lnTo>
                      <a:pt x="461600" y="205216"/>
                    </a:lnTo>
                    <a:lnTo>
                      <a:pt x="478492" y="194815"/>
                    </a:lnTo>
                    <a:lnTo>
                      <a:pt x="492152" y="195467"/>
                    </a:lnTo>
                    <a:lnTo>
                      <a:pt x="497348" y="187016"/>
                    </a:lnTo>
                    <a:lnTo>
                      <a:pt x="495402" y="174664"/>
                    </a:lnTo>
                    <a:lnTo>
                      <a:pt x="486296" y="164910"/>
                    </a:lnTo>
                    <a:lnTo>
                      <a:pt x="480439" y="142804"/>
                    </a:lnTo>
                    <a:lnTo>
                      <a:pt x="479153" y="120051"/>
                    </a:lnTo>
                    <a:lnTo>
                      <a:pt x="473296" y="105101"/>
                    </a:lnTo>
                    <a:lnTo>
                      <a:pt x="467439" y="95352"/>
                    </a:lnTo>
                    <a:lnTo>
                      <a:pt x="467439" y="79745"/>
                    </a:lnTo>
                    <a:lnTo>
                      <a:pt x="464190" y="67393"/>
                    </a:lnTo>
                    <a:lnTo>
                      <a:pt x="457047" y="58291"/>
                    </a:lnTo>
                    <a:lnTo>
                      <a:pt x="455744" y="48537"/>
                    </a:lnTo>
                    <a:lnTo>
                      <a:pt x="446637" y="38136"/>
                    </a:lnTo>
                    <a:lnTo>
                      <a:pt x="457047" y="29034"/>
                    </a:lnTo>
                    <a:lnTo>
                      <a:pt x="457726" y="25208"/>
                    </a:lnTo>
                    <a:lnTo>
                      <a:pt x="448423" y="11584"/>
                    </a:lnTo>
                    <a:lnTo>
                      <a:pt x="431781" y="0"/>
                    </a:lnTo>
                    <a:lnTo>
                      <a:pt x="427138" y="13432"/>
                    </a:lnTo>
                    <a:lnTo>
                      <a:pt x="419978" y="19932"/>
                    </a:lnTo>
                    <a:lnTo>
                      <a:pt x="414139" y="33592"/>
                    </a:lnTo>
                    <a:lnTo>
                      <a:pt x="408282" y="33592"/>
                    </a:lnTo>
                    <a:lnTo>
                      <a:pt x="405032" y="42689"/>
                    </a:lnTo>
                    <a:lnTo>
                      <a:pt x="397229" y="43337"/>
                    </a:lnTo>
                    <a:lnTo>
                      <a:pt x="394640" y="55689"/>
                    </a:lnTo>
                    <a:lnTo>
                      <a:pt x="381623" y="67393"/>
                    </a:lnTo>
                    <a:lnTo>
                      <a:pt x="366034" y="84946"/>
                    </a:lnTo>
                    <a:lnTo>
                      <a:pt x="358231" y="97954"/>
                    </a:lnTo>
                    <a:lnTo>
                      <a:pt x="355624" y="107699"/>
                    </a:lnTo>
                    <a:lnTo>
                      <a:pt x="356267" y="117453"/>
                    </a:lnTo>
                    <a:lnTo>
                      <a:pt x="340678" y="118748"/>
                    </a:lnTo>
                    <a:lnTo>
                      <a:pt x="341321" y="129810"/>
                    </a:lnTo>
                    <a:lnTo>
                      <a:pt x="335464" y="135006"/>
                    </a:lnTo>
                    <a:lnTo>
                      <a:pt x="332875" y="145407"/>
                    </a:lnTo>
                    <a:lnTo>
                      <a:pt x="337429" y="165562"/>
                    </a:lnTo>
                    <a:lnTo>
                      <a:pt x="335464" y="175312"/>
                    </a:lnTo>
                    <a:lnTo>
                      <a:pt x="327018" y="183762"/>
                    </a:lnTo>
                    <a:lnTo>
                      <a:pt x="326376" y="198065"/>
                    </a:lnTo>
                    <a:lnTo>
                      <a:pt x="311412" y="209765"/>
                    </a:lnTo>
                    <a:lnTo>
                      <a:pt x="299716" y="239674"/>
                    </a:lnTo>
                    <a:lnTo>
                      <a:pt x="292556" y="244228"/>
                    </a:lnTo>
                    <a:lnTo>
                      <a:pt x="276967" y="249428"/>
                    </a:lnTo>
                    <a:lnTo>
                      <a:pt x="275003" y="273481"/>
                    </a:lnTo>
                    <a:lnTo>
                      <a:pt x="282806" y="265682"/>
                    </a:lnTo>
                    <a:lnTo>
                      <a:pt x="296466" y="273481"/>
                    </a:lnTo>
                    <a:lnTo>
                      <a:pt x="305573" y="270883"/>
                    </a:lnTo>
                    <a:lnTo>
                      <a:pt x="309466" y="277382"/>
                    </a:lnTo>
                    <a:lnTo>
                      <a:pt x="304269" y="291033"/>
                    </a:lnTo>
                    <a:lnTo>
                      <a:pt x="289306" y="295587"/>
                    </a:lnTo>
                    <a:lnTo>
                      <a:pt x="282806" y="294935"/>
                    </a:lnTo>
                    <a:lnTo>
                      <a:pt x="278253" y="285833"/>
                    </a:lnTo>
                    <a:lnTo>
                      <a:pt x="254861" y="304689"/>
                    </a:lnTo>
                    <a:lnTo>
                      <a:pt x="249005" y="318340"/>
                    </a:lnTo>
                    <a:lnTo>
                      <a:pt x="241201" y="328741"/>
                    </a:lnTo>
                    <a:lnTo>
                      <a:pt x="221042" y="326790"/>
                    </a:lnTo>
                    <a:lnTo>
                      <a:pt x="209989" y="319643"/>
                    </a:lnTo>
                    <a:lnTo>
                      <a:pt x="204150" y="326143"/>
                    </a:lnTo>
                    <a:lnTo>
                      <a:pt x="204793" y="345646"/>
                    </a:lnTo>
                    <a:lnTo>
                      <a:pt x="208043" y="351499"/>
                    </a:lnTo>
                    <a:lnTo>
                      <a:pt x="209989" y="373600"/>
                    </a:lnTo>
                    <a:lnTo>
                      <a:pt x="204150" y="391805"/>
                    </a:lnTo>
                    <a:lnTo>
                      <a:pt x="213239" y="390506"/>
                    </a:lnTo>
                    <a:lnTo>
                      <a:pt x="217792" y="382051"/>
                    </a:lnTo>
                    <a:lnTo>
                      <a:pt x="215203" y="368400"/>
                    </a:lnTo>
                    <a:lnTo>
                      <a:pt x="225595" y="363199"/>
                    </a:lnTo>
                    <a:lnTo>
                      <a:pt x="230791" y="357347"/>
                    </a:lnTo>
                    <a:lnTo>
                      <a:pt x="230148" y="350195"/>
                    </a:lnTo>
                    <a:lnTo>
                      <a:pt x="242505" y="339142"/>
                    </a:lnTo>
                    <a:lnTo>
                      <a:pt x="250951" y="335245"/>
                    </a:lnTo>
                    <a:lnTo>
                      <a:pt x="257451" y="337843"/>
                    </a:lnTo>
                    <a:lnTo>
                      <a:pt x="260700" y="353445"/>
                    </a:lnTo>
                    <a:lnTo>
                      <a:pt x="255504" y="364498"/>
                    </a:lnTo>
                    <a:lnTo>
                      <a:pt x="261361" y="368400"/>
                    </a:lnTo>
                    <a:lnTo>
                      <a:pt x="262004" y="380100"/>
                    </a:lnTo>
                    <a:lnTo>
                      <a:pt x="251612" y="381408"/>
                    </a:lnTo>
                    <a:lnTo>
                      <a:pt x="248362" y="388555"/>
                    </a:lnTo>
                    <a:lnTo>
                      <a:pt x="240559" y="395054"/>
                    </a:lnTo>
                    <a:lnTo>
                      <a:pt x="227541" y="413906"/>
                    </a:lnTo>
                    <a:lnTo>
                      <a:pt x="219756" y="421709"/>
                    </a:lnTo>
                    <a:lnTo>
                      <a:pt x="211292" y="426263"/>
                    </a:lnTo>
                    <a:lnTo>
                      <a:pt x="209346" y="437311"/>
                    </a:lnTo>
                    <a:lnTo>
                      <a:pt x="202846" y="436012"/>
                    </a:lnTo>
                    <a:lnTo>
                      <a:pt x="198293" y="448368"/>
                    </a:lnTo>
                    <a:lnTo>
                      <a:pt x="190490" y="461363"/>
                    </a:lnTo>
                    <a:lnTo>
                      <a:pt x="185294" y="474372"/>
                    </a:lnTo>
                    <a:lnTo>
                      <a:pt x="187240" y="501022"/>
                    </a:lnTo>
                    <a:lnTo>
                      <a:pt x="169687" y="503620"/>
                    </a:lnTo>
                    <a:lnTo>
                      <a:pt x="167741" y="515329"/>
                    </a:lnTo>
                    <a:lnTo>
                      <a:pt x="161884" y="525079"/>
                    </a:lnTo>
                    <a:lnTo>
                      <a:pt x="155385" y="551086"/>
                    </a:lnTo>
                    <a:lnTo>
                      <a:pt x="147582" y="563443"/>
                    </a:lnTo>
                    <a:lnTo>
                      <a:pt x="130690" y="579040"/>
                    </a:lnTo>
                    <a:lnTo>
                      <a:pt x="128083" y="592044"/>
                    </a:lnTo>
                    <a:lnTo>
                      <a:pt x="118333" y="621297"/>
                    </a:lnTo>
                    <a:lnTo>
                      <a:pt x="103370" y="644702"/>
                    </a:lnTo>
                    <a:lnTo>
                      <a:pt x="103370" y="657054"/>
                    </a:lnTo>
                    <a:lnTo>
                      <a:pt x="112476" y="649255"/>
                    </a:lnTo>
                    <a:lnTo>
                      <a:pt x="114423" y="641452"/>
                    </a:lnTo>
                    <a:lnTo>
                      <a:pt x="126136" y="633006"/>
                    </a:lnTo>
                    <a:lnTo>
                      <a:pt x="127422" y="642751"/>
                    </a:lnTo>
                    <a:lnTo>
                      <a:pt x="117030" y="649255"/>
                    </a:lnTo>
                    <a:lnTo>
                      <a:pt x="106619" y="679807"/>
                    </a:lnTo>
                    <a:lnTo>
                      <a:pt x="123529" y="675910"/>
                    </a:lnTo>
                    <a:lnTo>
                      <a:pt x="131975" y="671357"/>
                    </a:lnTo>
                    <a:lnTo>
                      <a:pt x="137832" y="657706"/>
                    </a:lnTo>
                    <a:lnTo>
                      <a:pt x="135225" y="646653"/>
                    </a:lnTo>
                    <a:lnTo>
                      <a:pt x="138475" y="636899"/>
                    </a:lnTo>
                    <a:lnTo>
                      <a:pt x="148242" y="641452"/>
                    </a:lnTo>
                    <a:lnTo>
                      <a:pt x="158634" y="632345"/>
                    </a:lnTo>
                    <a:lnTo>
                      <a:pt x="159295" y="624547"/>
                    </a:lnTo>
                    <a:lnTo>
                      <a:pt x="168384" y="609597"/>
                    </a:lnTo>
                    <a:lnTo>
                      <a:pt x="183990" y="592044"/>
                    </a:lnTo>
                    <a:lnTo>
                      <a:pt x="188544" y="575790"/>
                    </a:lnTo>
                    <a:lnTo>
                      <a:pt x="201543" y="577089"/>
                    </a:lnTo>
                    <a:lnTo>
                      <a:pt x="202846" y="590093"/>
                    </a:lnTo>
                    <a:lnTo>
                      <a:pt x="201543" y="601793"/>
                    </a:lnTo>
                    <a:lnTo>
                      <a:pt x="190490" y="605695"/>
                    </a:lnTo>
                    <a:lnTo>
                      <a:pt x="183990" y="635604"/>
                    </a:lnTo>
                    <a:lnTo>
                      <a:pt x="178794" y="636251"/>
                    </a:lnTo>
                    <a:lnTo>
                      <a:pt x="174884" y="657706"/>
                    </a:lnTo>
                    <a:lnTo>
                      <a:pt x="180740" y="659661"/>
                    </a:lnTo>
                    <a:lnTo>
                      <a:pt x="169045" y="669406"/>
                    </a:lnTo>
                    <a:lnTo>
                      <a:pt x="165795" y="662906"/>
                    </a:lnTo>
                    <a:lnTo>
                      <a:pt x="152135" y="669406"/>
                    </a:lnTo>
                    <a:lnTo>
                      <a:pt x="152778" y="680459"/>
                    </a:lnTo>
                    <a:lnTo>
                      <a:pt x="143689" y="681111"/>
                    </a:lnTo>
                    <a:lnTo>
                      <a:pt x="143028" y="687610"/>
                    </a:lnTo>
                    <a:lnTo>
                      <a:pt x="131975" y="693458"/>
                    </a:lnTo>
                    <a:lnTo>
                      <a:pt x="122886" y="693458"/>
                    </a:lnTo>
                    <a:lnTo>
                      <a:pt x="121583" y="701261"/>
                    </a:lnTo>
                    <a:lnTo>
                      <a:pt x="105977" y="702569"/>
                    </a:lnTo>
                    <a:lnTo>
                      <a:pt x="105334" y="695413"/>
                    </a:lnTo>
                    <a:lnTo>
                      <a:pt x="100120" y="689561"/>
                    </a:lnTo>
                    <a:lnTo>
                      <a:pt x="89727" y="703212"/>
                    </a:lnTo>
                    <a:lnTo>
                      <a:pt x="87781" y="715564"/>
                    </a:lnTo>
                    <a:lnTo>
                      <a:pt x="98816" y="725970"/>
                    </a:lnTo>
                    <a:lnTo>
                      <a:pt x="109869" y="731822"/>
                    </a:lnTo>
                    <a:lnTo>
                      <a:pt x="104673" y="746120"/>
                    </a:lnTo>
                    <a:lnTo>
                      <a:pt x="85817" y="746772"/>
                    </a:lnTo>
                    <a:lnTo>
                      <a:pt x="81924" y="742871"/>
                    </a:lnTo>
                    <a:lnTo>
                      <a:pt x="58515" y="740268"/>
                    </a:lnTo>
                    <a:lnTo>
                      <a:pt x="46819" y="744170"/>
                    </a:lnTo>
                    <a:lnTo>
                      <a:pt x="42909" y="750674"/>
                    </a:lnTo>
                    <a:lnTo>
                      <a:pt x="29909" y="752620"/>
                    </a:lnTo>
                    <a:lnTo>
                      <a:pt x="21463" y="742223"/>
                    </a:lnTo>
                    <a:lnTo>
                      <a:pt x="5214" y="745473"/>
                    </a:lnTo>
                    <a:lnTo>
                      <a:pt x="0" y="753272"/>
                    </a:lnTo>
                    <a:lnTo>
                      <a:pt x="9107" y="766927"/>
                    </a:lnTo>
                    <a:lnTo>
                      <a:pt x="20160" y="758477"/>
                    </a:lnTo>
                    <a:lnTo>
                      <a:pt x="27302" y="761722"/>
                    </a:lnTo>
                    <a:lnTo>
                      <a:pt x="33159" y="755879"/>
                    </a:lnTo>
                    <a:lnTo>
                      <a:pt x="49408" y="769525"/>
                    </a:lnTo>
                    <a:lnTo>
                      <a:pt x="65675" y="764325"/>
                    </a:lnTo>
                    <a:lnTo>
                      <a:pt x="81924" y="757173"/>
                    </a:lnTo>
                    <a:lnTo>
                      <a:pt x="101423" y="760419"/>
                    </a:lnTo>
                    <a:lnTo>
                      <a:pt x="124833" y="748071"/>
                    </a:lnTo>
                    <a:lnTo>
                      <a:pt x="130029" y="743522"/>
                    </a:lnTo>
                    <a:lnTo>
                      <a:pt x="149528" y="720117"/>
                    </a:lnTo>
                    <a:lnTo>
                      <a:pt x="152135" y="699315"/>
                    </a:lnTo>
                    <a:lnTo>
                      <a:pt x="157331" y="694766"/>
                    </a:lnTo>
                    <a:lnTo>
                      <a:pt x="174884" y="673307"/>
                    </a:lnTo>
                    <a:lnTo>
                      <a:pt x="187883" y="662906"/>
                    </a:lnTo>
                    <a:lnTo>
                      <a:pt x="189847" y="649255"/>
                    </a:lnTo>
                    <a:lnTo>
                      <a:pt x="209346" y="621297"/>
                    </a:lnTo>
                    <a:lnTo>
                      <a:pt x="224952" y="603744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97349" tIns="76952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06" name="shp_Region_Corozal_$4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E9CE54BB-182C-A5F6-3028-86D217FEB780}"/>
                  </a:ext>
                </a:extLst>
              </p:cNvPr>
              <p:cNvSpPr/>
              <p:nvPr/>
            </p:nvSpPr>
            <p:spPr>
              <a:xfrm>
                <a:off x="2964252" y="868400"/>
                <a:ext cx="48124" cy="87117"/>
              </a:xfrm>
              <a:custGeom>
                <a:avLst/>
                <a:gdLst/>
                <a:ahLst/>
                <a:cxnLst/>
                <a:rect l="0" t="0" r="0" b="0"/>
                <a:pathLst>
                  <a:path w="48124" h="87117">
                    <a:moveTo>
                      <a:pt x="48123" y="0"/>
                    </a:moveTo>
                    <a:lnTo>
                      <a:pt x="31856" y="7799"/>
                    </a:lnTo>
                    <a:lnTo>
                      <a:pt x="31213" y="16254"/>
                    </a:lnTo>
                    <a:lnTo>
                      <a:pt x="26660" y="22753"/>
                    </a:lnTo>
                    <a:lnTo>
                      <a:pt x="11714" y="26655"/>
                    </a:lnTo>
                    <a:lnTo>
                      <a:pt x="15607" y="31855"/>
                    </a:lnTo>
                    <a:lnTo>
                      <a:pt x="39659" y="33806"/>
                    </a:lnTo>
                    <a:lnTo>
                      <a:pt x="39659" y="39654"/>
                    </a:lnTo>
                    <a:lnTo>
                      <a:pt x="27963" y="40301"/>
                    </a:lnTo>
                    <a:lnTo>
                      <a:pt x="23410" y="32498"/>
                    </a:lnTo>
                    <a:lnTo>
                      <a:pt x="18214" y="33806"/>
                    </a:lnTo>
                    <a:lnTo>
                      <a:pt x="16267" y="41605"/>
                    </a:lnTo>
                    <a:lnTo>
                      <a:pt x="0" y="46806"/>
                    </a:lnTo>
                    <a:lnTo>
                      <a:pt x="0" y="63711"/>
                    </a:lnTo>
                    <a:lnTo>
                      <a:pt x="7161" y="68260"/>
                    </a:lnTo>
                    <a:lnTo>
                      <a:pt x="5214" y="87116"/>
                    </a:lnTo>
                    <a:lnTo>
                      <a:pt x="18214" y="79313"/>
                    </a:lnTo>
                    <a:lnTo>
                      <a:pt x="22767" y="66309"/>
                    </a:lnTo>
                    <a:lnTo>
                      <a:pt x="35766" y="64363"/>
                    </a:lnTo>
                    <a:lnTo>
                      <a:pt x="44873" y="54609"/>
                    </a:lnTo>
                    <a:lnTo>
                      <a:pt x="45516" y="15602"/>
                    </a:lnTo>
                    <a:lnTo>
                      <a:pt x="4812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124" tIns="871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07" name="shp_Region_Corozal_$5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FF29F735-0FD2-0C4D-4E8C-518C1CC599D4}"/>
                  </a:ext>
                </a:extLst>
              </p:cNvPr>
              <p:cNvSpPr/>
              <p:nvPr/>
            </p:nvSpPr>
            <p:spPr>
              <a:xfrm>
                <a:off x="2954503" y="870351"/>
                <a:ext cx="26660" cy="31204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31204">
                    <a:moveTo>
                      <a:pt x="22766" y="0"/>
                    </a:moveTo>
                    <a:lnTo>
                      <a:pt x="22106" y="8450"/>
                    </a:lnTo>
                    <a:lnTo>
                      <a:pt x="15606" y="14303"/>
                    </a:lnTo>
                    <a:lnTo>
                      <a:pt x="13660" y="22101"/>
                    </a:lnTo>
                    <a:lnTo>
                      <a:pt x="0" y="22749"/>
                    </a:lnTo>
                    <a:lnTo>
                      <a:pt x="1303" y="28605"/>
                    </a:lnTo>
                    <a:lnTo>
                      <a:pt x="11053" y="31203"/>
                    </a:lnTo>
                    <a:lnTo>
                      <a:pt x="26016" y="18200"/>
                    </a:lnTo>
                    <a:lnTo>
                      <a:pt x="26659" y="7798"/>
                    </a:lnTo>
                    <a:lnTo>
                      <a:pt x="22766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0" tIns="312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08" name="shp_Region_Corozal_$6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196C8A7F-A3A0-D598-B85C-D7A0680FA338}"/>
                  </a:ext>
                </a:extLst>
              </p:cNvPr>
              <p:cNvSpPr/>
              <p:nvPr/>
            </p:nvSpPr>
            <p:spPr>
              <a:xfrm>
                <a:off x="2897292" y="927558"/>
                <a:ext cx="61765" cy="55913"/>
              </a:xfrm>
              <a:custGeom>
                <a:avLst/>
                <a:gdLst/>
                <a:ahLst/>
                <a:cxnLst/>
                <a:rect l="0" t="0" r="0" b="0"/>
                <a:pathLst>
                  <a:path w="61765" h="55913">
                    <a:moveTo>
                      <a:pt x="59157" y="0"/>
                    </a:moveTo>
                    <a:lnTo>
                      <a:pt x="53961" y="5205"/>
                    </a:lnTo>
                    <a:lnTo>
                      <a:pt x="55907" y="16258"/>
                    </a:lnTo>
                    <a:lnTo>
                      <a:pt x="46158" y="20155"/>
                    </a:lnTo>
                    <a:lnTo>
                      <a:pt x="37712" y="20155"/>
                    </a:lnTo>
                    <a:lnTo>
                      <a:pt x="30551" y="10405"/>
                    </a:lnTo>
                    <a:lnTo>
                      <a:pt x="25355" y="18199"/>
                    </a:lnTo>
                    <a:lnTo>
                      <a:pt x="17552" y="24056"/>
                    </a:lnTo>
                    <a:lnTo>
                      <a:pt x="18856" y="30556"/>
                    </a:lnTo>
                    <a:lnTo>
                      <a:pt x="4553" y="42261"/>
                    </a:lnTo>
                    <a:lnTo>
                      <a:pt x="0" y="53314"/>
                    </a:lnTo>
                    <a:lnTo>
                      <a:pt x="20802" y="52010"/>
                    </a:lnTo>
                    <a:lnTo>
                      <a:pt x="35765" y="55912"/>
                    </a:lnTo>
                    <a:lnTo>
                      <a:pt x="35105" y="46167"/>
                    </a:lnTo>
                    <a:lnTo>
                      <a:pt x="49408" y="44211"/>
                    </a:lnTo>
                    <a:lnTo>
                      <a:pt x="54622" y="39658"/>
                    </a:lnTo>
                    <a:lnTo>
                      <a:pt x="51372" y="29909"/>
                    </a:lnTo>
                    <a:lnTo>
                      <a:pt x="61764" y="21449"/>
                    </a:lnTo>
                    <a:lnTo>
                      <a:pt x="59157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765" tIns="5591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09" name="shp_Region_Corozal_$7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4A6F14DC-C039-508C-836E-8AE8A401DB62}"/>
                  </a:ext>
                </a:extLst>
              </p:cNvPr>
              <p:cNvSpPr/>
              <p:nvPr/>
            </p:nvSpPr>
            <p:spPr>
              <a:xfrm>
                <a:off x="2799779" y="1062787"/>
                <a:ext cx="21446" cy="46159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46159">
                    <a:moveTo>
                      <a:pt x="2607" y="46158"/>
                    </a:moveTo>
                    <a:lnTo>
                      <a:pt x="13642" y="16901"/>
                    </a:lnTo>
                    <a:lnTo>
                      <a:pt x="21445" y="2598"/>
                    </a:lnTo>
                    <a:lnTo>
                      <a:pt x="17553" y="0"/>
                    </a:lnTo>
                    <a:lnTo>
                      <a:pt x="0" y="37056"/>
                    </a:lnTo>
                    <a:lnTo>
                      <a:pt x="2607" y="46158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4615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10" name="shp_Region_Corozal_$8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A6D900EF-213F-6E46-F042-CD881787C160}"/>
                  </a:ext>
                </a:extLst>
              </p:cNvPr>
              <p:cNvSpPr/>
              <p:nvPr/>
            </p:nvSpPr>
            <p:spPr>
              <a:xfrm>
                <a:off x="2657394" y="1231166"/>
                <a:ext cx="11054" cy="9751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9751">
                    <a:moveTo>
                      <a:pt x="11053" y="0"/>
                    </a:moveTo>
                    <a:lnTo>
                      <a:pt x="1964" y="1956"/>
                    </a:lnTo>
                    <a:lnTo>
                      <a:pt x="0" y="7803"/>
                    </a:lnTo>
                    <a:lnTo>
                      <a:pt x="10410" y="9750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97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11" name="shp_Region_Corozal_$9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C0B6A289-84E2-59C8-F2D3-9E13379DE411}"/>
                  </a:ext>
                </a:extLst>
              </p:cNvPr>
              <p:cNvSpPr/>
              <p:nvPr/>
            </p:nvSpPr>
            <p:spPr>
              <a:xfrm>
                <a:off x="2840741" y="1403452"/>
                <a:ext cx="9090" cy="15603"/>
              </a:xfrm>
              <a:custGeom>
                <a:avLst/>
                <a:gdLst/>
                <a:ahLst/>
                <a:cxnLst/>
                <a:rect l="0" t="0" r="0" b="0"/>
                <a:pathLst>
                  <a:path w="9090" h="15603">
                    <a:moveTo>
                      <a:pt x="3250" y="0"/>
                    </a:moveTo>
                    <a:lnTo>
                      <a:pt x="0" y="14307"/>
                    </a:lnTo>
                    <a:lnTo>
                      <a:pt x="9089" y="15602"/>
                    </a:lnTo>
                    <a:lnTo>
                      <a:pt x="9089" y="7151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90" tIns="156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312" name="shp_Region_Corozal_$10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7C4375A6-F4CB-E615-2396-B480F74F2115}"/>
                  </a:ext>
                </a:extLst>
              </p:cNvPr>
              <p:cNvSpPr/>
              <p:nvPr/>
            </p:nvSpPr>
            <p:spPr>
              <a:xfrm>
                <a:off x="2695106" y="1482764"/>
                <a:ext cx="68265" cy="42263"/>
              </a:xfrm>
              <a:custGeom>
                <a:avLst/>
                <a:gdLst/>
                <a:ahLst/>
                <a:cxnLst/>
                <a:rect l="0" t="0" r="0" b="0"/>
                <a:pathLst>
                  <a:path w="68265" h="42263">
                    <a:moveTo>
                      <a:pt x="34462" y="0"/>
                    </a:moveTo>
                    <a:lnTo>
                      <a:pt x="28605" y="6505"/>
                    </a:lnTo>
                    <a:lnTo>
                      <a:pt x="18856" y="9754"/>
                    </a:lnTo>
                    <a:lnTo>
                      <a:pt x="7803" y="9754"/>
                    </a:lnTo>
                    <a:lnTo>
                      <a:pt x="8446" y="24057"/>
                    </a:lnTo>
                    <a:lnTo>
                      <a:pt x="0" y="28611"/>
                    </a:lnTo>
                    <a:lnTo>
                      <a:pt x="7803" y="33811"/>
                    </a:lnTo>
                    <a:lnTo>
                      <a:pt x="12999" y="42262"/>
                    </a:lnTo>
                    <a:lnTo>
                      <a:pt x="19499" y="42262"/>
                    </a:lnTo>
                    <a:lnTo>
                      <a:pt x="46158" y="36414"/>
                    </a:lnTo>
                    <a:lnTo>
                      <a:pt x="55265" y="37708"/>
                    </a:lnTo>
                    <a:lnTo>
                      <a:pt x="68264" y="27307"/>
                    </a:lnTo>
                    <a:lnTo>
                      <a:pt x="54604" y="26013"/>
                    </a:lnTo>
                    <a:lnTo>
                      <a:pt x="39658" y="27959"/>
                    </a:lnTo>
                    <a:lnTo>
                      <a:pt x="33159" y="9754"/>
                    </a:lnTo>
                    <a:lnTo>
                      <a:pt x="34462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265" tIns="422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</p:grpSp>
        <p:sp>
          <p:nvSpPr>
            <p:cNvPr id="264" name="shp_Region_Orange_Walk" descr="Admin1_Id=&quot;BLZ&quot;&#10;Admin1_Label=&quot;Belize&quot;&#10;Admin2_Id=&quot;BLZ.4_1&quot;&#10;Admin2_Label=&quot;Orange Walk&quot;&#10;" title="Orange Walk">
              <a:extLst>
                <a:ext uri="{FF2B5EF4-FFF2-40B4-BE49-F238E27FC236}">
                  <a16:creationId xmlns:a16="http://schemas.microsoft.com/office/drawing/2014/main" id="{8AF9946F-D6A2-38BB-F258-66CD2EAD99C9}"/>
                </a:ext>
              </a:extLst>
            </p:cNvPr>
            <p:cNvSpPr/>
            <p:nvPr/>
          </p:nvSpPr>
          <p:spPr>
            <a:xfrm>
              <a:off x="178794" y="562448"/>
              <a:ext cx="1994037" cy="2170648"/>
            </a:xfrm>
            <a:custGeom>
              <a:avLst/>
              <a:gdLst/>
              <a:ahLst/>
              <a:cxnLst/>
              <a:rect l="0" t="0" r="0" b="0"/>
              <a:pathLst>
                <a:path w="1994037" h="2170648">
                  <a:moveTo>
                    <a:pt x="1234077" y="1813898"/>
                  </a:moveTo>
                  <a:lnTo>
                    <a:pt x="1236255" y="1812751"/>
                  </a:lnTo>
                  <a:lnTo>
                    <a:pt x="1239737" y="1742973"/>
                  </a:lnTo>
                  <a:lnTo>
                    <a:pt x="1236987" y="1742929"/>
                  </a:lnTo>
                  <a:lnTo>
                    <a:pt x="1226792" y="1528864"/>
                  </a:lnTo>
                  <a:lnTo>
                    <a:pt x="1236255" y="1391657"/>
                  </a:lnTo>
                  <a:lnTo>
                    <a:pt x="1274110" y="1339611"/>
                  </a:lnTo>
                  <a:lnTo>
                    <a:pt x="1368730" y="1311224"/>
                  </a:lnTo>
                  <a:lnTo>
                    <a:pt x="1406585" y="1278101"/>
                  </a:lnTo>
                  <a:lnTo>
                    <a:pt x="1373462" y="1244982"/>
                  </a:lnTo>
                  <a:lnTo>
                    <a:pt x="1373462" y="852275"/>
                  </a:lnTo>
                  <a:lnTo>
                    <a:pt x="1411317" y="833352"/>
                  </a:lnTo>
                  <a:lnTo>
                    <a:pt x="1397122" y="781306"/>
                  </a:lnTo>
                  <a:lnTo>
                    <a:pt x="1576916" y="743455"/>
                  </a:lnTo>
                  <a:lnTo>
                    <a:pt x="1841866" y="672482"/>
                  </a:lnTo>
                  <a:lnTo>
                    <a:pt x="1994036" y="627529"/>
                  </a:lnTo>
                  <a:lnTo>
                    <a:pt x="1983180" y="626363"/>
                  </a:lnTo>
                  <a:lnTo>
                    <a:pt x="1834402" y="465430"/>
                  </a:lnTo>
                  <a:lnTo>
                    <a:pt x="1652215" y="319679"/>
                  </a:lnTo>
                  <a:lnTo>
                    <a:pt x="1612735" y="219474"/>
                  </a:lnTo>
                  <a:lnTo>
                    <a:pt x="1545935" y="107123"/>
                  </a:lnTo>
                  <a:lnTo>
                    <a:pt x="1421424" y="52466"/>
                  </a:lnTo>
                  <a:lnTo>
                    <a:pt x="1339446" y="16030"/>
                  </a:lnTo>
                  <a:lnTo>
                    <a:pt x="1271771" y="0"/>
                  </a:lnTo>
                  <a:lnTo>
                    <a:pt x="1272986" y="19762"/>
                  </a:lnTo>
                  <a:lnTo>
                    <a:pt x="1260736" y="56617"/>
                  </a:lnTo>
                  <a:lnTo>
                    <a:pt x="1250969" y="74192"/>
                  </a:lnTo>
                  <a:lnTo>
                    <a:pt x="1232845" y="91129"/>
                  </a:lnTo>
                  <a:lnTo>
                    <a:pt x="1206239" y="104784"/>
                  </a:lnTo>
                  <a:lnTo>
                    <a:pt x="1148510" y="196511"/>
                  </a:lnTo>
                  <a:lnTo>
                    <a:pt x="1121404" y="279721"/>
                  </a:lnTo>
                  <a:lnTo>
                    <a:pt x="1085121" y="331839"/>
                  </a:lnTo>
                  <a:lnTo>
                    <a:pt x="1071800" y="359516"/>
                  </a:lnTo>
                  <a:lnTo>
                    <a:pt x="1057854" y="427428"/>
                  </a:lnTo>
                  <a:lnTo>
                    <a:pt x="1041319" y="455060"/>
                  </a:lnTo>
                  <a:lnTo>
                    <a:pt x="1010142" y="465448"/>
                  </a:lnTo>
                  <a:lnTo>
                    <a:pt x="984912" y="478371"/>
                  </a:lnTo>
                  <a:lnTo>
                    <a:pt x="944039" y="493938"/>
                  </a:lnTo>
                  <a:lnTo>
                    <a:pt x="909541" y="524463"/>
                  </a:lnTo>
                  <a:lnTo>
                    <a:pt x="896166" y="566447"/>
                  </a:lnTo>
                  <a:lnTo>
                    <a:pt x="888738" y="579772"/>
                  </a:lnTo>
                  <a:lnTo>
                    <a:pt x="867275" y="599356"/>
                  </a:lnTo>
                  <a:lnTo>
                    <a:pt x="855847" y="619056"/>
                  </a:lnTo>
                  <a:lnTo>
                    <a:pt x="854311" y="651233"/>
                  </a:lnTo>
                  <a:lnTo>
                    <a:pt x="812653" y="677004"/>
                  </a:lnTo>
                  <a:lnTo>
                    <a:pt x="796082" y="707917"/>
                  </a:lnTo>
                  <a:lnTo>
                    <a:pt x="782494" y="723840"/>
                  </a:lnTo>
                  <a:lnTo>
                    <a:pt x="754049" y="733224"/>
                  </a:lnTo>
                  <a:lnTo>
                    <a:pt x="733104" y="745603"/>
                  </a:lnTo>
                  <a:lnTo>
                    <a:pt x="703034" y="769409"/>
                  </a:lnTo>
                  <a:lnTo>
                    <a:pt x="698927" y="781717"/>
                  </a:lnTo>
                  <a:lnTo>
                    <a:pt x="699713" y="807532"/>
                  </a:lnTo>
                  <a:lnTo>
                    <a:pt x="711658" y="838870"/>
                  </a:lnTo>
                  <a:lnTo>
                    <a:pt x="710266" y="858199"/>
                  </a:lnTo>
                  <a:lnTo>
                    <a:pt x="712980" y="912103"/>
                  </a:lnTo>
                  <a:lnTo>
                    <a:pt x="691177" y="895367"/>
                  </a:lnTo>
                  <a:lnTo>
                    <a:pt x="673018" y="873315"/>
                  </a:lnTo>
                  <a:lnTo>
                    <a:pt x="664786" y="859230"/>
                  </a:lnTo>
                  <a:lnTo>
                    <a:pt x="648644" y="847740"/>
                  </a:lnTo>
                  <a:lnTo>
                    <a:pt x="638787" y="828804"/>
                  </a:lnTo>
                  <a:lnTo>
                    <a:pt x="626002" y="819487"/>
                  </a:lnTo>
                  <a:lnTo>
                    <a:pt x="586879" y="806108"/>
                  </a:lnTo>
                  <a:lnTo>
                    <a:pt x="541096" y="784565"/>
                  </a:lnTo>
                  <a:lnTo>
                    <a:pt x="482635" y="700007"/>
                  </a:lnTo>
                  <a:lnTo>
                    <a:pt x="468064" y="698208"/>
                  </a:lnTo>
                  <a:lnTo>
                    <a:pt x="434227" y="709091"/>
                  </a:lnTo>
                  <a:lnTo>
                    <a:pt x="422460" y="706792"/>
                  </a:lnTo>
                  <a:lnTo>
                    <a:pt x="412460" y="698065"/>
                  </a:lnTo>
                  <a:lnTo>
                    <a:pt x="404621" y="696360"/>
                  </a:lnTo>
                  <a:lnTo>
                    <a:pt x="391586" y="705886"/>
                  </a:lnTo>
                  <a:lnTo>
                    <a:pt x="384301" y="703636"/>
                  </a:lnTo>
                  <a:lnTo>
                    <a:pt x="350749" y="647889"/>
                  </a:lnTo>
                  <a:lnTo>
                    <a:pt x="294591" y="598838"/>
                  </a:lnTo>
                  <a:lnTo>
                    <a:pt x="280092" y="591133"/>
                  </a:lnTo>
                  <a:lnTo>
                    <a:pt x="255344" y="592463"/>
                  </a:lnTo>
                  <a:lnTo>
                    <a:pt x="185490" y="618797"/>
                  </a:lnTo>
                  <a:lnTo>
                    <a:pt x="126850" y="634149"/>
                  </a:lnTo>
                  <a:lnTo>
                    <a:pt x="97638" y="674990"/>
                  </a:lnTo>
                  <a:lnTo>
                    <a:pt x="45998" y="683668"/>
                  </a:lnTo>
                  <a:lnTo>
                    <a:pt x="5571" y="736965"/>
                  </a:lnTo>
                  <a:lnTo>
                    <a:pt x="2000" y="1043167"/>
                  </a:lnTo>
                  <a:lnTo>
                    <a:pt x="0" y="1048796"/>
                  </a:lnTo>
                  <a:lnTo>
                    <a:pt x="1446" y="1722524"/>
                  </a:lnTo>
                  <a:lnTo>
                    <a:pt x="2411" y="2170647"/>
                  </a:lnTo>
                  <a:lnTo>
                    <a:pt x="114905" y="2087169"/>
                  </a:lnTo>
                  <a:lnTo>
                    <a:pt x="209542" y="2044587"/>
                  </a:lnTo>
                  <a:lnTo>
                    <a:pt x="294699" y="2044587"/>
                  </a:lnTo>
                  <a:lnTo>
                    <a:pt x="266325" y="2082442"/>
                  </a:lnTo>
                  <a:lnTo>
                    <a:pt x="323090" y="2072978"/>
                  </a:lnTo>
                  <a:lnTo>
                    <a:pt x="365677" y="2030395"/>
                  </a:lnTo>
                  <a:lnTo>
                    <a:pt x="597522" y="2030395"/>
                  </a:lnTo>
                  <a:lnTo>
                    <a:pt x="687410" y="1935767"/>
                  </a:lnTo>
                  <a:lnTo>
                    <a:pt x="682678" y="1973617"/>
                  </a:lnTo>
                  <a:lnTo>
                    <a:pt x="966555" y="1954694"/>
                  </a:lnTo>
                  <a:lnTo>
                    <a:pt x="1234077" y="1813898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94037" tIns="2170648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>
                  <a:solidFill>
                    <a:srgbClr val="FFFFFF"/>
                  </a:solidFill>
                  <a:latin typeface="Arial" panose="020B0604020202020204" pitchFamily="34" charset="0"/>
                </a:rPr>
                <a:t>Orange Walk</a:t>
              </a:r>
            </a:p>
          </p:txBody>
        </p:sp>
        <p:grpSp>
          <p:nvGrpSpPr>
            <p:cNvPr id="265" name="shp_Region_Stann_Creek" descr="Admin1_Id=&quot;BLZ&quot;&#10;Admin1_Label=&quot;Belize&quot;&#10;Admin2_Id=&quot;BLZ.5_1&quot;&#10;Admin2_Label=&quot;Stann Creek&quot;&#10;" title="Stann Creek">
              <a:extLst>
                <a:ext uri="{FF2B5EF4-FFF2-40B4-BE49-F238E27FC236}">
                  <a16:creationId xmlns:a16="http://schemas.microsoft.com/office/drawing/2014/main" id="{50A20F8C-4EFD-869D-A7F1-AE93A3C9F1DB}"/>
                </a:ext>
              </a:extLst>
            </p:cNvPr>
            <p:cNvGrpSpPr/>
            <p:nvPr/>
          </p:nvGrpSpPr>
          <p:grpSpPr>
            <a:xfrm>
              <a:off x="1071300" y="3176616"/>
              <a:ext cx="2169260" cy="1518420"/>
              <a:chOff x="1071300" y="3176616"/>
              <a:chExt cx="2169260" cy="1518420"/>
            </a:xfrm>
            <a:solidFill>
              <a:srgbClr val="FFC000"/>
            </a:solidFill>
          </p:grpSpPr>
          <p:sp>
            <p:nvSpPr>
              <p:cNvPr id="282" name="shp_Region_Stann_Creek_$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61ACE117-BE72-0BC4-55CA-4597445FA38A}"/>
                  </a:ext>
                </a:extLst>
              </p:cNvPr>
              <p:cNvSpPr/>
              <p:nvPr/>
            </p:nvSpPr>
            <p:spPr>
              <a:xfrm>
                <a:off x="1071300" y="3176616"/>
                <a:ext cx="1283147" cy="1472904"/>
              </a:xfrm>
              <a:custGeom>
                <a:avLst/>
                <a:gdLst/>
                <a:ahLst/>
                <a:cxnLst/>
                <a:rect l="0" t="0" r="0" b="0"/>
                <a:pathLst>
                  <a:path w="1283147" h="1472904">
                    <a:moveTo>
                      <a:pt x="851454" y="1429343"/>
                    </a:moveTo>
                    <a:lnTo>
                      <a:pt x="854061" y="1418295"/>
                    </a:lnTo>
                    <a:lnTo>
                      <a:pt x="859258" y="1409840"/>
                    </a:lnTo>
                    <a:lnTo>
                      <a:pt x="867721" y="1406590"/>
                    </a:lnTo>
                    <a:lnTo>
                      <a:pt x="867061" y="1401389"/>
                    </a:lnTo>
                    <a:lnTo>
                      <a:pt x="893059" y="1398791"/>
                    </a:lnTo>
                    <a:lnTo>
                      <a:pt x="903469" y="1395537"/>
                    </a:lnTo>
                    <a:lnTo>
                      <a:pt x="917129" y="1403340"/>
                    </a:lnTo>
                    <a:lnTo>
                      <a:pt x="921665" y="1393586"/>
                    </a:lnTo>
                    <a:lnTo>
                      <a:pt x="913880" y="1389689"/>
                    </a:lnTo>
                    <a:lnTo>
                      <a:pt x="908666" y="1376029"/>
                    </a:lnTo>
                    <a:lnTo>
                      <a:pt x="900862" y="1377984"/>
                    </a:lnTo>
                    <a:lnTo>
                      <a:pt x="889809" y="1376029"/>
                    </a:lnTo>
                    <a:lnTo>
                      <a:pt x="889809" y="1368235"/>
                    </a:lnTo>
                    <a:lnTo>
                      <a:pt x="897613" y="1355883"/>
                    </a:lnTo>
                    <a:lnTo>
                      <a:pt x="911915" y="1348080"/>
                    </a:lnTo>
                    <a:lnTo>
                      <a:pt x="922968" y="1348731"/>
                    </a:lnTo>
                    <a:lnTo>
                      <a:pt x="927522" y="1335076"/>
                    </a:lnTo>
                    <a:lnTo>
                      <a:pt x="929468" y="1321425"/>
                    </a:lnTo>
                    <a:lnTo>
                      <a:pt x="927522" y="1309073"/>
                    </a:lnTo>
                    <a:lnTo>
                      <a:pt x="932718" y="1296721"/>
                    </a:lnTo>
                    <a:lnTo>
                      <a:pt x="925575" y="1289570"/>
                    </a:lnTo>
                    <a:lnTo>
                      <a:pt x="922326" y="1279168"/>
                    </a:lnTo>
                    <a:lnTo>
                      <a:pt x="922326" y="1260312"/>
                    </a:lnTo>
                    <a:lnTo>
                      <a:pt x="929468" y="1251210"/>
                    </a:lnTo>
                    <a:lnTo>
                      <a:pt x="921665" y="1231702"/>
                    </a:lnTo>
                    <a:lnTo>
                      <a:pt x="923629" y="1226510"/>
                    </a:lnTo>
                    <a:lnTo>
                      <a:pt x="935325" y="1210904"/>
                    </a:lnTo>
                    <a:lnTo>
                      <a:pt x="941182" y="1210904"/>
                    </a:lnTo>
                    <a:lnTo>
                      <a:pt x="945735" y="1203101"/>
                    </a:lnTo>
                    <a:lnTo>
                      <a:pt x="956127" y="1195302"/>
                    </a:lnTo>
                    <a:lnTo>
                      <a:pt x="960681" y="1185548"/>
                    </a:lnTo>
                    <a:lnTo>
                      <a:pt x="978233" y="1184896"/>
                    </a:lnTo>
                    <a:lnTo>
                      <a:pt x="985394" y="1175799"/>
                    </a:lnTo>
                    <a:lnTo>
                      <a:pt x="986679" y="1166045"/>
                    </a:lnTo>
                    <a:lnTo>
                      <a:pt x="984090" y="1150443"/>
                    </a:lnTo>
                    <a:lnTo>
                      <a:pt x="987983" y="1149144"/>
                    </a:lnTo>
                    <a:lnTo>
                      <a:pt x="1006839" y="1127038"/>
                    </a:lnTo>
                    <a:lnTo>
                      <a:pt x="1022445" y="1123788"/>
                    </a:lnTo>
                    <a:lnTo>
                      <a:pt x="1027641" y="1118587"/>
                    </a:lnTo>
                    <a:lnTo>
                      <a:pt x="1027641" y="1109485"/>
                    </a:lnTo>
                    <a:lnTo>
                      <a:pt x="1033498" y="1100379"/>
                    </a:lnTo>
                    <a:lnTo>
                      <a:pt x="1047801" y="1101030"/>
                    </a:lnTo>
                    <a:lnTo>
                      <a:pt x="1060800" y="1115985"/>
                    </a:lnTo>
                    <a:lnTo>
                      <a:pt x="1057550" y="1140689"/>
                    </a:lnTo>
                    <a:lnTo>
                      <a:pt x="1049104" y="1151742"/>
                    </a:lnTo>
                    <a:lnTo>
                      <a:pt x="1038694" y="1158893"/>
                    </a:lnTo>
                    <a:lnTo>
                      <a:pt x="1035444" y="1164094"/>
                    </a:lnTo>
                    <a:lnTo>
                      <a:pt x="1023749" y="1166045"/>
                    </a:lnTo>
                    <a:lnTo>
                      <a:pt x="1014642" y="1160192"/>
                    </a:lnTo>
                    <a:lnTo>
                      <a:pt x="1005535" y="1162799"/>
                    </a:lnTo>
                    <a:lnTo>
                      <a:pt x="1010089" y="1171897"/>
                    </a:lnTo>
                    <a:lnTo>
                      <a:pt x="997089" y="1179696"/>
                    </a:lnTo>
                    <a:lnTo>
                      <a:pt x="995786" y="1185548"/>
                    </a:lnTo>
                    <a:lnTo>
                      <a:pt x="987340" y="1190749"/>
                    </a:lnTo>
                    <a:lnTo>
                      <a:pt x="972376" y="1193351"/>
                    </a:lnTo>
                    <a:lnTo>
                      <a:pt x="963288" y="1205703"/>
                    </a:lnTo>
                    <a:lnTo>
                      <a:pt x="958074" y="1217403"/>
                    </a:lnTo>
                    <a:lnTo>
                      <a:pt x="957431" y="1226510"/>
                    </a:lnTo>
                    <a:lnTo>
                      <a:pt x="960681" y="1237559"/>
                    </a:lnTo>
                    <a:lnTo>
                      <a:pt x="959377" y="1259665"/>
                    </a:lnTo>
                    <a:lnTo>
                      <a:pt x="951574" y="1269419"/>
                    </a:lnTo>
                    <a:lnTo>
                      <a:pt x="945074" y="1260312"/>
                    </a:lnTo>
                    <a:lnTo>
                      <a:pt x="934682" y="1272664"/>
                    </a:lnTo>
                    <a:lnTo>
                      <a:pt x="936628" y="1301921"/>
                    </a:lnTo>
                    <a:lnTo>
                      <a:pt x="932718" y="1311671"/>
                    </a:lnTo>
                    <a:lnTo>
                      <a:pt x="933379" y="1324670"/>
                    </a:lnTo>
                    <a:lnTo>
                      <a:pt x="927522" y="1351329"/>
                    </a:lnTo>
                    <a:lnTo>
                      <a:pt x="932075" y="1353280"/>
                    </a:lnTo>
                    <a:lnTo>
                      <a:pt x="936628" y="1370186"/>
                    </a:lnTo>
                    <a:lnTo>
                      <a:pt x="932075" y="1401389"/>
                    </a:lnTo>
                    <a:lnTo>
                      <a:pt x="932718" y="1419598"/>
                    </a:lnTo>
                    <a:lnTo>
                      <a:pt x="930129" y="1430647"/>
                    </a:lnTo>
                    <a:lnTo>
                      <a:pt x="918415" y="1449498"/>
                    </a:lnTo>
                    <a:lnTo>
                      <a:pt x="902827" y="1461855"/>
                    </a:lnTo>
                    <a:lnTo>
                      <a:pt x="908666" y="1469002"/>
                    </a:lnTo>
                    <a:lnTo>
                      <a:pt x="915826" y="1465100"/>
                    </a:lnTo>
                    <a:lnTo>
                      <a:pt x="928182" y="1472903"/>
                    </a:lnTo>
                    <a:lnTo>
                      <a:pt x="942485" y="1465752"/>
                    </a:lnTo>
                    <a:lnTo>
                      <a:pt x="934682" y="1454052"/>
                    </a:lnTo>
                    <a:lnTo>
                      <a:pt x="932718" y="1439749"/>
                    </a:lnTo>
                    <a:lnTo>
                      <a:pt x="947681" y="1433245"/>
                    </a:lnTo>
                    <a:lnTo>
                      <a:pt x="952877" y="1422196"/>
                    </a:lnTo>
                    <a:lnTo>
                      <a:pt x="953538" y="1410492"/>
                    </a:lnTo>
                    <a:lnTo>
                      <a:pt x="963288" y="1399438"/>
                    </a:lnTo>
                    <a:lnTo>
                      <a:pt x="948324" y="1366284"/>
                    </a:lnTo>
                    <a:lnTo>
                      <a:pt x="943771" y="1350682"/>
                    </a:lnTo>
                    <a:lnTo>
                      <a:pt x="940521" y="1330527"/>
                    </a:lnTo>
                    <a:lnTo>
                      <a:pt x="942485" y="1305171"/>
                    </a:lnTo>
                    <a:lnTo>
                      <a:pt x="948324" y="1294118"/>
                    </a:lnTo>
                    <a:lnTo>
                      <a:pt x="962627" y="1288275"/>
                    </a:lnTo>
                    <a:lnTo>
                      <a:pt x="960681" y="1268115"/>
                    </a:lnTo>
                    <a:lnTo>
                      <a:pt x="965877" y="1258357"/>
                    </a:lnTo>
                    <a:lnTo>
                      <a:pt x="969127" y="1236260"/>
                    </a:lnTo>
                    <a:lnTo>
                      <a:pt x="969127" y="1216105"/>
                    </a:lnTo>
                    <a:lnTo>
                      <a:pt x="973680" y="1204404"/>
                    </a:lnTo>
                    <a:lnTo>
                      <a:pt x="980180" y="1198552"/>
                    </a:lnTo>
                    <a:lnTo>
                      <a:pt x="999696" y="1190102"/>
                    </a:lnTo>
                    <a:lnTo>
                      <a:pt x="1013339" y="1179696"/>
                    </a:lnTo>
                    <a:lnTo>
                      <a:pt x="1032837" y="1169295"/>
                    </a:lnTo>
                    <a:lnTo>
                      <a:pt x="1056247" y="1151090"/>
                    </a:lnTo>
                    <a:lnTo>
                      <a:pt x="1065354" y="1133538"/>
                    </a:lnTo>
                    <a:lnTo>
                      <a:pt x="1066657" y="1119886"/>
                    </a:lnTo>
                    <a:lnTo>
                      <a:pt x="1070550" y="1113387"/>
                    </a:lnTo>
                    <a:lnTo>
                      <a:pt x="1071853" y="1099731"/>
                    </a:lnTo>
                    <a:lnTo>
                      <a:pt x="1066657" y="1082830"/>
                    </a:lnTo>
                    <a:lnTo>
                      <a:pt x="1069907" y="1073077"/>
                    </a:lnTo>
                    <a:lnTo>
                      <a:pt x="1069907" y="1056823"/>
                    </a:lnTo>
                    <a:lnTo>
                      <a:pt x="1064693" y="1038614"/>
                    </a:lnTo>
                    <a:lnTo>
                      <a:pt x="1073157" y="1024316"/>
                    </a:lnTo>
                    <a:lnTo>
                      <a:pt x="1073800" y="1012620"/>
                    </a:lnTo>
                    <a:lnTo>
                      <a:pt x="1085513" y="1001558"/>
                    </a:lnTo>
                    <a:lnTo>
                      <a:pt x="1088763" y="993112"/>
                    </a:lnTo>
                    <a:lnTo>
                      <a:pt x="1091352" y="976858"/>
                    </a:lnTo>
                    <a:lnTo>
                      <a:pt x="1074460" y="948905"/>
                    </a:lnTo>
                    <a:lnTo>
                      <a:pt x="1068603" y="929401"/>
                    </a:lnTo>
                    <a:lnTo>
                      <a:pt x="1064693" y="921602"/>
                    </a:lnTo>
                    <a:lnTo>
                      <a:pt x="1062104" y="907942"/>
                    </a:lnTo>
                    <a:lnTo>
                      <a:pt x="1063407" y="880640"/>
                    </a:lnTo>
                    <a:lnTo>
                      <a:pt x="1060157" y="881287"/>
                    </a:lnTo>
                    <a:lnTo>
                      <a:pt x="1056247" y="899492"/>
                    </a:lnTo>
                    <a:lnTo>
                      <a:pt x="1047140" y="896242"/>
                    </a:lnTo>
                    <a:lnTo>
                      <a:pt x="1048444" y="882591"/>
                    </a:lnTo>
                    <a:lnTo>
                      <a:pt x="1044551" y="879346"/>
                    </a:lnTo>
                    <a:lnTo>
                      <a:pt x="1046497" y="859186"/>
                    </a:lnTo>
                    <a:lnTo>
                      <a:pt x="1059497" y="847490"/>
                    </a:lnTo>
                    <a:lnTo>
                      <a:pt x="1067943" y="842285"/>
                    </a:lnTo>
                    <a:lnTo>
                      <a:pt x="1082246" y="838379"/>
                    </a:lnTo>
                    <a:lnTo>
                      <a:pt x="1090710" y="845535"/>
                    </a:lnTo>
                    <a:lnTo>
                      <a:pt x="1089406" y="865686"/>
                    </a:lnTo>
                    <a:lnTo>
                      <a:pt x="1097209" y="862436"/>
                    </a:lnTo>
                    <a:lnTo>
                      <a:pt x="1103066" y="842285"/>
                    </a:lnTo>
                    <a:lnTo>
                      <a:pt x="1106316" y="839031"/>
                    </a:lnTo>
                    <a:lnTo>
                      <a:pt x="1104352" y="826032"/>
                    </a:lnTo>
                    <a:lnTo>
                      <a:pt x="1105655" y="818880"/>
                    </a:lnTo>
                    <a:lnTo>
                      <a:pt x="1116708" y="815626"/>
                    </a:lnTo>
                    <a:lnTo>
                      <a:pt x="1134921" y="814983"/>
                    </a:lnTo>
                    <a:lnTo>
                      <a:pt x="1141421" y="809778"/>
                    </a:lnTo>
                    <a:lnTo>
                      <a:pt x="1142707" y="797426"/>
                    </a:lnTo>
                    <a:lnTo>
                      <a:pt x="1149224" y="785070"/>
                    </a:lnTo>
                    <a:lnTo>
                      <a:pt x="1155063" y="781172"/>
                    </a:lnTo>
                    <a:lnTo>
                      <a:pt x="1168723" y="779869"/>
                    </a:lnTo>
                    <a:lnTo>
                      <a:pt x="1176526" y="783771"/>
                    </a:lnTo>
                    <a:lnTo>
                      <a:pt x="1201882" y="787677"/>
                    </a:lnTo>
                    <a:lnTo>
                      <a:pt x="1207078" y="781820"/>
                    </a:lnTo>
                    <a:lnTo>
                      <a:pt x="1196025" y="770119"/>
                    </a:lnTo>
                    <a:lnTo>
                      <a:pt x="1194722" y="765571"/>
                    </a:lnTo>
                    <a:lnTo>
                      <a:pt x="1181722" y="758419"/>
                    </a:lnTo>
                    <a:lnTo>
                      <a:pt x="1171312" y="739567"/>
                    </a:lnTo>
                    <a:lnTo>
                      <a:pt x="1170669" y="726564"/>
                    </a:lnTo>
                    <a:lnTo>
                      <a:pt x="1175866" y="716810"/>
                    </a:lnTo>
                    <a:lnTo>
                      <a:pt x="1162866" y="705757"/>
                    </a:lnTo>
                    <a:lnTo>
                      <a:pt x="1154420" y="695355"/>
                    </a:lnTo>
                    <a:lnTo>
                      <a:pt x="1133618" y="656996"/>
                    </a:lnTo>
                    <a:lnTo>
                      <a:pt x="1123208" y="627748"/>
                    </a:lnTo>
                    <a:lnTo>
                      <a:pt x="1121904" y="614088"/>
                    </a:lnTo>
                    <a:lnTo>
                      <a:pt x="1117369" y="600441"/>
                    </a:lnTo>
                    <a:lnTo>
                      <a:pt x="1117369" y="589379"/>
                    </a:lnTo>
                    <a:lnTo>
                      <a:pt x="1134921" y="571831"/>
                    </a:lnTo>
                    <a:lnTo>
                      <a:pt x="1138814" y="560126"/>
                    </a:lnTo>
                    <a:lnTo>
                      <a:pt x="1138171" y="530873"/>
                    </a:lnTo>
                    <a:lnTo>
                      <a:pt x="1140760" y="522423"/>
                    </a:lnTo>
                    <a:lnTo>
                      <a:pt x="1160277" y="511370"/>
                    </a:lnTo>
                    <a:lnTo>
                      <a:pt x="1171973" y="499674"/>
                    </a:lnTo>
                    <a:lnTo>
                      <a:pt x="1181080" y="494469"/>
                    </a:lnTo>
                    <a:lnTo>
                      <a:pt x="1209025" y="486014"/>
                    </a:lnTo>
                    <a:lnTo>
                      <a:pt x="1234380" y="482113"/>
                    </a:lnTo>
                    <a:lnTo>
                      <a:pt x="1242183" y="483416"/>
                    </a:lnTo>
                    <a:lnTo>
                      <a:pt x="1250629" y="476908"/>
                    </a:lnTo>
                    <a:lnTo>
                      <a:pt x="1255183" y="477568"/>
                    </a:lnTo>
                    <a:lnTo>
                      <a:pt x="1266236" y="467810"/>
                    </a:lnTo>
                    <a:lnTo>
                      <a:pt x="1275342" y="442458"/>
                    </a:lnTo>
                    <a:lnTo>
                      <a:pt x="1281199" y="430754"/>
                    </a:lnTo>
                    <a:lnTo>
                      <a:pt x="1283146" y="403452"/>
                    </a:lnTo>
                    <a:lnTo>
                      <a:pt x="1268843" y="380046"/>
                    </a:lnTo>
                    <a:lnTo>
                      <a:pt x="1266236" y="369641"/>
                    </a:lnTo>
                    <a:lnTo>
                      <a:pt x="1254540" y="354039"/>
                    </a:lnTo>
                    <a:lnTo>
                      <a:pt x="1249987" y="335835"/>
                    </a:lnTo>
                    <a:lnTo>
                      <a:pt x="1242826" y="317635"/>
                    </a:lnTo>
                    <a:lnTo>
                      <a:pt x="1242183" y="302028"/>
                    </a:lnTo>
                    <a:lnTo>
                      <a:pt x="1238934" y="294230"/>
                    </a:lnTo>
                    <a:lnTo>
                      <a:pt x="1242183" y="272775"/>
                    </a:lnTo>
                    <a:lnTo>
                      <a:pt x="1232434" y="260423"/>
                    </a:lnTo>
                    <a:lnTo>
                      <a:pt x="1227881" y="251321"/>
                    </a:lnTo>
                    <a:lnTo>
                      <a:pt x="1224631" y="224015"/>
                    </a:lnTo>
                    <a:lnTo>
                      <a:pt x="1225274" y="207761"/>
                    </a:lnTo>
                    <a:lnTo>
                      <a:pt x="1220738" y="196713"/>
                    </a:lnTo>
                    <a:lnTo>
                      <a:pt x="1222685" y="183709"/>
                    </a:lnTo>
                    <a:lnTo>
                      <a:pt x="1219435" y="175254"/>
                    </a:lnTo>
                    <a:lnTo>
                      <a:pt x="1209685" y="166156"/>
                    </a:lnTo>
                    <a:lnTo>
                      <a:pt x="1194079" y="164205"/>
                    </a:lnTo>
                    <a:lnTo>
                      <a:pt x="1187579" y="170053"/>
                    </a:lnTo>
                    <a:lnTo>
                      <a:pt x="1177830" y="172656"/>
                    </a:lnTo>
                    <a:lnTo>
                      <a:pt x="1157670" y="170053"/>
                    </a:lnTo>
                    <a:lnTo>
                      <a:pt x="1144671" y="163554"/>
                    </a:lnTo>
                    <a:lnTo>
                      <a:pt x="1133618" y="149903"/>
                    </a:lnTo>
                    <a:lnTo>
                      <a:pt x="1128422" y="134952"/>
                    </a:lnTo>
                    <a:lnTo>
                      <a:pt x="1123868" y="128449"/>
                    </a:lnTo>
                    <a:lnTo>
                      <a:pt x="1121904" y="116092"/>
                    </a:lnTo>
                    <a:lnTo>
                      <a:pt x="1117369" y="103097"/>
                    </a:lnTo>
                    <a:lnTo>
                      <a:pt x="1118654" y="86839"/>
                    </a:lnTo>
                    <a:lnTo>
                      <a:pt x="1116708" y="77085"/>
                    </a:lnTo>
                    <a:lnTo>
                      <a:pt x="1090710" y="50430"/>
                    </a:lnTo>
                    <a:lnTo>
                      <a:pt x="1090049" y="39382"/>
                    </a:lnTo>
                    <a:lnTo>
                      <a:pt x="1086156" y="28333"/>
                    </a:lnTo>
                    <a:lnTo>
                      <a:pt x="1082246" y="0"/>
                    </a:lnTo>
                    <a:lnTo>
                      <a:pt x="1001411" y="54966"/>
                    </a:lnTo>
                    <a:lnTo>
                      <a:pt x="713980" y="50801"/>
                    </a:lnTo>
                    <a:lnTo>
                      <a:pt x="715176" y="50234"/>
                    </a:lnTo>
                    <a:lnTo>
                      <a:pt x="471493" y="50234"/>
                    </a:lnTo>
                    <a:lnTo>
                      <a:pt x="464618" y="50832"/>
                    </a:lnTo>
                    <a:lnTo>
                      <a:pt x="453297" y="64291"/>
                    </a:lnTo>
                    <a:lnTo>
                      <a:pt x="486527" y="178798"/>
                    </a:lnTo>
                    <a:lnTo>
                      <a:pt x="489813" y="177147"/>
                    </a:lnTo>
                    <a:lnTo>
                      <a:pt x="499884" y="201641"/>
                    </a:lnTo>
                    <a:lnTo>
                      <a:pt x="419442" y="296265"/>
                    </a:lnTo>
                    <a:lnTo>
                      <a:pt x="353213" y="400358"/>
                    </a:lnTo>
                    <a:lnTo>
                      <a:pt x="318697" y="428294"/>
                    </a:lnTo>
                    <a:lnTo>
                      <a:pt x="311769" y="448632"/>
                    </a:lnTo>
                    <a:lnTo>
                      <a:pt x="252951" y="468238"/>
                    </a:lnTo>
                    <a:lnTo>
                      <a:pt x="274146" y="651188"/>
                    </a:lnTo>
                    <a:lnTo>
                      <a:pt x="214846" y="681620"/>
                    </a:lnTo>
                    <a:lnTo>
                      <a:pt x="241523" y="738773"/>
                    </a:lnTo>
                    <a:lnTo>
                      <a:pt x="169116" y="738773"/>
                    </a:lnTo>
                    <a:lnTo>
                      <a:pt x="131011" y="765446"/>
                    </a:lnTo>
                    <a:lnTo>
                      <a:pt x="73853" y="841656"/>
                    </a:lnTo>
                    <a:lnTo>
                      <a:pt x="16713" y="982639"/>
                    </a:lnTo>
                    <a:lnTo>
                      <a:pt x="0" y="1021633"/>
                    </a:lnTo>
                    <a:lnTo>
                      <a:pt x="278592" y="1027753"/>
                    </a:lnTo>
                    <a:lnTo>
                      <a:pt x="325340" y="1028365"/>
                    </a:lnTo>
                    <a:lnTo>
                      <a:pt x="462511" y="1116003"/>
                    </a:lnTo>
                    <a:lnTo>
                      <a:pt x="416799" y="1173156"/>
                    </a:lnTo>
                    <a:lnTo>
                      <a:pt x="432459" y="1187740"/>
                    </a:lnTo>
                    <a:lnTo>
                      <a:pt x="465904" y="1207029"/>
                    </a:lnTo>
                    <a:lnTo>
                      <a:pt x="527293" y="1268414"/>
                    </a:lnTo>
                    <a:lnTo>
                      <a:pt x="534918" y="1420830"/>
                    </a:lnTo>
                    <a:lnTo>
                      <a:pt x="832652" y="1418504"/>
                    </a:lnTo>
                    <a:lnTo>
                      <a:pt x="851454" y="1429343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83147" tIns="14729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3" name="shp_Region_Stann_Creek_$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4135A154-F588-0118-9829-8A8A46B7F7FE}"/>
                  </a:ext>
                </a:extLst>
              </p:cNvPr>
              <p:cNvSpPr/>
              <p:nvPr/>
            </p:nvSpPr>
            <p:spPr>
              <a:xfrm>
                <a:off x="2747764" y="3277758"/>
                <a:ext cx="49409" cy="47458"/>
              </a:xfrm>
              <a:custGeom>
                <a:avLst/>
                <a:gdLst/>
                <a:ahLst/>
                <a:cxnLst/>
                <a:rect l="0" t="0" r="0" b="0"/>
                <a:pathLst>
                  <a:path w="49409" h="47458">
                    <a:moveTo>
                      <a:pt x="29909" y="0"/>
                    </a:moveTo>
                    <a:lnTo>
                      <a:pt x="14303" y="4553"/>
                    </a:lnTo>
                    <a:lnTo>
                      <a:pt x="9749" y="10401"/>
                    </a:lnTo>
                    <a:lnTo>
                      <a:pt x="7160" y="27949"/>
                    </a:lnTo>
                    <a:lnTo>
                      <a:pt x="2607" y="29904"/>
                    </a:lnTo>
                    <a:lnTo>
                      <a:pt x="0" y="40957"/>
                    </a:lnTo>
                    <a:lnTo>
                      <a:pt x="1946" y="47457"/>
                    </a:lnTo>
                    <a:lnTo>
                      <a:pt x="16249" y="40306"/>
                    </a:lnTo>
                    <a:lnTo>
                      <a:pt x="43569" y="41609"/>
                    </a:lnTo>
                    <a:lnTo>
                      <a:pt x="48765" y="34458"/>
                    </a:lnTo>
                    <a:lnTo>
                      <a:pt x="49408" y="23409"/>
                    </a:lnTo>
                    <a:lnTo>
                      <a:pt x="44212" y="20802"/>
                    </a:lnTo>
                    <a:lnTo>
                      <a:pt x="44212" y="10401"/>
                    </a:lnTo>
                    <a:lnTo>
                      <a:pt x="2990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9409" tIns="474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4" name="shp_Region_Stann_Creek_$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8AC520D1-167F-6030-9C73-1193177809DD}"/>
                  </a:ext>
                </a:extLst>
              </p:cNvPr>
              <p:cNvSpPr/>
              <p:nvPr/>
            </p:nvSpPr>
            <p:spPr>
              <a:xfrm>
                <a:off x="2797833" y="3477997"/>
                <a:ext cx="12339" cy="18853"/>
              </a:xfrm>
              <a:custGeom>
                <a:avLst/>
                <a:gdLst/>
                <a:ahLst/>
                <a:cxnLst/>
                <a:rect l="0" t="0" r="0" b="0"/>
                <a:pathLst>
                  <a:path w="12339" h="18853">
                    <a:moveTo>
                      <a:pt x="11053" y="0"/>
                    </a:moveTo>
                    <a:lnTo>
                      <a:pt x="0" y="1299"/>
                    </a:lnTo>
                    <a:lnTo>
                      <a:pt x="0" y="17553"/>
                    </a:lnTo>
                    <a:lnTo>
                      <a:pt x="12338" y="188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39" tIns="188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5" name="shp_Region_Stann_Creek_$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B3420298-219C-ACEE-A455-9567833ADC16}"/>
                  </a:ext>
                </a:extLst>
              </p:cNvPr>
              <p:cNvSpPr/>
              <p:nvPr/>
            </p:nvSpPr>
            <p:spPr>
              <a:xfrm>
                <a:off x="2732157" y="3544306"/>
                <a:ext cx="25357" cy="12357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2357">
                    <a:moveTo>
                      <a:pt x="14964" y="0"/>
                    </a:moveTo>
                    <a:lnTo>
                      <a:pt x="1304" y="3254"/>
                    </a:lnTo>
                    <a:lnTo>
                      <a:pt x="0" y="7799"/>
                    </a:lnTo>
                    <a:lnTo>
                      <a:pt x="9768" y="12356"/>
                    </a:lnTo>
                    <a:lnTo>
                      <a:pt x="23410" y="8459"/>
                    </a:lnTo>
                    <a:lnTo>
                      <a:pt x="25356" y="3254"/>
                    </a:lnTo>
                    <a:lnTo>
                      <a:pt x="1496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23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6" name="shp_Region_Stann_Creek_$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E80653DB-20F9-EB6C-127F-1D543B50217F}"/>
                  </a:ext>
                </a:extLst>
              </p:cNvPr>
              <p:cNvSpPr/>
              <p:nvPr/>
            </p:nvSpPr>
            <p:spPr>
              <a:xfrm>
                <a:off x="2647644" y="3572916"/>
                <a:ext cx="14304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4304" h="11706">
                    <a:moveTo>
                      <a:pt x="7803" y="0"/>
                    </a:moveTo>
                    <a:lnTo>
                      <a:pt x="0" y="5843"/>
                    </a:lnTo>
                    <a:lnTo>
                      <a:pt x="4553" y="11705"/>
                    </a:lnTo>
                    <a:lnTo>
                      <a:pt x="14303" y="7152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304" tIns="117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7" name="shp_Region_Stann_Creek_$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C668FB48-167E-8D73-DB07-FAFF54BCA9DD}"/>
                  </a:ext>
                </a:extLst>
              </p:cNvPr>
              <p:cNvSpPr/>
              <p:nvPr/>
            </p:nvSpPr>
            <p:spPr>
              <a:xfrm>
                <a:off x="2651555" y="3719194"/>
                <a:ext cx="32499" cy="79965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79965">
                    <a:moveTo>
                      <a:pt x="32498" y="0"/>
                    </a:moveTo>
                    <a:lnTo>
                      <a:pt x="25998" y="647"/>
                    </a:lnTo>
                    <a:lnTo>
                      <a:pt x="15588" y="12348"/>
                    </a:lnTo>
                    <a:lnTo>
                      <a:pt x="7142" y="17548"/>
                    </a:lnTo>
                    <a:lnTo>
                      <a:pt x="3892" y="24052"/>
                    </a:lnTo>
                    <a:lnTo>
                      <a:pt x="4553" y="33154"/>
                    </a:lnTo>
                    <a:lnTo>
                      <a:pt x="13642" y="31855"/>
                    </a:lnTo>
                    <a:lnTo>
                      <a:pt x="14302" y="40306"/>
                    </a:lnTo>
                    <a:lnTo>
                      <a:pt x="7803" y="52002"/>
                    </a:lnTo>
                    <a:lnTo>
                      <a:pt x="12999" y="56560"/>
                    </a:lnTo>
                    <a:lnTo>
                      <a:pt x="7142" y="70862"/>
                    </a:lnTo>
                    <a:lnTo>
                      <a:pt x="0" y="74112"/>
                    </a:lnTo>
                    <a:lnTo>
                      <a:pt x="2589" y="79964"/>
                    </a:lnTo>
                    <a:lnTo>
                      <a:pt x="13642" y="66961"/>
                    </a:lnTo>
                    <a:lnTo>
                      <a:pt x="15588" y="59809"/>
                    </a:lnTo>
                    <a:lnTo>
                      <a:pt x="14945" y="42257"/>
                    </a:lnTo>
                    <a:lnTo>
                      <a:pt x="16249" y="31208"/>
                    </a:lnTo>
                    <a:lnTo>
                      <a:pt x="25998" y="18852"/>
                    </a:lnTo>
                    <a:lnTo>
                      <a:pt x="27945" y="7147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99" tIns="7996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8" name="shp_Region_Stann_Creek_$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6D42CAD9-23CD-86AF-BEF2-F11881C8CA51}"/>
                  </a:ext>
                </a:extLst>
              </p:cNvPr>
              <p:cNvSpPr/>
              <p:nvPr/>
            </p:nvSpPr>
            <p:spPr>
              <a:xfrm>
                <a:off x="2611896" y="3889524"/>
                <a:ext cx="23393" cy="26660"/>
              </a:xfrm>
              <a:custGeom>
                <a:avLst/>
                <a:gdLst/>
                <a:ahLst/>
                <a:cxnLst/>
                <a:rect l="0" t="0" r="0" b="0"/>
                <a:pathLst>
                  <a:path w="23393" h="26660">
                    <a:moveTo>
                      <a:pt x="8446" y="0"/>
                    </a:moveTo>
                    <a:lnTo>
                      <a:pt x="3250" y="1299"/>
                    </a:lnTo>
                    <a:lnTo>
                      <a:pt x="0" y="9754"/>
                    </a:lnTo>
                    <a:lnTo>
                      <a:pt x="1304" y="16905"/>
                    </a:lnTo>
                    <a:lnTo>
                      <a:pt x="7803" y="26659"/>
                    </a:lnTo>
                    <a:lnTo>
                      <a:pt x="23392" y="19504"/>
                    </a:lnTo>
                    <a:lnTo>
                      <a:pt x="20142" y="5201"/>
                    </a:lnTo>
                    <a:lnTo>
                      <a:pt x="84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93" tIns="266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89" name="shp_Region_Stann_Creek_$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268C9FC1-C548-422D-8FD0-F0C03C9AAAAF}"/>
                  </a:ext>
                </a:extLst>
              </p:cNvPr>
              <p:cNvSpPr/>
              <p:nvPr/>
            </p:nvSpPr>
            <p:spPr>
              <a:xfrm>
                <a:off x="2502670" y="3944785"/>
                <a:ext cx="25357" cy="1690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6902">
                    <a:moveTo>
                      <a:pt x="7803" y="0"/>
                    </a:moveTo>
                    <a:lnTo>
                      <a:pt x="3893" y="651"/>
                    </a:lnTo>
                    <a:lnTo>
                      <a:pt x="0" y="14302"/>
                    </a:lnTo>
                    <a:lnTo>
                      <a:pt x="5857" y="16901"/>
                    </a:lnTo>
                    <a:lnTo>
                      <a:pt x="12999" y="11700"/>
                    </a:lnTo>
                    <a:lnTo>
                      <a:pt x="25356" y="7803"/>
                    </a:lnTo>
                    <a:lnTo>
                      <a:pt x="23409" y="1950"/>
                    </a:lnTo>
                    <a:lnTo>
                      <a:pt x="11696" y="5200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69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0" name="shp_Region_Stann_Creek_$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54D6F0B9-30B8-7E33-9F60-F35FB244DC25}"/>
                  </a:ext>
                </a:extLst>
              </p:cNvPr>
              <p:cNvSpPr/>
              <p:nvPr/>
            </p:nvSpPr>
            <p:spPr>
              <a:xfrm>
                <a:off x="3208703" y="4154778"/>
                <a:ext cx="31857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31857" h="27303">
                    <a:moveTo>
                      <a:pt x="30552" y="0"/>
                    </a:moveTo>
                    <a:lnTo>
                      <a:pt x="19499" y="11048"/>
                    </a:lnTo>
                    <a:lnTo>
                      <a:pt x="9750" y="10397"/>
                    </a:lnTo>
                    <a:lnTo>
                      <a:pt x="0" y="19499"/>
                    </a:lnTo>
                    <a:lnTo>
                      <a:pt x="2607" y="27302"/>
                    </a:lnTo>
                    <a:lnTo>
                      <a:pt x="10411" y="25351"/>
                    </a:lnTo>
                    <a:lnTo>
                      <a:pt x="31856" y="3250"/>
                    </a:lnTo>
                    <a:lnTo>
                      <a:pt x="3055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1857" tIns="27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1" name="shp_Region_Stann_Creek_$1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3FF31F1C-E376-C6B6-50D6-7F3FB02F436B}"/>
                  </a:ext>
                </a:extLst>
              </p:cNvPr>
              <p:cNvSpPr/>
              <p:nvPr/>
            </p:nvSpPr>
            <p:spPr>
              <a:xfrm>
                <a:off x="2458458" y="4176228"/>
                <a:ext cx="9750" cy="14303"/>
              </a:xfrm>
              <a:custGeom>
                <a:avLst/>
                <a:gdLst/>
                <a:ahLst/>
                <a:cxnLst/>
                <a:rect l="0" t="0" r="0" b="0"/>
                <a:pathLst>
                  <a:path w="9750" h="14303">
                    <a:moveTo>
                      <a:pt x="1946" y="0"/>
                    </a:moveTo>
                    <a:lnTo>
                      <a:pt x="0" y="7146"/>
                    </a:lnTo>
                    <a:lnTo>
                      <a:pt x="3250" y="14302"/>
                    </a:lnTo>
                    <a:lnTo>
                      <a:pt x="9749" y="8455"/>
                    </a:lnTo>
                    <a:lnTo>
                      <a:pt x="1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50" tIns="14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2" name="shp_Region_Stann_Creek_$1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27220FB0-D4E8-6D4B-E722-9245D8D0BAE0}"/>
                  </a:ext>
                </a:extLst>
              </p:cNvPr>
              <p:cNvSpPr/>
              <p:nvPr/>
            </p:nvSpPr>
            <p:spPr>
              <a:xfrm>
                <a:off x="2461065" y="4221082"/>
                <a:ext cx="7804" cy="28612"/>
              </a:xfrm>
              <a:custGeom>
                <a:avLst/>
                <a:gdLst/>
                <a:ahLst/>
                <a:cxnLst/>
                <a:rect l="0" t="0" r="0" b="0"/>
                <a:pathLst>
                  <a:path w="7804" h="28612">
                    <a:moveTo>
                      <a:pt x="4553" y="0"/>
                    </a:moveTo>
                    <a:lnTo>
                      <a:pt x="0" y="1304"/>
                    </a:lnTo>
                    <a:lnTo>
                      <a:pt x="0" y="28611"/>
                    </a:lnTo>
                    <a:lnTo>
                      <a:pt x="7803" y="10406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804" tIns="2861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3" name="shp_Region_Stann_Creek_$1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D6D00DA6-BB87-11F9-DA7E-3F8847B2E31B}"/>
                  </a:ext>
                </a:extLst>
              </p:cNvPr>
              <p:cNvSpPr/>
              <p:nvPr/>
            </p:nvSpPr>
            <p:spPr>
              <a:xfrm>
                <a:off x="2416853" y="4230189"/>
                <a:ext cx="11697" cy="13005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3005">
                    <a:moveTo>
                      <a:pt x="5857" y="0"/>
                    </a:moveTo>
                    <a:lnTo>
                      <a:pt x="0" y="10401"/>
                    </a:lnTo>
                    <a:lnTo>
                      <a:pt x="11053" y="13004"/>
                    </a:lnTo>
                    <a:lnTo>
                      <a:pt x="11696" y="3902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30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4" name="shp_Region_Stann_Creek_$1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8C7CCAFC-0172-3E6D-C04E-80F2DA7D7315}"/>
                  </a:ext>
                </a:extLst>
              </p:cNvPr>
              <p:cNvSpPr/>
              <p:nvPr/>
            </p:nvSpPr>
            <p:spPr>
              <a:xfrm>
                <a:off x="2412960" y="4265294"/>
                <a:ext cx="14947" cy="14300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4300">
                    <a:moveTo>
                      <a:pt x="5839" y="0"/>
                    </a:moveTo>
                    <a:lnTo>
                      <a:pt x="0" y="652"/>
                    </a:lnTo>
                    <a:lnTo>
                      <a:pt x="7803" y="14299"/>
                    </a:lnTo>
                    <a:lnTo>
                      <a:pt x="14946" y="12352"/>
                    </a:lnTo>
                    <a:lnTo>
                      <a:pt x="11696" y="652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7" tIns="143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5" name="shp_Region_Stann_Creek_$1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F5ACFF0E-4946-686B-1E9D-D3E9A9FBE6A0}"/>
                  </a:ext>
                </a:extLst>
              </p:cNvPr>
              <p:cNvSpPr/>
              <p:nvPr/>
            </p:nvSpPr>
            <p:spPr>
              <a:xfrm>
                <a:off x="2412960" y="4279593"/>
                <a:ext cx="8447" cy="10411"/>
              </a:xfrm>
              <a:custGeom>
                <a:avLst/>
                <a:gdLst/>
                <a:ahLst/>
                <a:cxnLst/>
                <a:rect l="0" t="0" r="0" b="0"/>
                <a:pathLst>
                  <a:path w="8447" h="10411">
                    <a:moveTo>
                      <a:pt x="5839" y="0"/>
                    </a:moveTo>
                    <a:lnTo>
                      <a:pt x="0" y="0"/>
                    </a:lnTo>
                    <a:lnTo>
                      <a:pt x="1286" y="10410"/>
                    </a:lnTo>
                    <a:lnTo>
                      <a:pt x="8446" y="5200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447" tIns="1041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6" name="shp_Region_Stann_Creek_$1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590A93E2-9365-3DA1-6088-B95BB52EDE8B}"/>
                  </a:ext>
                </a:extLst>
              </p:cNvPr>
              <p:cNvSpPr/>
              <p:nvPr/>
            </p:nvSpPr>
            <p:spPr>
              <a:xfrm>
                <a:off x="2429852" y="4293253"/>
                <a:ext cx="13661" cy="16250"/>
              </a:xfrm>
              <a:custGeom>
                <a:avLst/>
                <a:gdLst/>
                <a:ahLst/>
                <a:cxnLst/>
                <a:rect l="0" t="0" r="0" b="0"/>
                <a:pathLst>
                  <a:path w="13661" h="16250">
                    <a:moveTo>
                      <a:pt x="6500" y="0"/>
                    </a:moveTo>
                    <a:lnTo>
                      <a:pt x="0" y="3249"/>
                    </a:lnTo>
                    <a:lnTo>
                      <a:pt x="661" y="10401"/>
                    </a:lnTo>
                    <a:lnTo>
                      <a:pt x="6500" y="16249"/>
                    </a:lnTo>
                    <a:lnTo>
                      <a:pt x="13660" y="14950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661" tIns="162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7" name="shp_Region_Stann_Creek_$1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BF5F5D25-8E03-6A7D-783D-0FCBBACDFB62}"/>
                  </a:ext>
                </a:extLst>
              </p:cNvPr>
              <p:cNvSpPr/>
              <p:nvPr/>
            </p:nvSpPr>
            <p:spPr>
              <a:xfrm>
                <a:off x="2477975" y="4330956"/>
                <a:ext cx="11036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11036" h="18206">
                    <a:moveTo>
                      <a:pt x="5839" y="0"/>
                    </a:moveTo>
                    <a:lnTo>
                      <a:pt x="0" y="5852"/>
                    </a:lnTo>
                    <a:lnTo>
                      <a:pt x="643" y="18205"/>
                    </a:lnTo>
                    <a:lnTo>
                      <a:pt x="11035" y="9107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36" tIns="182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8" name="shp_Region_Stann_Creek_$1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2872077D-756A-ACA7-F94B-D5BEAEA23FC6}"/>
                  </a:ext>
                </a:extLst>
              </p:cNvPr>
              <p:cNvSpPr/>
              <p:nvPr/>
            </p:nvSpPr>
            <p:spPr>
              <a:xfrm>
                <a:off x="2370695" y="4358263"/>
                <a:ext cx="11054" cy="117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705">
                    <a:moveTo>
                      <a:pt x="5856" y="0"/>
                    </a:moveTo>
                    <a:lnTo>
                      <a:pt x="0" y="7147"/>
                    </a:lnTo>
                    <a:lnTo>
                      <a:pt x="7160" y="11704"/>
                    </a:lnTo>
                    <a:lnTo>
                      <a:pt x="11053" y="5852"/>
                    </a:lnTo>
                    <a:lnTo>
                      <a:pt x="58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17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99" name="shp_Region_Stann_Creek_$1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7CBC0145-A297-1FFA-0864-E4CC830D1E86}"/>
                  </a:ext>
                </a:extLst>
              </p:cNvPr>
              <p:cNvSpPr/>
              <p:nvPr/>
            </p:nvSpPr>
            <p:spPr>
              <a:xfrm>
                <a:off x="2065140" y="4432375"/>
                <a:ext cx="1560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5607" h="14955">
                    <a:moveTo>
                      <a:pt x="15606" y="0"/>
                    </a:moveTo>
                    <a:lnTo>
                      <a:pt x="5196" y="1955"/>
                    </a:lnTo>
                    <a:lnTo>
                      <a:pt x="0" y="6504"/>
                    </a:lnTo>
                    <a:lnTo>
                      <a:pt x="7803" y="14954"/>
                    </a:lnTo>
                    <a:lnTo>
                      <a:pt x="9749" y="4553"/>
                    </a:lnTo>
                    <a:lnTo>
                      <a:pt x="156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607" tIns="149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00" name="shp_Region_Stann_Creek_$1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1D1D3E20-F8F5-E66F-F066-B30B9A1D02EF}"/>
                  </a:ext>
                </a:extLst>
              </p:cNvPr>
              <p:cNvSpPr/>
              <p:nvPr/>
            </p:nvSpPr>
            <p:spPr>
              <a:xfrm>
                <a:off x="2351839" y="4438231"/>
                <a:ext cx="1496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4964" h="7805">
                    <a:moveTo>
                      <a:pt x="11053" y="0"/>
                    </a:moveTo>
                    <a:lnTo>
                      <a:pt x="0" y="1300"/>
                    </a:lnTo>
                    <a:lnTo>
                      <a:pt x="4553" y="7804"/>
                    </a:lnTo>
                    <a:lnTo>
                      <a:pt x="14963" y="7804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64" tIns="7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01" name="shp_Region_Stann_Creek_$2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BBF8BBC3-AD31-1A4D-29C7-39C207D8BF71}"/>
                  </a:ext>
                </a:extLst>
              </p:cNvPr>
              <p:cNvSpPr/>
              <p:nvPr/>
            </p:nvSpPr>
            <p:spPr>
              <a:xfrm>
                <a:off x="2189312" y="4624163"/>
                <a:ext cx="32499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18206">
                    <a:moveTo>
                      <a:pt x="14945" y="0"/>
                    </a:moveTo>
                    <a:lnTo>
                      <a:pt x="5856" y="5201"/>
                    </a:lnTo>
                    <a:lnTo>
                      <a:pt x="0" y="12352"/>
                    </a:lnTo>
                    <a:lnTo>
                      <a:pt x="19499" y="13656"/>
                    </a:lnTo>
                    <a:lnTo>
                      <a:pt x="28605" y="18205"/>
                    </a:lnTo>
                    <a:lnTo>
                      <a:pt x="32498" y="7152"/>
                    </a:lnTo>
                    <a:lnTo>
                      <a:pt x="22748" y="9755"/>
                    </a:lnTo>
                    <a:lnTo>
                      <a:pt x="1494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99" tIns="182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02" name="shp_Region_Stann_Creek_$2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C555859D-49DE-780E-A68B-36969E7D8FDB}"/>
                  </a:ext>
                </a:extLst>
              </p:cNvPr>
              <p:cNvSpPr/>
              <p:nvPr/>
            </p:nvSpPr>
            <p:spPr>
              <a:xfrm>
                <a:off x="2364195" y="4672273"/>
                <a:ext cx="20161" cy="2276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22763">
                    <a:moveTo>
                      <a:pt x="20160" y="0"/>
                    </a:moveTo>
                    <a:lnTo>
                      <a:pt x="0" y="18204"/>
                    </a:lnTo>
                    <a:lnTo>
                      <a:pt x="3893" y="22762"/>
                    </a:lnTo>
                    <a:lnTo>
                      <a:pt x="2016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161" tIns="227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</p:grpSp>
        <p:grpSp>
          <p:nvGrpSpPr>
            <p:cNvPr id="266" name="shp_Region_Toledo" descr="Admin1_Id=&quot;BLZ&quot;&#10;Admin1_Label=&quot;Belize&quot;&#10;Admin2_Id=&quot;BLZ.6_1&quot;&#10;Admin2_Label=&quot;Toledo&quot;&#10;" title="Toledo">
              <a:extLst>
                <a:ext uri="{FF2B5EF4-FFF2-40B4-BE49-F238E27FC236}">
                  <a16:creationId xmlns:a16="http://schemas.microsoft.com/office/drawing/2014/main" id="{B8AC6507-D727-89F6-939B-79E8236A92FF}"/>
                </a:ext>
              </a:extLst>
            </p:cNvPr>
            <p:cNvGrpSpPr/>
            <p:nvPr/>
          </p:nvGrpSpPr>
          <p:grpSpPr>
            <a:xfrm>
              <a:off x="0" y="4198249"/>
              <a:ext cx="1966967" cy="1897752"/>
              <a:chOff x="0" y="4198249"/>
              <a:chExt cx="1966967" cy="1897752"/>
            </a:xfrm>
            <a:solidFill>
              <a:srgbClr val="FFC000"/>
            </a:solidFill>
          </p:grpSpPr>
          <p:sp>
            <p:nvSpPr>
              <p:cNvPr id="267" name="shp_Region_Toledo_$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185743E3-B1C3-7E09-62D8-EECDD48D52AA}"/>
                  </a:ext>
                </a:extLst>
              </p:cNvPr>
              <p:cNvSpPr/>
              <p:nvPr/>
            </p:nvSpPr>
            <p:spPr>
              <a:xfrm>
                <a:off x="0" y="4198249"/>
                <a:ext cx="1966967" cy="1897752"/>
              </a:xfrm>
              <a:custGeom>
                <a:avLst/>
                <a:gdLst/>
                <a:ahLst/>
                <a:cxnLst/>
                <a:rect l="0" t="0" r="0" b="0"/>
                <a:pathLst>
                  <a:path w="1966967" h="1897752">
                    <a:moveTo>
                      <a:pt x="85138" y="644099"/>
                    </a:moveTo>
                    <a:lnTo>
                      <a:pt x="61443" y="997973"/>
                    </a:lnTo>
                    <a:lnTo>
                      <a:pt x="48587" y="1189918"/>
                    </a:lnTo>
                    <a:lnTo>
                      <a:pt x="21142" y="1599611"/>
                    </a:lnTo>
                    <a:lnTo>
                      <a:pt x="18428" y="1639676"/>
                    </a:lnTo>
                    <a:lnTo>
                      <a:pt x="11499" y="1712884"/>
                    </a:lnTo>
                    <a:lnTo>
                      <a:pt x="0" y="1813626"/>
                    </a:lnTo>
                    <a:lnTo>
                      <a:pt x="3178" y="1874025"/>
                    </a:lnTo>
                    <a:lnTo>
                      <a:pt x="11785" y="1875038"/>
                    </a:lnTo>
                    <a:lnTo>
                      <a:pt x="14214" y="1886118"/>
                    </a:lnTo>
                    <a:lnTo>
                      <a:pt x="26177" y="1891798"/>
                    </a:lnTo>
                    <a:lnTo>
                      <a:pt x="79853" y="1872351"/>
                    </a:lnTo>
                    <a:lnTo>
                      <a:pt x="97763" y="1872243"/>
                    </a:lnTo>
                    <a:lnTo>
                      <a:pt x="102512" y="1852171"/>
                    </a:lnTo>
                    <a:lnTo>
                      <a:pt x="109066" y="1850345"/>
                    </a:lnTo>
                    <a:lnTo>
                      <a:pt x="119547" y="1852972"/>
                    </a:lnTo>
                    <a:lnTo>
                      <a:pt x="148885" y="1878020"/>
                    </a:lnTo>
                    <a:lnTo>
                      <a:pt x="173187" y="1887017"/>
                    </a:lnTo>
                    <a:lnTo>
                      <a:pt x="186954" y="1883205"/>
                    </a:lnTo>
                    <a:lnTo>
                      <a:pt x="210864" y="1864610"/>
                    </a:lnTo>
                    <a:lnTo>
                      <a:pt x="227720" y="1879261"/>
                    </a:lnTo>
                    <a:lnTo>
                      <a:pt x="244790" y="1876518"/>
                    </a:lnTo>
                    <a:lnTo>
                      <a:pt x="250879" y="1881839"/>
                    </a:lnTo>
                    <a:lnTo>
                      <a:pt x="260272" y="1883946"/>
                    </a:lnTo>
                    <a:lnTo>
                      <a:pt x="271003" y="1873203"/>
                    </a:lnTo>
                    <a:lnTo>
                      <a:pt x="265075" y="1859793"/>
                    </a:lnTo>
                    <a:lnTo>
                      <a:pt x="286038" y="1852765"/>
                    </a:lnTo>
                    <a:lnTo>
                      <a:pt x="307519" y="1852126"/>
                    </a:lnTo>
                    <a:lnTo>
                      <a:pt x="318037" y="1857441"/>
                    </a:lnTo>
                    <a:lnTo>
                      <a:pt x="334161" y="1886838"/>
                    </a:lnTo>
                    <a:lnTo>
                      <a:pt x="340750" y="1886272"/>
                    </a:lnTo>
                    <a:lnTo>
                      <a:pt x="343857" y="1880303"/>
                    </a:lnTo>
                    <a:lnTo>
                      <a:pt x="350517" y="1879732"/>
                    </a:lnTo>
                    <a:lnTo>
                      <a:pt x="352213" y="1857298"/>
                    </a:lnTo>
                    <a:lnTo>
                      <a:pt x="370480" y="1877571"/>
                    </a:lnTo>
                    <a:lnTo>
                      <a:pt x="377658" y="1879689"/>
                    </a:lnTo>
                    <a:lnTo>
                      <a:pt x="376533" y="1869511"/>
                    </a:lnTo>
                    <a:lnTo>
                      <a:pt x="387729" y="1873085"/>
                    </a:lnTo>
                    <a:lnTo>
                      <a:pt x="386604" y="1862893"/>
                    </a:lnTo>
                    <a:lnTo>
                      <a:pt x="390426" y="1853227"/>
                    </a:lnTo>
                    <a:lnTo>
                      <a:pt x="387622" y="1842522"/>
                    </a:lnTo>
                    <a:lnTo>
                      <a:pt x="391461" y="1835522"/>
                    </a:lnTo>
                    <a:lnTo>
                      <a:pt x="403711" y="1837602"/>
                    </a:lnTo>
                    <a:lnTo>
                      <a:pt x="411067" y="1862775"/>
                    </a:lnTo>
                    <a:lnTo>
                      <a:pt x="413139" y="1864157"/>
                    </a:lnTo>
                    <a:lnTo>
                      <a:pt x="425495" y="1847877"/>
                    </a:lnTo>
                    <a:lnTo>
                      <a:pt x="445530" y="1845497"/>
                    </a:lnTo>
                    <a:lnTo>
                      <a:pt x="468850" y="1854398"/>
                    </a:lnTo>
                    <a:lnTo>
                      <a:pt x="478171" y="1862108"/>
                    </a:lnTo>
                    <a:lnTo>
                      <a:pt x="486188" y="1883370"/>
                    </a:lnTo>
                    <a:lnTo>
                      <a:pt x="496152" y="1883982"/>
                    </a:lnTo>
                    <a:lnTo>
                      <a:pt x="521990" y="1869719"/>
                    </a:lnTo>
                    <a:lnTo>
                      <a:pt x="530615" y="1869043"/>
                    </a:lnTo>
                    <a:lnTo>
                      <a:pt x="559845" y="1884122"/>
                    </a:lnTo>
                    <a:lnTo>
                      <a:pt x="598361" y="1887876"/>
                    </a:lnTo>
                    <a:lnTo>
                      <a:pt x="642180" y="1897751"/>
                    </a:lnTo>
                    <a:lnTo>
                      <a:pt x="665197" y="1896008"/>
                    </a:lnTo>
                    <a:lnTo>
                      <a:pt x="701962" y="1884745"/>
                    </a:lnTo>
                    <a:lnTo>
                      <a:pt x="725300" y="1873728"/>
                    </a:lnTo>
                    <a:lnTo>
                      <a:pt x="727836" y="1869837"/>
                    </a:lnTo>
                    <a:lnTo>
                      <a:pt x="725229" y="1852939"/>
                    </a:lnTo>
                    <a:lnTo>
                      <a:pt x="719372" y="1848390"/>
                    </a:lnTo>
                    <a:lnTo>
                      <a:pt x="705069" y="1821083"/>
                    </a:lnTo>
                    <a:lnTo>
                      <a:pt x="692070" y="1778820"/>
                    </a:lnTo>
                    <a:lnTo>
                      <a:pt x="688178" y="1772972"/>
                    </a:lnTo>
                    <a:lnTo>
                      <a:pt x="684928" y="1758669"/>
                    </a:lnTo>
                    <a:lnTo>
                      <a:pt x="676464" y="1732012"/>
                    </a:lnTo>
                    <a:lnTo>
                      <a:pt x="678428" y="1719658"/>
                    </a:lnTo>
                    <a:lnTo>
                      <a:pt x="679071" y="1698210"/>
                    </a:lnTo>
                    <a:lnTo>
                      <a:pt x="685571" y="1676754"/>
                    </a:lnTo>
                    <a:lnTo>
                      <a:pt x="692731" y="1667650"/>
                    </a:lnTo>
                    <a:lnTo>
                      <a:pt x="707034" y="1665703"/>
                    </a:lnTo>
                    <a:lnTo>
                      <a:pt x="723283" y="1642948"/>
                    </a:lnTo>
                    <a:lnTo>
                      <a:pt x="747335" y="1631247"/>
                    </a:lnTo>
                    <a:lnTo>
                      <a:pt x="770084" y="1624739"/>
                    </a:lnTo>
                    <a:lnTo>
                      <a:pt x="796743" y="1611739"/>
                    </a:lnTo>
                    <a:lnTo>
                      <a:pt x="810403" y="1601990"/>
                    </a:lnTo>
                    <a:lnTo>
                      <a:pt x="814956" y="1596142"/>
                    </a:lnTo>
                    <a:lnTo>
                      <a:pt x="835098" y="1588344"/>
                    </a:lnTo>
                    <a:lnTo>
                      <a:pt x="855901" y="1577281"/>
                    </a:lnTo>
                    <a:lnTo>
                      <a:pt x="863704" y="1565581"/>
                    </a:lnTo>
                    <a:lnTo>
                      <a:pt x="868918" y="1531128"/>
                    </a:lnTo>
                    <a:lnTo>
                      <a:pt x="866954" y="1523981"/>
                    </a:lnTo>
                    <a:lnTo>
                      <a:pt x="868918" y="1509674"/>
                    </a:lnTo>
                    <a:lnTo>
                      <a:pt x="875417" y="1508370"/>
                    </a:lnTo>
                    <a:lnTo>
                      <a:pt x="881256" y="1501219"/>
                    </a:lnTo>
                    <a:lnTo>
                      <a:pt x="888417" y="1498621"/>
                    </a:lnTo>
                    <a:lnTo>
                      <a:pt x="892309" y="1489518"/>
                    </a:lnTo>
                    <a:lnTo>
                      <a:pt x="910523" y="1482367"/>
                    </a:lnTo>
                    <a:lnTo>
                      <a:pt x="911808" y="1474564"/>
                    </a:lnTo>
                    <a:lnTo>
                      <a:pt x="921576" y="1460913"/>
                    </a:lnTo>
                    <a:lnTo>
                      <a:pt x="928075" y="1458962"/>
                    </a:lnTo>
                    <a:lnTo>
                      <a:pt x="940414" y="1460261"/>
                    </a:lnTo>
                    <a:lnTo>
                      <a:pt x="950824" y="1457663"/>
                    </a:lnTo>
                    <a:lnTo>
                      <a:pt x="956020" y="1461564"/>
                    </a:lnTo>
                    <a:lnTo>
                      <a:pt x="966430" y="1460261"/>
                    </a:lnTo>
                    <a:lnTo>
                      <a:pt x="972287" y="1449212"/>
                    </a:lnTo>
                    <a:lnTo>
                      <a:pt x="974234" y="1431655"/>
                    </a:lnTo>
                    <a:lnTo>
                      <a:pt x="983322" y="1416054"/>
                    </a:lnTo>
                    <a:lnTo>
                      <a:pt x="991786" y="1410853"/>
                    </a:lnTo>
                    <a:lnTo>
                      <a:pt x="993090" y="1395247"/>
                    </a:lnTo>
                    <a:lnTo>
                      <a:pt x="996982" y="1393300"/>
                    </a:lnTo>
                    <a:lnTo>
                      <a:pt x="996340" y="1378997"/>
                    </a:lnTo>
                    <a:lnTo>
                      <a:pt x="1004143" y="1366645"/>
                    </a:lnTo>
                    <a:lnTo>
                      <a:pt x="1028195" y="1361445"/>
                    </a:lnTo>
                    <a:lnTo>
                      <a:pt x="1037284" y="1352994"/>
                    </a:lnTo>
                    <a:lnTo>
                      <a:pt x="1049640" y="1347142"/>
                    </a:lnTo>
                    <a:lnTo>
                      <a:pt x="1073693" y="1339990"/>
                    </a:lnTo>
                    <a:lnTo>
                      <a:pt x="1089960" y="1333482"/>
                    </a:lnTo>
                    <a:lnTo>
                      <a:pt x="1097745" y="1327639"/>
                    </a:lnTo>
                    <a:lnTo>
                      <a:pt x="1109459" y="1323090"/>
                    </a:lnTo>
                    <a:lnTo>
                      <a:pt x="1110101" y="1314635"/>
                    </a:lnTo>
                    <a:lnTo>
                      <a:pt x="1099048" y="1297082"/>
                    </a:lnTo>
                    <a:lnTo>
                      <a:pt x="1099709" y="1289931"/>
                    </a:lnTo>
                    <a:lnTo>
                      <a:pt x="1108155" y="1283436"/>
                    </a:lnTo>
                    <a:lnTo>
                      <a:pt x="1114655" y="1282779"/>
                    </a:lnTo>
                    <a:lnTo>
                      <a:pt x="1114012" y="1262624"/>
                    </a:lnTo>
                    <a:lnTo>
                      <a:pt x="1127654" y="1255473"/>
                    </a:lnTo>
                    <a:lnTo>
                      <a:pt x="1141314" y="1244420"/>
                    </a:lnTo>
                    <a:lnTo>
                      <a:pt x="1141957" y="1240527"/>
                    </a:lnTo>
                    <a:lnTo>
                      <a:pt x="1130904" y="1229465"/>
                    </a:lnTo>
                    <a:lnTo>
                      <a:pt x="1122458" y="1208663"/>
                    </a:lnTo>
                    <a:lnTo>
                      <a:pt x="1128958" y="1202163"/>
                    </a:lnTo>
                    <a:lnTo>
                      <a:pt x="1123761" y="1188512"/>
                    </a:lnTo>
                    <a:lnTo>
                      <a:pt x="1118565" y="1182008"/>
                    </a:lnTo>
                    <a:lnTo>
                      <a:pt x="1112708" y="1165107"/>
                    </a:lnTo>
                    <a:lnTo>
                      <a:pt x="1117262" y="1155353"/>
                    </a:lnTo>
                    <a:lnTo>
                      <a:pt x="1112048" y="1143001"/>
                    </a:lnTo>
                    <a:lnTo>
                      <a:pt x="1114655" y="1133899"/>
                    </a:lnTo>
                    <a:lnTo>
                      <a:pt x="1130904" y="1128056"/>
                    </a:lnTo>
                    <a:lnTo>
                      <a:pt x="1142617" y="1127399"/>
                    </a:lnTo>
                    <a:lnTo>
                      <a:pt x="1149760" y="1122199"/>
                    </a:lnTo>
                    <a:lnTo>
                      <a:pt x="1154313" y="1104646"/>
                    </a:lnTo>
                    <a:lnTo>
                      <a:pt x="1166009" y="1088397"/>
                    </a:lnTo>
                    <a:lnTo>
                      <a:pt x="1186169" y="1090343"/>
                    </a:lnTo>
                    <a:lnTo>
                      <a:pt x="1206971" y="1094892"/>
                    </a:lnTo>
                    <a:lnTo>
                      <a:pt x="1228434" y="1091642"/>
                    </a:lnTo>
                    <a:lnTo>
                      <a:pt x="1234934" y="1086442"/>
                    </a:lnTo>
                    <a:lnTo>
                      <a:pt x="1221274" y="1082540"/>
                    </a:lnTo>
                    <a:lnTo>
                      <a:pt x="1233631" y="1072139"/>
                    </a:lnTo>
                    <a:lnTo>
                      <a:pt x="1258986" y="1072791"/>
                    </a:lnTo>
                    <a:lnTo>
                      <a:pt x="1265486" y="1071487"/>
                    </a:lnTo>
                    <a:lnTo>
                      <a:pt x="1279146" y="1059135"/>
                    </a:lnTo>
                    <a:lnTo>
                      <a:pt x="1287592" y="1059787"/>
                    </a:lnTo>
                    <a:lnTo>
                      <a:pt x="1295395" y="1051336"/>
                    </a:lnTo>
                    <a:lnTo>
                      <a:pt x="1299948" y="1050684"/>
                    </a:lnTo>
                    <a:lnTo>
                      <a:pt x="1309037" y="1061738"/>
                    </a:lnTo>
                    <a:lnTo>
                      <a:pt x="1318144" y="1063037"/>
                    </a:lnTo>
                    <a:lnTo>
                      <a:pt x="1325304" y="1055890"/>
                    </a:lnTo>
                    <a:lnTo>
                      <a:pt x="1335696" y="1040931"/>
                    </a:lnTo>
                    <a:lnTo>
                      <a:pt x="1334393" y="1025976"/>
                    </a:lnTo>
                    <a:lnTo>
                      <a:pt x="1324001" y="1021427"/>
                    </a:lnTo>
                    <a:lnTo>
                      <a:pt x="1324001" y="1006477"/>
                    </a:lnTo>
                    <a:lnTo>
                      <a:pt x="1329197" y="992822"/>
                    </a:lnTo>
                    <a:lnTo>
                      <a:pt x="1344142" y="983072"/>
                    </a:lnTo>
                    <a:lnTo>
                      <a:pt x="1370802" y="982420"/>
                    </a:lnTo>
                    <a:lnTo>
                      <a:pt x="1397461" y="1001277"/>
                    </a:lnTo>
                    <a:lnTo>
                      <a:pt x="1411764" y="1012977"/>
                    </a:lnTo>
                    <a:lnTo>
                      <a:pt x="1424763" y="1029882"/>
                    </a:lnTo>
                    <a:lnTo>
                      <a:pt x="1426067" y="1037038"/>
                    </a:lnTo>
                    <a:lnTo>
                      <a:pt x="1435173" y="1044185"/>
                    </a:lnTo>
                    <a:lnTo>
                      <a:pt x="1448173" y="1040284"/>
                    </a:lnTo>
                    <a:lnTo>
                      <a:pt x="1455976" y="1044832"/>
                    </a:lnTo>
                    <a:lnTo>
                      <a:pt x="1466368" y="1043533"/>
                    </a:lnTo>
                    <a:lnTo>
                      <a:pt x="1466368" y="1035083"/>
                    </a:lnTo>
                    <a:lnTo>
                      <a:pt x="1459868" y="1031181"/>
                    </a:lnTo>
                    <a:lnTo>
                      <a:pt x="1457279" y="1024034"/>
                    </a:lnTo>
                    <a:lnTo>
                      <a:pt x="1464422" y="1013629"/>
                    </a:lnTo>
                    <a:lnTo>
                      <a:pt x="1476118" y="1005826"/>
                    </a:lnTo>
                    <a:lnTo>
                      <a:pt x="1477421" y="1024034"/>
                    </a:lnTo>
                    <a:lnTo>
                      <a:pt x="1471582" y="1029235"/>
                    </a:lnTo>
                    <a:lnTo>
                      <a:pt x="1470279" y="1042881"/>
                    </a:lnTo>
                    <a:lnTo>
                      <a:pt x="1463779" y="1046783"/>
                    </a:lnTo>
                    <a:lnTo>
                      <a:pt x="1468332" y="1054586"/>
                    </a:lnTo>
                    <a:lnTo>
                      <a:pt x="1474171" y="1048734"/>
                    </a:lnTo>
                    <a:lnTo>
                      <a:pt x="1474171" y="1042230"/>
                    </a:lnTo>
                    <a:lnTo>
                      <a:pt x="1479367" y="1035730"/>
                    </a:lnTo>
                    <a:lnTo>
                      <a:pt x="1493670" y="1035730"/>
                    </a:lnTo>
                    <a:lnTo>
                      <a:pt x="1499527" y="1045484"/>
                    </a:lnTo>
                    <a:lnTo>
                      <a:pt x="1481974" y="1059787"/>
                    </a:lnTo>
                    <a:lnTo>
                      <a:pt x="1480671" y="1065639"/>
                    </a:lnTo>
                    <a:lnTo>
                      <a:pt x="1491724" y="1081893"/>
                    </a:lnTo>
                    <a:lnTo>
                      <a:pt x="1500830" y="1080589"/>
                    </a:lnTo>
                    <a:lnTo>
                      <a:pt x="1499527" y="1070188"/>
                    </a:lnTo>
                    <a:lnTo>
                      <a:pt x="1509937" y="1050028"/>
                    </a:lnTo>
                    <a:lnTo>
                      <a:pt x="1509937" y="1040284"/>
                    </a:lnTo>
                    <a:lnTo>
                      <a:pt x="1517740" y="1020775"/>
                    </a:lnTo>
                    <a:lnTo>
                      <a:pt x="1526186" y="1015575"/>
                    </a:lnTo>
                    <a:lnTo>
                      <a:pt x="1537882" y="1016227"/>
                    </a:lnTo>
                    <a:lnTo>
                      <a:pt x="1543739" y="1010379"/>
                    </a:lnTo>
                    <a:lnTo>
                      <a:pt x="1588594" y="1010379"/>
                    </a:lnTo>
                    <a:lnTo>
                      <a:pt x="1591843" y="1008428"/>
                    </a:lnTo>
                    <a:lnTo>
                      <a:pt x="1591201" y="967475"/>
                    </a:lnTo>
                    <a:lnTo>
                      <a:pt x="1592504" y="948614"/>
                    </a:lnTo>
                    <a:lnTo>
                      <a:pt x="1601593" y="935619"/>
                    </a:lnTo>
                    <a:lnTo>
                      <a:pt x="1618503" y="930410"/>
                    </a:lnTo>
                    <a:lnTo>
                      <a:pt x="1632163" y="920009"/>
                    </a:lnTo>
                    <a:lnTo>
                      <a:pt x="1647108" y="905058"/>
                    </a:lnTo>
                    <a:lnTo>
                      <a:pt x="1650358" y="890756"/>
                    </a:lnTo>
                    <a:lnTo>
                      <a:pt x="1654912" y="888153"/>
                    </a:lnTo>
                    <a:lnTo>
                      <a:pt x="1667911" y="873855"/>
                    </a:lnTo>
                    <a:lnTo>
                      <a:pt x="1681571" y="865395"/>
                    </a:lnTo>
                    <a:lnTo>
                      <a:pt x="1690017" y="856298"/>
                    </a:lnTo>
                    <a:lnTo>
                      <a:pt x="1701713" y="851749"/>
                    </a:lnTo>
                    <a:lnTo>
                      <a:pt x="1714069" y="843294"/>
                    </a:lnTo>
                    <a:lnTo>
                      <a:pt x="1715373" y="836799"/>
                    </a:lnTo>
                    <a:lnTo>
                      <a:pt x="1728372" y="810787"/>
                    </a:lnTo>
                    <a:lnTo>
                      <a:pt x="1732282" y="792587"/>
                    </a:lnTo>
                    <a:lnTo>
                      <a:pt x="1743317" y="783485"/>
                    </a:lnTo>
                    <a:lnTo>
                      <a:pt x="1743317" y="770481"/>
                    </a:lnTo>
                    <a:lnTo>
                      <a:pt x="1740068" y="760080"/>
                    </a:lnTo>
                    <a:lnTo>
                      <a:pt x="1743978" y="747076"/>
                    </a:lnTo>
                    <a:lnTo>
                      <a:pt x="1751121" y="741224"/>
                    </a:lnTo>
                    <a:lnTo>
                      <a:pt x="1748531" y="719774"/>
                    </a:lnTo>
                    <a:lnTo>
                      <a:pt x="1754370" y="715220"/>
                    </a:lnTo>
                    <a:lnTo>
                      <a:pt x="1754370" y="708074"/>
                    </a:lnTo>
                    <a:lnTo>
                      <a:pt x="1773887" y="698967"/>
                    </a:lnTo>
                    <a:lnTo>
                      <a:pt x="1781030" y="689865"/>
                    </a:lnTo>
                    <a:lnTo>
                      <a:pt x="1784940" y="690517"/>
                    </a:lnTo>
                    <a:lnTo>
                      <a:pt x="1789476" y="707413"/>
                    </a:lnTo>
                    <a:lnTo>
                      <a:pt x="1782976" y="719774"/>
                    </a:lnTo>
                    <a:lnTo>
                      <a:pt x="1792743" y="723023"/>
                    </a:lnTo>
                    <a:lnTo>
                      <a:pt x="1812242" y="707413"/>
                    </a:lnTo>
                    <a:lnTo>
                      <a:pt x="1820688" y="708074"/>
                    </a:lnTo>
                    <a:lnTo>
                      <a:pt x="1826545" y="704168"/>
                    </a:lnTo>
                    <a:lnTo>
                      <a:pt x="1834991" y="692467"/>
                    </a:lnTo>
                    <a:lnTo>
                      <a:pt x="1840187" y="692467"/>
                    </a:lnTo>
                    <a:lnTo>
                      <a:pt x="1846687" y="683365"/>
                    </a:lnTo>
                    <a:lnTo>
                      <a:pt x="1836937" y="683365"/>
                    </a:lnTo>
                    <a:lnTo>
                      <a:pt x="1827188" y="687267"/>
                    </a:lnTo>
                    <a:lnTo>
                      <a:pt x="1821992" y="695717"/>
                    </a:lnTo>
                    <a:lnTo>
                      <a:pt x="1805743" y="690517"/>
                    </a:lnTo>
                    <a:lnTo>
                      <a:pt x="1804439" y="683365"/>
                    </a:lnTo>
                    <a:lnTo>
                      <a:pt x="1816135" y="664509"/>
                    </a:lnTo>
                    <a:lnTo>
                      <a:pt x="1810296" y="659308"/>
                    </a:lnTo>
                    <a:lnTo>
                      <a:pt x="1812242" y="653460"/>
                    </a:lnTo>
                    <a:lnTo>
                      <a:pt x="1821349" y="658009"/>
                    </a:lnTo>
                    <a:lnTo>
                      <a:pt x="1817438" y="614458"/>
                    </a:lnTo>
                    <a:lnTo>
                      <a:pt x="1823938" y="620301"/>
                    </a:lnTo>
                    <a:lnTo>
                      <a:pt x="1836295" y="625502"/>
                    </a:lnTo>
                    <a:lnTo>
                      <a:pt x="1838902" y="607949"/>
                    </a:lnTo>
                    <a:lnTo>
                      <a:pt x="1846044" y="606650"/>
                    </a:lnTo>
                    <a:lnTo>
                      <a:pt x="1853205" y="598847"/>
                    </a:lnTo>
                    <a:lnTo>
                      <a:pt x="1860347" y="607302"/>
                    </a:lnTo>
                    <a:lnTo>
                      <a:pt x="1870097" y="610552"/>
                    </a:lnTo>
                    <a:lnTo>
                      <a:pt x="1880507" y="605994"/>
                    </a:lnTo>
                    <a:lnTo>
                      <a:pt x="1879203" y="598195"/>
                    </a:lnTo>
                    <a:lnTo>
                      <a:pt x="1884399" y="587799"/>
                    </a:lnTo>
                    <a:lnTo>
                      <a:pt x="1883757" y="579995"/>
                    </a:lnTo>
                    <a:lnTo>
                      <a:pt x="1878560" y="569594"/>
                    </a:lnTo>
                    <a:lnTo>
                      <a:pt x="1879846" y="551390"/>
                    </a:lnTo>
                    <a:lnTo>
                      <a:pt x="1886346" y="543587"/>
                    </a:lnTo>
                    <a:lnTo>
                      <a:pt x="1890256" y="533837"/>
                    </a:lnTo>
                    <a:lnTo>
                      <a:pt x="1888310" y="526039"/>
                    </a:lnTo>
                    <a:lnTo>
                      <a:pt x="1907809" y="513030"/>
                    </a:lnTo>
                    <a:lnTo>
                      <a:pt x="1907809" y="500031"/>
                    </a:lnTo>
                    <a:lnTo>
                      <a:pt x="1912362" y="492880"/>
                    </a:lnTo>
                    <a:lnTo>
                      <a:pt x="1911059" y="474675"/>
                    </a:lnTo>
                    <a:lnTo>
                      <a:pt x="1918862" y="470122"/>
                    </a:lnTo>
                    <a:lnTo>
                      <a:pt x="1934468" y="473376"/>
                    </a:lnTo>
                    <a:lnTo>
                      <a:pt x="1950057" y="468823"/>
                    </a:lnTo>
                    <a:lnTo>
                      <a:pt x="1946807" y="459069"/>
                    </a:lnTo>
                    <a:lnTo>
                      <a:pt x="1936414" y="457127"/>
                    </a:lnTo>
                    <a:lnTo>
                      <a:pt x="1937057" y="446721"/>
                    </a:lnTo>
                    <a:lnTo>
                      <a:pt x="1934468" y="438266"/>
                    </a:lnTo>
                    <a:lnTo>
                      <a:pt x="1954610" y="432419"/>
                    </a:lnTo>
                    <a:lnTo>
                      <a:pt x="1966966" y="409014"/>
                    </a:lnTo>
                    <a:lnTo>
                      <a:pt x="1960467" y="405112"/>
                    </a:lnTo>
                    <a:lnTo>
                      <a:pt x="1950717" y="410313"/>
                    </a:lnTo>
                    <a:lnTo>
                      <a:pt x="1935754" y="409014"/>
                    </a:lnTo>
                    <a:lnTo>
                      <a:pt x="1937718" y="418759"/>
                    </a:lnTo>
                    <a:lnTo>
                      <a:pt x="1922754" y="421361"/>
                    </a:lnTo>
                    <a:lnTo>
                      <a:pt x="1911701" y="416160"/>
                    </a:lnTo>
                    <a:lnTo>
                      <a:pt x="1922754" y="407710"/>
                    </a:lnTo>
                    <a:lnTo>
                      <a:pt x="1903952" y="396871"/>
                    </a:lnTo>
                    <a:lnTo>
                      <a:pt x="1606218" y="399197"/>
                    </a:lnTo>
                    <a:lnTo>
                      <a:pt x="1598593" y="246781"/>
                    </a:lnTo>
                    <a:lnTo>
                      <a:pt x="1537204" y="185396"/>
                    </a:lnTo>
                    <a:lnTo>
                      <a:pt x="1503759" y="166107"/>
                    </a:lnTo>
                    <a:lnTo>
                      <a:pt x="1488099" y="151523"/>
                    </a:lnTo>
                    <a:lnTo>
                      <a:pt x="1533811" y="94370"/>
                    </a:lnTo>
                    <a:lnTo>
                      <a:pt x="1396640" y="6732"/>
                    </a:lnTo>
                    <a:lnTo>
                      <a:pt x="1349892" y="6120"/>
                    </a:lnTo>
                    <a:lnTo>
                      <a:pt x="1071300" y="0"/>
                    </a:lnTo>
                    <a:lnTo>
                      <a:pt x="1065139" y="14352"/>
                    </a:lnTo>
                    <a:lnTo>
                      <a:pt x="998500" y="64336"/>
                    </a:lnTo>
                    <a:lnTo>
                      <a:pt x="982001" y="64220"/>
                    </a:lnTo>
                    <a:lnTo>
                      <a:pt x="963877" y="88397"/>
                    </a:lnTo>
                    <a:lnTo>
                      <a:pt x="963877" y="109244"/>
                    </a:lnTo>
                    <a:lnTo>
                      <a:pt x="970823" y="143992"/>
                    </a:lnTo>
                    <a:lnTo>
                      <a:pt x="908273" y="241290"/>
                    </a:lnTo>
                    <a:lnTo>
                      <a:pt x="797082" y="296890"/>
                    </a:lnTo>
                    <a:lnTo>
                      <a:pt x="678928" y="324688"/>
                    </a:lnTo>
                    <a:lnTo>
                      <a:pt x="678928" y="387238"/>
                    </a:lnTo>
                    <a:lnTo>
                      <a:pt x="581630" y="449788"/>
                    </a:lnTo>
                    <a:lnTo>
                      <a:pt x="505187" y="408085"/>
                    </a:lnTo>
                    <a:lnTo>
                      <a:pt x="414835" y="498433"/>
                    </a:lnTo>
                    <a:lnTo>
                      <a:pt x="261950" y="526235"/>
                    </a:lnTo>
                    <a:lnTo>
                      <a:pt x="85138" y="644099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66967" tIns="18977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68" name="shp_Region_Toledo_$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7AA92CF6-0092-B255-9511-5A7148AD25A8}"/>
                  </a:ext>
                </a:extLst>
              </p:cNvPr>
              <p:cNvSpPr/>
              <p:nvPr/>
            </p:nvSpPr>
            <p:spPr>
              <a:xfrm>
                <a:off x="1909755" y="4713226"/>
                <a:ext cx="25357" cy="1561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5612">
                    <a:moveTo>
                      <a:pt x="8446" y="15611"/>
                    </a:moveTo>
                    <a:lnTo>
                      <a:pt x="25356" y="5200"/>
                    </a:lnTo>
                    <a:lnTo>
                      <a:pt x="24052" y="0"/>
                    </a:lnTo>
                    <a:lnTo>
                      <a:pt x="0" y="14307"/>
                    </a:lnTo>
                    <a:lnTo>
                      <a:pt x="8446" y="15611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561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69" name="shp_Region_Toledo_$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B44856F1-A73C-F5D2-D3AE-6B8C2001BCEB}"/>
                  </a:ext>
                </a:extLst>
              </p:cNvPr>
              <p:cNvSpPr/>
              <p:nvPr/>
            </p:nvSpPr>
            <p:spPr>
              <a:xfrm>
                <a:off x="1837598" y="4837407"/>
                <a:ext cx="11697" cy="162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6254">
                    <a:moveTo>
                      <a:pt x="1304" y="0"/>
                    </a:moveTo>
                    <a:lnTo>
                      <a:pt x="0" y="11052"/>
                    </a:lnTo>
                    <a:lnTo>
                      <a:pt x="5839" y="16253"/>
                    </a:lnTo>
                    <a:lnTo>
                      <a:pt x="11696" y="8450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62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0" name="shp_Region_Toledo_$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5D0B1242-3549-0A58-2BD0-CE68B51D6095}"/>
                  </a:ext>
                </a:extLst>
              </p:cNvPr>
              <p:cNvSpPr/>
              <p:nvPr/>
            </p:nvSpPr>
            <p:spPr>
              <a:xfrm>
                <a:off x="1392265" y="5283387"/>
                <a:ext cx="11054" cy="17558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7558">
                    <a:moveTo>
                      <a:pt x="7142" y="0"/>
                    </a:moveTo>
                    <a:lnTo>
                      <a:pt x="0" y="17557"/>
                    </a:lnTo>
                    <a:lnTo>
                      <a:pt x="8446" y="13004"/>
                    </a:lnTo>
                    <a:lnTo>
                      <a:pt x="11053" y="4549"/>
                    </a:lnTo>
                    <a:lnTo>
                      <a:pt x="714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75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1" name="shp_Region_Toledo_$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8F939ECE-E019-5222-4DB2-EDF01C2AE31C}"/>
                  </a:ext>
                </a:extLst>
              </p:cNvPr>
              <p:cNvSpPr/>
              <p:nvPr/>
            </p:nvSpPr>
            <p:spPr>
              <a:xfrm>
                <a:off x="1365606" y="5311346"/>
                <a:ext cx="2210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22107" h="19504">
                    <a:moveTo>
                      <a:pt x="22106" y="0"/>
                    </a:moveTo>
                    <a:lnTo>
                      <a:pt x="642" y="10401"/>
                    </a:lnTo>
                    <a:lnTo>
                      <a:pt x="0" y="17557"/>
                    </a:lnTo>
                    <a:lnTo>
                      <a:pt x="6499" y="19503"/>
                    </a:lnTo>
                    <a:lnTo>
                      <a:pt x="13642" y="14959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2107" tIns="195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2" name="shp_Region_Toledo_$6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B41EFA03-D4C6-8162-FF90-4E6B1EB82C75}"/>
                  </a:ext>
                </a:extLst>
              </p:cNvPr>
              <p:cNvSpPr/>
              <p:nvPr/>
            </p:nvSpPr>
            <p:spPr>
              <a:xfrm>
                <a:off x="1282396" y="5315895"/>
                <a:ext cx="35106" cy="38360"/>
              </a:xfrm>
              <a:custGeom>
                <a:avLst/>
                <a:gdLst/>
                <a:ahLst/>
                <a:cxnLst/>
                <a:rect l="0" t="0" r="0" b="0"/>
                <a:pathLst>
                  <a:path w="35106" h="38360">
                    <a:moveTo>
                      <a:pt x="32498" y="0"/>
                    </a:moveTo>
                    <a:lnTo>
                      <a:pt x="24695" y="2606"/>
                    </a:lnTo>
                    <a:lnTo>
                      <a:pt x="24052" y="11052"/>
                    </a:lnTo>
                    <a:lnTo>
                      <a:pt x="11053" y="22757"/>
                    </a:lnTo>
                    <a:lnTo>
                      <a:pt x="1946" y="23400"/>
                    </a:lnTo>
                    <a:lnTo>
                      <a:pt x="0" y="32506"/>
                    </a:lnTo>
                    <a:lnTo>
                      <a:pt x="8446" y="38359"/>
                    </a:lnTo>
                    <a:lnTo>
                      <a:pt x="21445" y="24708"/>
                    </a:lnTo>
                    <a:lnTo>
                      <a:pt x="35105" y="29257"/>
                    </a:lnTo>
                    <a:lnTo>
                      <a:pt x="35105" y="11052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106" tIns="383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3" name="shp_Region_Toledo_$7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56CBC2AA-C885-4AE1-0166-3A68A126D55D}"/>
                  </a:ext>
                </a:extLst>
              </p:cNvPr>
              <p:cNvSpPr/>
              <p:nvPr/>
            </p:nvSpPr>
            <p:spPr>
              <a:xfrm>
                <a:off x="1476118" y="5317841"/>
                <a:ext cx="13018" cy="9759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9759">
                    <a:moveTo>
                      <a:pt x="13017" y="0"/>
                    </a:moveTo>
                    <a:lnTo>
                      <a:pt x="0" y="4557"/>
                    </a:lnTo>
                    <a:lnTo>
                      <a:pt x="9106" y="9758"/>
                    </a:lnTo>
                    <a:lnTo>
                      <a:pt x="1301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18" tIns="975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4" name="shp_Region_Toledo_$8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15009A46-624F-9362-22B7-F2B7B141193C}"/>
                  </a:ext>
                </a:extLst>
              </p:cNvPr>
              <p:cNvSpPr/>
              <p:nvPr/>
            </p:nvSpPr>
            <p:spPr>
              <a:xfrm>
                <a:off x="1370159" y="5343853"/>
                <a:ext cx="11054" cy="182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8205">
                    <a:moveTo>
                      <a:pt x="9749" y="0"/>
                    </a:moveTo>
                    <a:lnTo>
                      <a:pt x="4553" y="1299"/>
                    </a:lnTo>
                    <a:lnTo>
                      <a:pt x="0" y="14950"/>
                    </a:lnTo>
                    <a:lnTo>
                      <a:pt x="5839" y="18204"/>
                    </a:lnTo>
                    <a:lnTo>
                      <a:pt x="11053" y="6504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82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5" name="shp_Region_Toledo_$9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4449314D-4DBC-209B-C679-8085626F9201}"/>
                  </a:ext>
                </a:extLst>
              </p:cNvPr>
              <p:cNvSpPr/>
              <p:nvPr/>
            </p:nvSpPr>
            <p:spPr>
              <a:xfrm>
                <a:off x="1262879" y="5371155"/>
                <a:ext cx="9108" cy="11710"/>
              </a:xfrm>
              <a:custGeom>
                <a:avLst/>
                <a:gdLst/>
                <a:ahLst/>
                <a:cxnLst/>
                <a:rect l="0" t="0" r="0" b="0"/>
                <a:pathLst>
                  <a:path w="9108" h="11710">
                    <a:moveTo>
                      <a:pt x="5857" y="0"/>
                    </a:moveTo>
                    <a:lnTo>
                      <a:pt x="0" y="11709"/>
                    </a:lnTo>
                    <a:lnTo>
                      <a:pt x="9107" y="9754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08" tIns="117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6" name="shp_Region_Toledo_$10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7B455AFD-A9C0-6F09-EA8F-FED1DD6B49AA}"/>
                  </a:ext>
                </a:extLst>
              </p:cNvPr>
              <p:cNvSpPr/>
              <p:nvPr/>
            </p:nvSpPr>
            <p:spPr>
              <a:xfrm>
                <a:off x="1324001" y="5393261"/>
                <a:ext cx="17553" cy="16906"/>
              </a:xfrm>
              <a:custGeom>
                <a:avLst/>
                <a:gdLst/>
                <a:ahLst/>
                <a:cxnLst/>
                <a:rect l="0" t="0" r="0" b="0"/>
                <a:pathLst>
                  <a:path w="17553" h="16906">
                    <a:moveTo>
                      <a:pt x="0" y="0"/>
                    </a:moveTo>
                    <a:lnTo>
                      <a:pt x="10392" y="8450"/>
                    </a:lnTo>
                    <a:lnTo>
                      <a:pt x="8446" y="16905"/>
                    </a:lnTo>
                    <a:lnTo>
                      <a:pt x="17552" y="16258"/>
                    </a:lnTo>
                    <a:lnTo>
                      <a:pt x="13642" y="8450"/>
                    </a:lnTo>
                    <a:lnTo>
                      <a:pt x="5839" y="12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7553" tIns="169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7" name="shp_Region_Toledo_$1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25AA9575-5B53-7419-89FA-33A2DE5BCAF2}"/>
                  </a:ext>
                </a:extLst>
              </p:cNvPr>
              <p:cNvSpPr/>
              <p:nvPr/>
            </p:nvSpPr>
            <p:spPr>
              <a:xfrm>
                <a:off x="1238827" y="5394560"/>
                <a:ext cx="13000" cy="19500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19500">
                    <a:moveTo>
                      <a:pt x="4553" y="0"/>
                    </a:moveTo>
                    <a:lnTo>
                      <a:pt x="0" y="9754"/>
                    </a:lnTo>
                    <a:lnTo>
                      <a:pt x="5196" y="19499"/>
                    </a:lnTo>
                    <a:lnTo>
                      <a:pt x="12999" y="7151"/>
                    </a:lnTo>
                    <a:lnTo>
                      <a:pt x="6499" y="7151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0" tIns="195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8" name="shp_Region_Toledo_$1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6295AC53-97DF-0FA8-6314-9BA3A77ACBB9}"/>
                  </a:ext>
                </a:extLst>
              </p:cNvPr>
              <p:cNvSpPr/>
              <p:nvPr/>
            </p:nvSpPr>
            <p:spPr>
              <a:xfrm>
                <a:off x="1212828" y="5404965"/>
                <a:ext cx="20804" cy="16251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6251">
                    <a:moveTo>
                      <a:pt x="14946" y="0"/>
                    </a:moveTo>
                    <a:lnTo>
                      <a:pt x="9107" y="5849"/>
                    </a:lnTo>
                    <a:lnTo>
                      <a:pt x="0" y="9094"/>
                    </a:lnTo>
                    <a:lnTo>
                      <a:pt x="11696" y="16250"/>
                    </a:lnTo>
                    <a:lnTo>
                      <a:pt x="20142" y="15602"/>
                    </a:lnTo>
                    <a:lnTo>
                      <a:pt x="20803" y="3893"/>
                    </a:lnTo>
                    <a:lnTo>
                      <a:pt x="14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162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9" name="shp_Region_Toledo_$1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3359C81E-276C-F399-24C5-9D0A62CB415D}"/>
                  </a:ext>
                </a:extLst>
              </p:cNvPr>
              <p:cNvSpPr/>
              <p:nvPr/>
            </p:nvSpPr>
            <p:spPr>
              <a:xfrm>
                <a:off x="1303841" y="5405613"/>
                <a:ext cx="2016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12353">
                    <a:moveTo>
                      <a:pt x="12356" y="0"/>
                    </a:moveTo>
                    <a:lnTo>
                      <a:pt x="0" y="3906"/>
                    </a:lnTo>
                    <a:lnTo>
                      <a:pt x="2607" y="12352"/>
                    </a:lnTo>
                    <a:lnTo>
                      <a:pt x="20160" y="11709"/>
                    </a:lnTo>
                    <a:lnTo>
                      <a:pt x="18856" y="4553"/>
                    </a:lnTo>
                    <a:lnTo>
                      <a:pt x="123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161" tIns="123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80" name="shp_Region_Toledo_$1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BF91F1C1-738A-8F0B-AFAB-DAA6C8A0BF17}"/>
                  </a:ext>
                </a:extLst>
              </p:cNvPr>
              <p:cNvSpPr/>
              <p:nvPr/>
            </p:nvSpPr>
            <p:spPr>
              <a:xfrm>
                <a:off x="1325304" y="5421215"/>
                <a:ext cx="10393" cy="13656"/>
              </a:xfrm>
              <a:custGeom>
                <a:avLst/>
                <a:gdLst/>
                <a:ahLst/>
                <a:cxnLst/>
                <a:rect l="0" t="0" r="0" b="0"/>
                <a:pathLst>
                  <a:path w="10393" h="13656">
                    <a:moveTo>
                      <a:pt x="5839" y="0"/>
                    </a:moveTo>
                    <a:lnTo>
                      <a:pt x="0" y="5205"/>
                    </a:lnTo>
                    <a:lnTo>
                      <a:pt x="0" y="13655"/>
                    </a:lnTo>
                    <a:lnTo>
                      <a:pt x="10392" y="8455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393" tIns="136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81" name="shp_Region_Toledo_$1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85CB3697-CDE8-664A-8690-779DC9FF63DE}"/>
                  </a:ext>
                </a:extLst>
              </p:cNvPr>
              <p:cNvSpPr/>
              <p:nvPr/>
            </p:nvSpPr>
            <p:spPr>
              <a:xfrm>
                <a:off x="1169920" y="5444620"/>
                <a:ext cx="20803" cy="18857"/>
              </a:xfrm>
              <a:custGeom>
                <a:avLst/>
                <a:gdLst/>
                <a:ahLst/>
                <a:cxnLst/>
                <a:rect l="0" t="0" r="0" b="0"/>
                <a:pathLst>
                  <a:path w="20803" h="18857">
                    <a:moveTo>
                      <a:pt x="20802" y="0"/>
                    </a:moveTo>
                    <a:lnTo>
                      <a:pt x="7803" y="10401"/>
                    </a:lnTo>
                    <a:lnTo>
                      <a:pt x="0" y="11704"/>
                    </a:lnTo>
                    <a:lnTo>
                      <a:pt x="1946" y="18856"/>
                    </a:lnTo>
                    <a:lnTo>
                      <a:pt x="20802" y="3901"/>
                    </a:lnTo>
                    <a:lnTo>
                      <a:pt x="2080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3" tIns="188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</p:grpSp>
      </p:grpSp>
      <p:pic>
        <p:nvPicPr>
          <p:cNvPr id="364" name="Picture 363">
            <a:extLst>
              <a:ext uri="{FF2B5EF4-FFF2-40B4-BE49-F238E27FC236}">
                <a16:creationId xmlns:a16="http://schemas.microsoft.com/office/drawing/2014/main" id="{A6624F7C-AC69-6418-9B86-3833DA1F3D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9004" y="560171"/>
            <a:ext cx="8867775" cy="213360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451B1749-D4E6-5699-DE27-215C3D30B294}"/>
              </a:ext>
            </a:extLst>
          </p:cNvPr>
          <p:cNvSpPr/>
          <p:nvPr/>
        </p:nvSpPr>
        <p:spPr>
          <a:xfrm>
            <a:off x="8302487" y="1932020"/>
            <a:ext cx="327991" cy="27460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5716E64-0D40-2DBE-4F39-26384114C439}"/>
              </a:ext>
            </a:extLst>
          </p:cNvPr>
          <p:cNvSpPr/>
          <p:nvPr/>
        </p:nvSpPr>
        <p:spPr>
          <a:xfrm>
            <a:off x="7348328" y="1938647"/>
            <a:ext cx="327991" cy="27460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6F45A2A-3702-2D77-3526-180A24976F9D}"/>
              </a:ext>
            </a:extLst>
          </p:cNvPr>
          <p:cNvSpPr/>
          <p:nvPr/>
        </p:nvSpPr>
        <p:spPr>
          <a:xfrm>
            <a:off x="7321824" y="1342299"/>
            <a:ext cx="327991" cy="27460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943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13EFA6C3-82DC-4131-9929-2523E6FD0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FD7D38-5618-1BD8-5A48-A10F8E1C1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390" y="341489"/>
            <a:ext cx="6358430" cy="1330839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Palatino Linotype" panose="02040502050505030304" pitchFamily="18" charset="0"/>
                <a:ea typeface="+mn-ea"/>
                <a:cs typeface="+mn-cs"/>
              </a:rPr>
              <a:t>Uso de los resultados de la evaluación de riesgo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EC9469E-14CA-4358-BABC-CBF836A61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869680" cy="767978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48EB4C9-ACAF-4CCA-BA6E-9314431923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5753" y="6027658"/>
            <a:ext cx="7906247" cy="830343"/>
          </a:xfrm>
          <a:custGeom>
            <a:avLst/>
            <a:gdLst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127968 w 6884912"/>
              <a:gd name="connsiteY58" fmla="*/ 287613 h 1161397"/>
              <a:gd name="connsiteX59" fmla="*/ 3222191 w 6884912"/>
              <a:gd name="connsiteY59" fmla="*/ 307887 h 1161397"/>
              <a:gd name="connsiteX60" fmla="*/ 3227953 w 6884912"/>
              <a:gd name="connsiteY60" fmla="*/ 297650 h 1161397"/>
              <a:gd name="connsiteX61" fmla="*/ 3287859 w 6884912"/>
              <a:gd name="connsiteY61" fmla="*/ 287558 h 1161397"/>
              <a:gd name="connsiteX62" fmla="*/ 3510042 w 6884912"/>
              <a:gd name="connsiteY62" fmla="*/ 311820 h 1161397"/>
              <a:gd name="connsiteX63" fmla="*/ 3626773 w 6884912"/>
              <a:gd name="connsiteY63" fmla="*/ 290452 h 1161397"/>
              <a:gd name="connsiteX64" fmla="*/ 3666217 w 6884912"/>
              <a:gd name="connsiteY64" fmla="*/ 273255 h 1161397"/>
              <a:gd name="connsiteX65" fmla="*/ 3732427 w 6884912"/>
              <a:gd name="connsiteY65" fmla="*/ 245039 h 1161397"/>
              <a:gd name="connsiteX66" fmla="*/ 3777022 w 6884912"/>
              <a:gd name="connsiteY66" fmla="*/ 200276 h 1161397"/>
              <a:gd name="connsiteX67" fmla="*/ 3791246 w 6884912"/>
              <a:gd name="connsiteY67" fmla="*/ 189996 h 1161397"/>
              <a:gd name="connsiteX68" fmla="*/ 3819864 w 6884912"/>
              <a:gd name="connsiteY68" fmla="*/ 194605 h 1161397"/>
              <a:gd name="connsiteX69" fmla="*/ 3830398 w 6884912"/>
              <a:gd name="connsiteY69" fmla="*/ 188383 h 1161397"/>
              <a:gd name="connsiteX70" fmla="*/ 3834360 w 6884912"/>
              <a:gd name="connsiteY70" fmla="*/ 188992 h 1161397"/>
              <a:gd name="connsiteX71" fmla="*/ 3843715 w 6884912"/>
              <a:gd name="connsiteY71" fmla="*/ 188752 h 1161397"/>
              <a:gd name="connsiteX72" fmla="*/ 3842609 w 6884912"/>
              <a:gd name="connsiteY72" fmla="*/ 197386 h 1161397"/>
              <a:gd name="connsiteX73" fmla="*/ 3853961 w 6884912"/>
              <a:gd name="connsiteY73" fmla="*/ 213380 h 1161397"/>
              <a:gd name="connsiteX74" fmla="*/ 3907640 w 6884912"/>
              <a:gd name="connsiteY74" fmla="*/ 207568 h 1161397"/>
              <a:gd name="connsiteX75" fmla="*/ 3910449 w 6884912"/>
              <a:gd name="connsiteY75" fmla="*/ 197808 h 1161397"/>
              <a:gd name="connsiteX76" fmla="*/ 3917197 w 6884912"/>
              <a:gd name="connsiteY76" fmla="*/ 196121 h 1161397"/>
              <a:gd name="connsiteX77" fmla="*/ 3922400 w 6884912"/>
              <a:gd name="connsiteY77" fmla="*/ 205056 h 1161397"/>
              <a:gd name="connsiteX78" fmla="*/ 4013061 w 6884912"/>
              <a:gd name="connsiteY78" fmla="*/ 224874 h 1161397"/>
              <a:gd name="connsiteX79" fmla="*/ 4134285 w 6884912"/>
              <a:gd name="connsiteY79" fmla="*/ 235592 h 1161397"/>
              <a:gd name="connsiteX80" fmla="*/ 4220717 w 6884912"/>
              <a:gd name="connsiteY80" fmla="*/ 192946 h 1161397"/>
              <a:gd name="connsiteX81" fmla="*/ 4228802 w 6884912"/>
              <a:gd name="connsiteY81" fmla="*/ 201468 h 1161397"/>
              <a:gd name="connsiteX82" fmla="*/ 4289361 w 6884912"/>
              <a:gd name="connsiteY82" fmla="*/ 196642 h 1161397"/>
              <a:gd name="connsiteX83" fmla="*/ 4498913 w 6884912"/>
              <a:gd name="connsiteY83" fmla="*/ 118915 h 1161397"/>
              <a:gd name="connsiteX84" fmla="*/ 4617330 w 6884912"/>
              <a:gd name="connsiteY84" fmla="*/ 111163 h 1161397"/>
              <a:gd name="connsiteX85" fmla="*/ 4659778 w 6884912"/>
              <a:gd name="connsiteY85" fmla="*/ 118219 h 1161397"/>
              <a:gd name="connsiteX86" fmla="*/ 4730870 w 6884912"/>
              <a:gd name="connsiteY86" fmla="*/ 129432 h 1161397"/>
              <a:gd name="connsiteX87" fmla="*/ 4785037 w 6884912"/>
              <a:gd name="connsiteY87" fmla="*/ 161964 h 1161397"/>
              <a:gd name="connsiteX88" fmla="*/ 4844073 w 6884912"/>
              <a:gd name="connsiteY88" fmla="*/ 161768 h 1161397"/>
              <a:gd name="connsiteX89" fmla="*/ 4856454 w 6884912"/>
              <a:gd name="connsiteY89" fmla="*/ 130488 h 1161397"/>
              <a:gd name="connsiteX90" fmla="*/ 4920038 w 6884912"/>
              <a:gd name="connsiteY90" fmla="*/ 140418 h 1161397"/>
              <a:gd name="connsiteX91" fmla="*/ 5016639 w 6884912"/>
              <a:gd name="connsiteY91" fmla="*/ 158905 h 1161397"/>
              <a:gd name="connsiteX92" fmla="*/ 5072009 w 6884912"/>
              <a:gd name="connsiteY92" fmla="*/ 161502 h 1161397"/>
              <a:gd name="connsiteX93" fmla="*/ 5223626 w 6884912"/>
              <a:gd name="connsiteY93" fmla="*/ 177356 h 1161397"/>
              <a:gd name="connsiteX94" fmla="*/ 5375773 w 6884912"/>
              <a:gd name="connsiteY94" fmla="*/ 199913 h 1161397"/>
              <a:gd name="connsiteX95" fmla="*/ 5467502 w 6884912"/>
              <a:gd name="connsiteY95" fmla="*/ 250963 h 1161397"/>
              <a:gd name="connsiteX96" fmla="*/ 5592395 w 6884912"/>
              <a:gd name="connsiteY96" fmla="*/ 265434 h 1161397"/>
              <a:gd name="connsiteX97" fmla="*/ 5613532 w 6884912"/>
              <a:gd name="connsiteY97" fmla="*/ 273379 h 1161397"/>
              <a:gd name="connsiteX98" fmla="*/ 5642173 w 6884912"/>
              <a:gd name="connsiteY98" fmla="*/ 266904 h 1161397"/>
              <a:gd name="connsiteX99" fmla="*/ 5756910 w 6884912"/>
              <a:gd name="connsiteY99" fmla="*/ 239211 h 1161397"/>
              <a:gd name="connsiteX100" fmla="*/ 5846667 w 6884912"/>
              <a:gd name="connsiteY100" fmla="*/ 201786 h 1161397"/>
              <a:gd name="connsiteX101" fmla="*/ 5960732 w 6884912"/>
              <a:gd name="connsiteY101" fmla="*/ 220708 h 1161397"/>
              <a:gd name="connsiteX102" fmla="*/ 6029542 w 6884912"/>
              <a:gd name="connsiteY102" fmla="*/ 210339 h 1161397"/>
              <a:gd name="connsiteX103" fmla="*/ 6141123 w 6884912"/>
              <a:gd name="connsiteY103" fmla="*/ 159923 h 1161397"/>
              <a:gd name="connsiteX104" fmla="*/ 6290640 w 6884912"/>
              <a:gd name="connsiteY104" fmla="*/ 167441 h 1161397"/>
              <a:gd name="connsiteX105" fmla="*/ 6322806 w 6884912"/>
              <a:gd name="connsiteY105" fmla="*/ 213293 h 1161397"/>
              <a:gd name="connsiteX106" fmla="*/ 6364914 w 6884912"/>
              <a:gd name="connsiteY106" fmla="*/ 240140 h 1161397"/>
              <a:gd name="connsiteX107" fmla="*/ 6380420 w 6884912"/>
              <a:gd name="connsiteY107" fmla="*/ 173195 h 1161397"/>
              <a:gd name="connsiteX108" fmla="*/ 6507891 w 6884912"/>
              <a:gd name="connsiteY108" fmla="*/ 118474 h 1161397"/>
              <a:gd name="connsiteX109" fmla="*/ 6571807 w 6884912"/>
              <a:gd name="connsiteY109" fmla="*/ 98636 h 1161397"/>
              <a:gd name="connsiteX110" fmla="*/ 6671880 w 6884912"/>
              <a:gd name="connsiteY110" fmla="*/ 82931 h 1161397"/>
              <a:gd name="connsiteX111" fmla="*/ 6702266 w 6884912"/>
              <a:gd name="connsiteY111" fmla="*/ 75470 h 1161397"/>
              <a:gd name="connsiteX112" fmla="*/ 6845802 w 6884912"/>
              <a:gd name="connsiteY112" fmla="*/ 24496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222191 w 6884912"/>
              <a:gd name="connsiteY58" fmla="*/ 307887 h 1161397"/>
              <a:gd name="connsiteX59" fmla="*/ 3227953 w 6884912"/>
              <a:gd name="connsiteY59" fmla="*/ 297650 h 1161397"/>
              <a:gd name="connsiteX60" fmla="*/ 3287859 w 6884912"/>
              <a:gd name="connsiteY60" fmla="*/ 287558 h 1161397"/>
              <a:gd name="connsiteX61" fmla="*/ 3510042 w 6884912"/>
              <a:gd name="connsiteY61" fmla="*/ 311820 h 1161397"/>
              <a:gd name="connsiteX62" fmla="*/ 3626773 w 6884912"/>
              <a:gd name="connsiteY62" fmla="*/ 290452 h 1161397"/>
              <a:gd name="connsiteX63" fmla="*/ 3666217 w 6884912"/>
              <a:gd name="connsiteY63" fmla="*/ 273255 h 1161397"/>
              <a:gd name="connsiteX64" fmla="*/ 3732427 w 6884912"/>
              <a:gd name="connsiteY64" fmla="*/ 245039 h 1161397"/>
              <a:gd name="connsiteX65" fmla="*/ 3777022 w 6884912"/>
              <a:gd name="connsiteY65" fmla="*/ 200276 h 1161397"/>
              <a:gd name="connsiteX66" fmla="*/ 3791246 w 6884912"/>
              <a:gd name="connsiteY66" fmla="*/ 189996 h 1161397"/>
              <a:gd name="connsiteX67" fmla="*/ 3819864 w 6884912"/>
              <a:gd name="connsiteY67" fmla="*/ 194605 h 1161397"/>
              <a:gd name="connsiteX68" fmla="*/ 3830398 w 6884912"/>
              <a:gd name="connsiteY68" fmla="*/ 188383 h 1161397"/>
              <a:gd name="connsiteX69" fmla="*/ 3834360 w 6884912"/>
              <a:gd name="connsiteY69" fmla="*/ 188992 h 1161397"/>
              <a:gd name="connsiteX70" fmla="*/ 3843715 w 6884912"/>
              <a:gd name="connsiteY70" fmla="*/ 188752 h 1161397"/>
              <a:gd name="connsiteX71" fmla="*/ 3842609 w 6884912"/>
              <a:gd name="connsiteY71" fmla="*/ 197386 h 1161397"/>
              <a:gd name="connsiteX72" fmla="*/ 3853961 w 6884912"/>
              <a:gd name="connsiteY72" fmla="*/ 213380 h 1161397"/>
              <a:gd name="connsiteX73" fmla="*/ 3907640 w 6884912"/>
              <a:gd name="connsiteY73" fmla="*/ 207568 h 1161397"/>
              <a:gd name="connsiteX74" fmla="*/ 3910449 w 6884912"/>
              <a:gd name="connsiteY74" fmla="*/ 197808 h 1161397"/>
              <a:gd name="connsiteX75" fmla="*/ 3917197 w 6884912"/>
              <a:gd name="connsiteY75" fmla="*/ 196121 h 1161397"/>
              <a:gd name="connsiteX76" fmla="*/ 3922400 w 6884912"/>
              <a:gd name="connsiteY76" fmla="*/ 205056 h 1161397"/>
              <a:gd name="connsiteX77" fmla="*/ 4013061 w 6884912"/>
              <a:gd name="connsiteY77" fmla="*/ 224874 h 1161397"/>
              <a:gd name="connsiteX78" fmla="*/ 4134285 w 6884912"/>
              <a:gd name="connsiteY78" fmla="*/ 235592 h 1161397"/>
              <a:gd name="connsiteX79" fmla="*/ 4220717 w 6884912"/>
              <a:gd name="connsiteY79" fmla="*/ 192946 h 1161397"/>
              <a:gd name="connsiteX80" fmla="*/ 4228802 w 6884912"/>
              <a:gd name="connsiteY80" fmla="*/ 201468 h 1161397"/>
              <a:gd name="connsiteX81" fmla="*/ 4289361 w 6884912"/>
              <a:gd name="connsiteY81" fmla="*/ 196642 h 1161397"/>
              <a:gd name="connsiteX82" fmla="*/ 4498913 w 6884912"/>
              <a:gd name="connsiteY82" fmla="*/ 118915 h 1161397"/>
              <a:gd name="connsiteX83" fmla="*/ 4617330 w 6884912"/>
              <a:gd name="connsiteY83" fmla="*/ 111163 h 1161397"/>
              <a:gd name="connsiteX84" fmla="*/ 4659778 w 6884912"/>
              <a:gd name="connsiteY84" fmla="*/ 118219 h 1161397"/>
              <a:gd name="connsiteX85" fmla="*/ 4730870 w 6884912"/>
              <a:gd name="connsiteY85" fmla="*/ 129432 h 1161397"/>
              <a:gd name="connsiteX86" fmla="*/ 4785037 w 6884912"/>
              <a:gd name="connsiteY86" fmla="*/ 161964 h 1161397"/>
              <a:gd name="connsiteX87" fmla="*/ 4844073 w 6884912"/>
              <a:gd name="connsiteY87" fmla="*/ 161768 h 1161397"/>
              <a:gd name="connsiteX88" fmla="*/ 4856454 w 6884912"/>
              <a:gd name="connsiteY88" fmla="*/ 130488 h 1161397"/>
              <a:gd name="connsiteX89" fmla="*/ 4920038 w 6884912"/>
              <a:gd name="connsiteY89" fmla="*/ 140418 h 1161397"/>
              <a:gd name="connsiteX90" fmla="*/ 5016639 w 6884912"/>
              <a:gd name="connsiteY90" fmla="*/ 158905 h 1161397"/>
              <a:gd name="connsiteX91" fmla="*/ 5072009 w 6884912"/>
              <a:gd name="connsiteY91" fmla="*/ 161502 h 1161397"/>
              <a:gd name="connsiteX92" fmla="*/ 5223626 w 6884912"/>
              <a:gd name="connsiteY92" fmla="*/ 177356 h 1161397"/>
              <a:gd name="connsiteX93" fmla="*/ 5375773 w 6884912"/>
              <a:gd name="connsiteY93" fmla="*/ 199913 h 1161397"/>
              <a:gd name="connsiteX94" fmla="*/ 5467502 w 6884912"/>
              <a:gd name="connsiteY94" fmla="*/ 250963 h 1161397"/>
              <a:gd name="connsiteX95" fmla="*/ 5592395 w 6884912"/>
              <a:gd name="connsiteY95" fmla="*/ 265434 h 1161397"/>
              <a:gd name="connsiteX96" fmla="*/ 5613532 w 6884912"/>
              <a:gd name="connsiteY96" fmla="*/ 273379 h 1161397"/>
              <a:gd name="connsiteX97" fmla="*/ 5642173 w 6884912"/>
              <a:gd name="connsiteY97" fmla="*/ 266904 h 1161397"/>
              <a:gd name="connsiteX98" fmla="*/ 5756910 w 6884912"/>
              <a:gd name="connsiteY98" fmla="*/ 239211 h 1161397"/>
              <a:gd name="connsiteX99" fmla="*/ 5846667 w 6884912"/>
              <a:gd name="connsiteY99" fmla="*/ 201786 h 1161397"/>
              <a:gd name="connsiteX100" fmla="*/ 5960732 w 6884912"/>
              <a:gd name="connsiteY100" fmla="*/ 220708 h 1161397"/>
              <a:gd name="connsiteX101" fmla="*/ 6029542 w 6884912"/>
              <a:gd name="connsiteY101" fmla="*/ 210339 h 1161397"/>
              <a:gd name="connsiteX102" fmla="*/ 6141123 w 6884912"/>
              <a:gd name="connsiteY102" fmla="*/ 159923 h 1161397"/>
              <a:gd name="connsiteX103" fmla="*/ 6290640 w 6884912"/>
              <a:gd name="connsiteY103" fmla="*/ 167441 h 1161397"/>
              <a:gd name="connsiteX104" fmla="*/ 6322806 w 6884912"/>
              <a:gd name="connsiteY104" fmla="*/ 213293 h 1161397"/>
              <a:gd name="connsiteX105" fmla="*/ 6364914 w 6884912"/>
              <a:gd name="connsiteY105" fmla="*/ 240140 h 1161397"/>
              <a:gd name="connsiteX106" fmla="*/ 6380420 w 6884912"/>
              <a:gd name="connsiteY106" fmla="*/ 173195 h 1161397"/>
              <a:gd name="connsiteX107" fmla="*/ 6507891 w 6884912"/>
              <a:gd name="connsiteY107" fmla="*/ 118474 h 1161397"/>
              <a:gd name="connsiteX108" fmla="*/ 6571807 w 6884912"/>
              <a:gd name="connsiteY108" fmla="*/ 98636 h 1161397"/>
              <a:gd name="connsiteX109" fmla="*/ 6671880 w 6884912"/>
              <a:gd name="connsiteY109" fmla="*/ 82931 h 1161397"/>
              <a:gd name="connsiteX110" fmla="*/ 6702266 w 6884912"/>
              <a:gd name="connsiteY110" fmla="*/ 75470 h 1161397"/>
              <a:gd name="connsiteX111" fmla="*/ 6845802 w 6884912"/>
              <a:gd name="connsiteY111" fmla="*/ 24496 h 1161397"/>
              <a:gd name="connsiteX112" fmla="*/ 6884912 w 6884912"/>
              <a:gd name="connsiteY112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222191 w 6884912"/>
              <a:gd name="connsiteY58" fmla="*/ 307887 h 1161397"/>
              <a:gd name="connsiteX59" fmla="*/ 3227953 w 6884912"/>
              <a:gd name="connsiteY59" fmla="*/ 297650 h 1161397"/>
              <a:gd name="connsiteX60" fmla="*/ 3287859 w 6884912"/>
              <a:gd name="connsiteY60" fmla="*/ 287558 h 1161397"/>
              <a:gd name="connsiteX61" fmla="*/ 3510042 w 6884912"/>
              <a:gd name="connsiteY61" fmla="*/ 311820 h 1161397"/>
              <a:gd name="connsiteX62" fmla="*/ 3626773 w 6884912"/>
              <a:gd name="connsiteY62" fmla="*/ 290452 h 1161397"/>
              <a:gd name="connsiteX63" fmla="*/ 3666217 w 6884912"/>
              <a:gd name="connsiteY63" fmla="*/ 273255 h 1161397"/>
              <a:gd name="connsiteX64" fmla="*/ 3732427 w 6884912"/>
              <a:gd name="connsiteY64" fmla="*/ 245039 h 1161397"/>
              <a:gd name="connsiteX65" fmla="*/ 3777022 w 6884912"/>
              <a:gd name="connsiteY65" fmla="*/ 200276 h 1161397"/>
              <a:gd name="connsiteX66" fmla="*/ 3791246 w 6884912"/>
              <a:gd name="connsiteY66" fmla="*/ 189996 h 1161397"/>
              <a:gd name="connsiteX67" fmla="*/ 3819864 w 6884912"/>
              <a:gd name="connsiteY67" fmla="*/ 194605 h 1161397"/>
              <a:gd name="connsiteX68" fmla="*/ 3830398 w 6884912"/>
              <a:gd name="connsiteY68" fmla="*/ 188383 h 1161397"/>
              <a:gd name="connsiteX69" fmla="*/ 3834360 w 6884912"/>
              <a:gd name="connsiteY69" fmla="*/ 188992 h 1161397"/>
              <a:gd name="connsiteX70" fmla="*/ 3843715 w 6884912"/>
              <a:gd name="connsiteY70" fmla="*/ 188752 h 1161397"/>
              <a:gd name="connsiteX71" fmla="*/ 3842609 w 6884912"/>
              <a:gd name="connsiteY71" fmla="*/ 197386 h 1161397"/>
              <a:gd name="connsiteX72" fmla="*/ 3853961 w 6884912"/>
              <a:gd name="connsiteY72" fmla="*/ 213380 h 1161397"/>
              <a:gd name="connsiteX73" fmla="*/ 3907640 w 6884912"/>
              <a:gd name="connsiteY73" fmla="*/ 207568 h 1161397"/>
              <a:gd name="connsiteX74" fmla="*/ 3910449 w 6884912"/>
              <a:gd name="connsiteY74" fmla="*/ 197808 h 1161397"/>
              <a:gd name="connsiteX75" fmla="*/ 3917197 w 6884912"/>
              <a:gd name="connsiteY75" fmla="*/ 196121 h 1161397"/>
              <a:gd name="connsiteX76" fmla="*/ 3922400 w 6884912"/>
              <a:gd name="connsiteY76" fmla="*/ 205056 h 1161397"/>
              <a:gd name="connsiteX77" fmla="*/ 4013061 w 6884912"/>
              <a:gd name="connsiteY77" fmla="*/ 224874 h 1161397"/>
              <a:gd name="connsiteX78" fmla="*/ 4220717 w 6884912"/>
              <a:gd name="connsiteY78" fmla="*/ 192946 h 1161397"/>
              <a:gd name="connsiteX79" fmla="*/ 4228802 w 6884912"/>
              <a:gd name="connsiteY79" fmla="*/ 201468 h 1161397"/>
              <a:gd name="connsiteX80" fmla="*/ 4289361 w 6884912"/>
              <a:gd name="connsiteY80" fmla="*/ 196642 h 1161397"/>
              <a:gd name="connsiteX81" fmla="*/ 4498913 w 6884912"/>
              <a:gd name="connsiteY81" fmla="*/ 118915 h 1161397"/>
              <a:gd name="connsiteX82" fmla="*/ 4617330 w 6884912"/>
              <a:gd name="connsiteY82" fmla="*/ 111163 h 1161397"/>
              <a:gd name="connsiteX83" fmla="*/ 4659778 w 6884912"/>
              <a:gd name="connsiteY83" fmla="*/ 118219 h 1161397"/>
              <a:gd name="connsiteX84" fmla="*/ 4730870 w 6884912"/>
              <a:gd name="connsiteY84" fmla="*/ 129432 h 1161397"/>
              <a:gd name="connsiteX85" fmla="*/ 4785037 w 6884912"/>
              <a:gd name="connsiteY85" fmla="*/ 161964 h 1161397"/>
              <a:gd name="connsiteX86" fmla="*/ 4844073 w 6884912"/>
              <a:gd name="connsiteY86" fmla="*/ 161768 h 1161397"/>
              <a:gd name="connsiteX87" fmla="*/ 4856454 w 6884912"/>
              <a:gd name="connsiteY87" fmla="*/ 130488 h 1161397"/>
              <a:gd name="connsiteX88" fmla="*/ 4920038 w 6884912"/>
              <a:gd name="connsiteY88" fmla="*/ 140418 h 1161397"/>
              <a:gd name="connsiteX89" fmla="*/ 5016639 w 6884912"/>
              <a:gd name="connsiteY89" fmla="*/ 158905 h 1161397"/>
              <a:gd name="connsiteX90" fmla="*/ 5072009 w 6884912"/>
              <a:gd name="connsiteY90" fmla="*/ 161502 h 1161397"/>
              <a:gd name="connsiteX91" fmla="*/ 5223626 w 6884912"/>
              <a:gd name="connsiteY91" fmla="*/ 177356 h 1161397"/>
              <a:gd name="connsiteX92" fmla="*/ 5375773 w 6884912"/>
              <a:gd name="connsiteY92" fmla="*/ 199913 h 1161397"/>
              <a:gd name="connsiteX93" fmla="*/ 5467502 w 6884912"/>
              <a:gd name="connsiteY93" fmla="*/ 250963 h 1161397"/>
              <a:gd name="connsiteX94" fmla="*/ 5592395 w 6884912"/>
              <a:gd name="connsiteY94" fmla="*/ 265434 h 1161397"/>
              <a:gd name="connsiteX95" fmla="*/ 5613532 w 6884912"/>
              <a:gd name="connsiteY95" fmla="*/ 273379 h 1161397"/>
              <a:gd name="connsiteX96" fmla="*/ 5642173 w 6884912"/>
              <a:gd name="connsiteY96" fmla="*/ 266904 h 1161397"/>
              <a:gd name="connsiteX97" fmla="*/ 5756910 w 6884912"/>
              <a:gd name="connsiteY97" fmla="*/ 239211 h 1161397"/>
              <a:gd name="connsiteX98" fmla="*/ 5846667 w 6884912"/>
              <a:gd name="connsiteY98" fmla="*/ 201786 h 1161397"/>
              <a:gd name="connsiteX99" fmla="*/ 5960732 w 6884912"/>
              <a:gd name="connsiteY99" fmla="*/ 220708 h 1161397"/>
              <a:gd name="connsiteX100" fmla="*/ 6029542 w 6884912"/>
              <a:gd name="connsiteY100" fmla="*/ 210339 h 1161397"/>
              <a:gd name="connsiteX101" fmla="*/ 6141123 w 6884912"/>
              <a:gd name="connsiteY101" fmla="*/ 159923 h 1161397"/>
              <a:gd name="connsiteX102" fmla="*/ 6290640 w 6884912"/>
              <a:gd name="connsiteY102" fmla="*/ 167441 h 1161397"/>
              <a:gd name="connsiteX103" fmla="*/ 6322806 w 6884912"/>
              <a:gd name="connsiteY103" fmla="*/ 213293 h 1161397"/>
              <a:gd name="connsiteX104" fmla="*/ 6364914 w 6884912"/>
              <a:gd name="connsiteY104" fmla="*/ 240140 h 1161397"/>
              <a:gd name="connsiteX105" fmla="*/ 6380420 w 6884912"/>
              <a:gd name="connsiteY105" fmla="*/ 173195 h 1161397"/>
              <a:gd name="connsiteX106" fmla="*/ 6507891 w 6884912"/>
              <a:gd name="connsiteY106" fmla="*/ 118474 h 1161397"/>
              <a:gd name="connsiteX107" fmla="*/ 6571807 w 6884912"/>
              <a:gd name="connsiteY107" fmla="*/ 98636 h 1161397"/>
              <a:gd name="connsiteX108" fmla="*/ 6671880 w 6884912"/>
              <a:gd name="connsiteY108" fmla="*/ 82931 h 1161397"/>
              <a:gd name="connsiteX109" fmla="*/ 6702266 w 6884912"/>
              <a:gd name="connsiteY109" fmla="*/ 75470 h 1161397"/>
              <a:gd name="connsiteX110" fmla="*/ 6845802 w 6884912"/>
              <a:gd name="connsiteY110" fmla="*/ 24496 h 1161397"/>
              <a:gd name="connsiteX111" fmla="*/ 6884912 w 6884912"/>
              <a:gd name="connsiteY111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222191 w 6884912"/>
              <a:gd name="connsiteY58" fmla="*/ 307887 h 1161397"/>
              <a:gd name="connsiteX59" fmla="*/ 3227953 w 6884912"/>
              <a:gd name="connsiteY59" fmla="*/ 297650 h 1161397"/>
              <a:gd name="connsiteX60" fmla="*/ 3287859 w 6884912"/>
              <a:gd name="connsiteY60" fmla="*/ 287558 h 1161397"/>
              <a:gd name="connsiteX61" fmla="*/ 3510042 w 6884912"/>
              <a:gd name="connsiteY61" fmla="*/ 311820 h 1161397"/>
              <a:gd name="connsiteX62" fmla="*/ 3626773 w 6884912"/>
              <a:gd name="connsiteY62" fmla="*/ 290452 h 1161397"/>
              <a:gd name="connsiteX63" fmla="*/ 3666217 w 6884912"/>
              <a:gd name="connsiteY63" fmla="*/ 273255 h 1161397"/>
              <a:gd name="connsiteX64" fmla="*/ 3732427 w 6884912"/>
              <a:gd name="connsiteY64" fmla="*/ 245039 h 1161397"/>
              <a:gd name="connsiteX65" fmla="*/ 3777022 w 6884912"/>
              <a:gd name="connsiteY65" fmla="*/ 200276 h 1161397"/>
              <a:gd name="connsiteX66" fmla="*/ 3791246 w 6884912"/>
              <a:gd name="connsiteY66" fmla="*/ 189996 h 1161397"/>
              <a:gd name="connsiteX67" fmla="*/ 3819864 w 6884912"/>
              <a:gd name="connsiteY67" fmla="*/ 194605 h 1161397"/>
              <a:gd name="connsiteX68" fmla="*/ 3830398 w 6884912"/>
              <a:gd name="connsiteY68" fmla="*/ 188383 h 1161397"/>
              <a:gd name="connsiteX69" fmla="*/ 3834360 w 6884912"/>
              <a:gd name="connsiteY69" fmla="*/ 188992 h 1161397"/>
              <a:gd name="connsiteX70" fmla="*/ 3843715 w 6884912"/>
              <a:gd name="connsiteY70" fmla="*/ 188752 h 1161397"/>
              <a:gd name="connsiteX71" fmla="*/ 3842609 w 6884912"/>
              <a:gd name="connsiteY71" fmla="*/ 197386 h 1161397"/>
              <a:gd name="connsiteX72" fmla="*/ 3853961 w 6884912"/>
              <a:gd name="connsiteY72" fmla="*/ 213380 h 1161397"/>
              <a:gd name="connsiteX73" fmla="*/ 3907640 w 6884912"/>
              <a:gd name="connsiteY73" fmla="*/ 207568 h 1161397"/>
              <a:gd name="connsiteX74" fmla="*/ 3910449 w 6884912"/>
              <a:gd name="connsiteY74" fmla="*/ 197808 h 1161397"/>
              <a:gd name="connsiteX75" fmla="*/ 3917197 w 6884912"/>
              <a:gd name="connsiteY75" fmla="*/ 196121 h 1161397"/>
              <a:gd name="connsiteX76" fmla="*/ 3922400 w 6884912"/>
              <a:gd name="connsiteY76" fmla="*/ 205056 h 1161397"/>
              <a:gd name="connsiteX77" fmla="*/ 4013061 w 6884912"/>
              <a:gd name="connsiteY77" fmla="*/ 224874 h 1161397"/>
              <a:gd name="connsiteX78" fmla="*/ 4220717 w 6884912"/>
              <a:gd name="connsiteY78" fmla="*/ 192946 h 1161397"/>
              <a:gd name="connsiteX79" fmla="*/ 4228802 w 6884912"/>
              <a:gd name="connsiteY79" fmla="*/ 201468 h 1161397"/>
              <a:gd name="connsiteX80" fmla="*/ 4289361 w 6884912"/>
              <a:gd name="connsiteY80" fmla="*/ 196642 h 1161397"/>
              <a:gd name="connsiteX81" fmla="*/ 4498913 w 6884912"/>
              <a:gd name="connsiteY81" fmla="*/ 118915 h 1161397"/>
              <a:gd name="connsiteX82" fmla="*/ 4617330 w 6884912"/>
              <a:gd name="connsiteY82" fmla="*/ 111163 h 1161397"/>
              <a:gd name="connsiteX83" fmla="*/ 4659778 w 6884912"/>
              <a:gd name="connsiteY83" fmla="*/ 118219 h 1161397"/>
              <a:gd name="connsiteX84" fmla="*/ 4730870 w 6884912"/>
              <a:gd name="connsiteY84" fmla="*/ 129432 h 1161397"/>
              <a:gd name="connsiteX85" fmla="*/ 4785037 w 6884912"/>
              <a:gd name="connsiteY85" fmla="*/ 161964 h 1161397"/>
              <a:gd name="connsiteX86" fmla="*/ 4844073 w 6884912"/>
              <a:gd name="connsiteY86" fmla="*/ 161768 h 1161397"/>
              <a:gd name="connsiteX87" fmla="*/ 4856454 w 6884912"/>
              <a:gd name="connsiteY87" fmla="*/ 130488 h 1161397"/>
              <a:gd name="connsiteX88" fmla="*/ 4920038 w 6884912"/>
              <a:gd name="connsiteY88" fmla="*/ 140418 h 1161397"/>
              <a:gd name="connsiteX89" fmla="*/ 5016639 w 6884912"/>
              <a:gd name="connsiteY89" fmla="*/ 158905 h 1161397"/>
              <a:gd name="connsiteX90" fmla="*/ 5072009 w 6884912"/>
              <a:gd name="connsiteY90" fmla="*/ 161502 h 1161397"/>
              <a:gd name="connsiteX91" fmla="*/ 5223626 w 6884912"/>
              <a:gd name="connsiteY91" fmla="*/ 177356 h 1161397"/>
              <a:gd name="connsiteX92" fmla="*/ 5375773 w 6884912"/>
              <a:gd name="connsiteY92" fmla="*/ 199913 h 1161397"/>
              <a:gd name="connsiteX93" fmla="*/ 5467502 w 6884912"/>
              <a:gd name="connsiteY93" fmla="*/ 250963 h 1161397"/>
              <a:gd name="connsiteX94" fmla="*/ 5592395 w 6884912"/>
              <a:gd name="connsiteY94" fmla="*/ 265434 h 1161397"/>
              <a:gd name="connsiteX95" fmla="*/ 5613532 w 6884912"/>
              <a:gd name="connsiteY95" fmla="*/ 273379 h 1161397"/>
              <a:gd name="connsiteX96" fmla="*/ 5642173 w 6884912"/>
              <a:gd name="connsiteY96" fmla="*/ 266904 h 1161397"/>
              <a:gd name="connsiteX97" fmla="*/ 5756910 w 6884912"/>
              <a:gd name="connsiteY97" fmla="*/ 239211 h 1161397"/>
              <a:gd name="connsiteX98" fmla="*/ 5846667 w 6884912"/>
              <a:gd name="connsiteY98" fmla="*/ 201786 h 1161397"/>
              <a:gd name="connsiteX99" fmla="*/ 5960732 w 6884912"/>
              <a:gd name="connsiteY99" fmla="*/ 220708 h 1161397"/>
              <a:gd name="connsiteX100" fmla="*/ 6029542 w 6884912"/>
              <a:gd name="connsiteY100" fmla="*/ 210339 h 1161397"/>
              <a:gd name="connsiteX101" fmla="*/ 6141123 w 6884912"/>
              <a:gd name="connsiteY101" fmla="*/ 159923 h 1161397"/>
              <a:gd name="connsiteX102" fmla="*/ 6290640 w 6884912"/>
              <a:gd name="connsiteY102" fmla="*/ 167441 h 1161397"/>
              <a:gd name="connsiteX103" fmla="*/ 6322806 w 6884912"/>
              <a:gd name="connsiteY103" fmla="*/ 213293 h 1161397"/>
              <a:gd name="connsiteX104" fmla="*/ 6380420 w 6884912"/>
              <a:gd name="connsiteY104" fmla="*/ 173195 h 1161397"/>
              <a:gd name="connsiteX105" fmla="*/ 6507891 w 6884912"/>
              <a:gd name="connsiteY105" fmla="*/ 118474 h 1161397"/>
              <a:gd name="connsiteX106" fmla="*/ 6571807 w 6884912"/>
              <a:gd name="connsiteY106" fmla="*/ 98636 h 1161397"/>
              <a:gd name="connsiteX107" fmla="*/ 6671880 w 6884912"/>
              <a:gd name="connsiteY107" fmla="*/ 82931 h 1161397"/>
              <a:gd name="connsiteX108" fmla="*/ 6702266 w 6884912"/>
              <a:gd name="connsiteY108" fmla="*/ 75470 h 1161397"/>
              <a:gd name="connsiteX109" fmla="*/ 6845802 w 6884912"/>
              <a:gd name="connsiteY109" fmla="*/ 24496 h 1161397"/>
              <a:gd name="connsiteX110" fmla="*/ 6884912 w 6884912"/>
              <a:gd name="connsiteY110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222191 w 6884912"/>
              <a:gd name="connsiteY58" fmla="*/ 307887 h 1161397"/>
              <a:gd name="connsiteX59" fmla="*/ 3227953 w 6884912"/>
              <a:gd name="connsiteY59" fmla="*/ 297650 h 1161397"/>
              <a:gd name="connsiteX60" fmla="*/ 3510042 w 6884912"/>
              <a:gd name="connsiteY60" fmla="*/ 311820 h 1161397"/>
              <a:gd name="connsiteX61" fmla="*/ 3626773 w 6884912"/>
              <a:gd name="connsiteY61" fmla="*/ 290452 h 1161397"/>
              <a:gd name="connsiteX62" fmla="*/ 3666217 w 6884912"/>
              <a:gd name="connsiteY62" fmla="*/ 273255 h 1161397"/>
              <a:gd name="connsiteX63" fmla="*/ 3732427 w 6884912"/>
              <a:gd name="connsiteY63" fmla="*/ 245039 h 1161397"/>
              <a:gd name="connsiteX64" fmla="*/ 3777022 w 6884912"/>
              <a:gd name="connsiteY64" fmla="*/ 200276 h 1161397"/>
              <a:gd name="connsiteX65" fmla="*/ 3791246 w 6884912"/>
              <a:gd name="connsiteY65" fmla="*/ 189996 h 1161397"/>
              <a:gd name="connsiteX66" fmla="*/ 3819864 w 6884912"/>
              <a:gd name="connsiteY66" fmla="*/ 194605 h 1161397"/>
              <a:gd name="connsiteX67" fmla="*/ 3830398 w 6884912"/>
              <a:gd name="connsiteY67" fmla="*/ 188383 h 1161397"/>
              <a:gd name="connsiteX68" fmla="*/ 3834360 w 6884912"/>
              <a:gd name="connsiteY68" fmla="*/ 188992 h 1161397"/>
              <a:gd name="connsiteX69" fmla="*/ 3843715 w 6884912"/>
              <a:gd name="connsiteY69" fmla="*/ 188752 h 1161397"/>
              <a:gd name="connsiteX70" fmla="*/ 3842609 w 6884912"/>
              <a:gd name="connsiteY70" fmla="*/ 197386 h 1161397"/>
              <a:gd name="connsiteX71" fmla="*/ 3853961 w 6884912"/>
              <a:gd name="connsiteY71" fmla="*/ 213380 h 1161397"/>
              <a:gd name="connsiteX72" fmla="*/ 3907640 w 6884912"/>
              <a:gd name="connsiteY72" fmla="*/ 207568 h 1161397"/>
              <a:gd name="connsiteX73" fmla="*/ 3910449 w 6884912"/>
              <a:gd name="connsiteY73" fmla="*/ 197808 h 1161397"/>
              <a:gd name="connsiteX74" fmla="*/ 3917197 w 6884912"/>
              <a:gd name="connsiteY74" fmla="*/ 196121 h 1161397"/>
              <a:gd name="connsiteX75" fmla="*/ 3922400 w 6884912"/>
              <a:gd name="connsiteY75" fmla="*/ 205056 h 1161397"/>
              <a:gd name="connsiteX76" fmla="*/ 4013061 w 6884912"/>
              <a:gd name="connsiteY76" fmla="*/ 224874 h 1161397"/>
              <a:gd name="connsiteX77" fmla="*/ 4220717 w 6884912"/>
              <a:gd name="connsiteY77" fmla="*/ 192946 h 1161397"/>
              <a:gd name="connsiteX78" fmla="*/ 4228802 w 6884912"/>
              <a:gd name="connsiteY78" fmla="*/ 201468 h 1161397"/>
              <a:gd name="connsiteX79" fmla="*/ 4289361 w 6884912"/>
              <a:gd name="connsiteY79" fmla="*/ 196642 h 1161397"/>
              <a:gd name="connsiteX80" fmla="*/ 4498913 w 6884912"/>
              <a:gd name="connsiteY80" fmla="*/ 118915 h 1161397"/>
              <a:gd name="connsiteX81" fmla="*/ 4617330 w 6884912"/>
              <a:gd name="connsiteY81" fmla="*/ 111163 h 1161397"/>
              <a:gd name="connsiteX82" fmla="*/ 4659778 w 6884912"/>
              <a:gd name="connsiteY82" fmla="*/ 118219 h 1161397"/>
              <a:gd name="connsiteX83" fmla="*/ 4730870 w 6884912"/>
              <a:gd name="connsiteY83" fmla="*/ 129432 h 1161397"/>
              <a:gd name="connsiteX84" fmla="*/ 4785037 w 6884912"/>
              <a:gd name="connsiteY84" fmla="*/ 161964 h 1161397"/>
              <a:gd name="connsiteX85" fmla="*/ 4844073 w 6884912"/>
              <a:gd name="connsiteY85" fmla="*/ 161768 h 1161397"/>
              <a:gd name="connsiteX86" fmla="*/ 4856454 w 6884912"/>
              <a:gd name="connsiteY86" fmla="*/ 130488 h 1161397"/>
              <a:gd name="connsiteX87" fmla="*/ 4920038 w 6884912"/>
              <a:gd name="connsiteY87" fmla="*/ 140418 h 1161397"/>
              <a:gd name="connsiteX88" fmla="*/ 5016639 w 6884912"/>
              <a:gd name="connsiteY88" fmla="*/ 158905 h 1161397"/>
              <a:gd name="connsiteX89" fmla="*/ 5072009 w 6884912"/>
              <a:gd name="connsiteY89" fmla="*/ 161502 h 1161397"/>
              <a:gd name="connsiteX90" fmla="*/ 5223626 w 6884912"/>
              <a:gd name="connsiteY90" fmla="*/ 177356 h 1161397"/>
              <a:gd name="connsiteX91" fmla="*/ 5375773 w 6884912"/>
              <a:gd name="connsiteY91" fmla="*/ 199913 h 1161397"/>
              <a:gd name="connsiteX92" fmla="*/ 5467502 w 6884912"/>
              <a:gd name="connsiteY92" fmla="*/ 250963 h 1161397"/>
              <a:gd name="connsiteX93" fmla="*/ 5592395 w 6884912"/>
              <a:gd name="connsiteY93" fmla="*/ 265434 h 1161397"/>
              <a:gd name="connsiteX94" fmla="*/ 5613532 w 6884912"/>
              <a:gd name="connsiteY94" fmla="*/ 273379 h 1161397"/>
              <a:gd name="connsiteX95" fmla="*/ 5642173 w 6884912"/>
              <a:gd name="connsiteY95" fmla="*/ 266904 h 1161397"/>
              <a:gd name="connsiteX96" fmla="*/ 5756910 w 6884912"/>
              <a:gd name="connsiteY96" fmla="*/ 239211 h 1161397"/>
              <a:gd name="connsiteX97" fmla="*/ 5846667 w 6884912"/>
              <a:gd name="connsiteY97" fmla="*/ 201786 h 1161397"/>
              <a:gd name="connsiteX98" fmla="*/ 5960732 w 6884912"/>
              <a:gd name="connsiteY98" fmla="*/ 220708 h 1161397"/>
              <a:gd name="connsiteX99" fmla="*/ 6029542 w 6884912"/>
              <a:gd name="connsiteY99" fmla="*/ 210339 h 1161397"/>
              <a:gd name="connsiteX100" fmla="*/ 6141123 w 6884912"/>
              <a:gd name="connsiteY100" fmla="*/ 159923 h 1161397"/>
              <a:gd name="connsiteX101" fmla="*/ 6290640 w 6884912"/>
              <a:gd name="connsiteY101" fmla="*/ 167441 h 1161397"/>
              <a:gd name="connsiteX102" fmla="*/ 6322806 w 6884912"/>
              <a:gd name="connsiteY102" fmla="*/ 213293 h 1161397"/>
              <a:gd name="connsiteX103" fmla="*/ 6380420 w 6884912"/>
              <a:gd name="connsiteY103" fmla="*/ 173195 h 1161397"/>
              <a:gd name="connsiteX104" fmla="*/ 6507891 w 6884912"/>
              <a:gd name="connsiteY104" fmla="*/ 118474 h 1161397"/>
              <a:gd name="connsiteX105" fmla="*/ 6571807 w 6884912"/>
              <a:gd name="connsiteY105" fmla="*/ 98636 h 1161397"/>
              <a:gd name="connsiteX106" fmla="*/ 6671880 w 6884912"/>
              <a:gd name="connsiteY106" fmla="*/ 82931 h 1161397"/>
              <a:gd name="connsiteX107" fmla="*/ 6702266 w 6884912"/>
              <a:gd name="connsiteY107" fmla="*/ 75470 h 1161397"/>
              <a:gd name="connsiteX108" fmla="*/ 6845802 w 6884912"/>
              <a:gd name="connsiteY108" fmla="*/ 24496 h 1161397"/>
              <a:gd name="connsiteX109" fmla="*/ 6884912 w 6884912"/>
              <a:gd name="connsiteY109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376455 w 6884912"/>
              <a:gd name="connsiteY7" fmla="*/ 1137381 h 1161397"/>
              <a:gd name="connsiteX8" fmla="*/ 478946 w 6884912"/>
              <a:gd name="connsiteY8" fmla="*/ 1106011 h 1161397"/>
              <a:gd name="connsiteX9" fmla="*/ 512111 w 6884912"/>
              <a:gd name="connsiteY9" fmla="*/ 1085599 h 1161397"/>
              <a:gd name="connsiteX10" fmla="*/ 567875 w 6884912"/>
              <a:gd name="connsiteY10" fmla="*/ 1051976 h 1161397"/>
              <a:gd name="connsiteX11" fmla="*/ 601644 w 6884912"/>
              <a:gd name="connsiteY11" fmla="*/ 1003997 h 1161397"/>
              <a:gd name="connsiteX12" fmla="*/ 651408 w 6884912"/>
              <a:gd name="connsiteY12" fmla="*/ 984938 h 1161397"/>
              <a:gd name="connsiteX13" fmla="*/ 673197 w 6884912"/>
              <a:gd name="connsiteY13" fmla="*/ 1010060 h 1161397"/>
              <a:gd name="connsiteX14" fmla="*/ 723108 w 6884912"/>
              <a:gd name="connsiteY14" fmla="*/ 980081 h 1161397"/>
              <a:gd name="connsiteX15" fmla="*/ 797699 w 6884912"/>
              <a:gd name="connsiteY15" fmla="*/ 931362 h 1161397"/>
              <a:gd name="connsiteX16" fmla="*/ 843359 w 6884912"/>
              <a:gd name="connsiteY16" fmla="*/ 910894 h 1161397"/>
              <a:gd name="connsiteX17" fmla="*/ 965215 w 6884912"/>
              <a:gd name="connsiteY17" fmla="*/ 846701 h 1161397"/>
              <a:gd name="connsiteX18" fmla="*/ 1085080 w 6884912"/>
              <a:gd name="connsiteY18" fmla="*/ 776086 h 1161397"/>
              <a:gd name="connsiteX19" fmla="*/ 1131224 w 6884912"/>
              <a:gd name="connsiteY19" fmla="*/ 706160 h 1161397"/>
              <a:gd name="connsiteX20" fmla="*/ 1138051 w 6884912"/>
              <a:gd name="connsiteY20" fmla="*/ 702034 h 1161397"/>
              <a:gd name="connsiteX21" fmla="*/ 1158800 w 6884912"/>
              <a:gd name="connsiteY21" fmla="*/ 700004 h 1161397"/>
              <a:gd name="connsiteX22" fmla="*/ 1166947 w 6884912"/>
              <a:gd name="connsiteY22" fmla="*/ 700762 h 1161397"/>
              <a:gd name="connsiteX23" fmla="*/ 1178135 w 6884912"/>
              <a:gd name="connsiteY23" fmla="*/ 698631 h 1161397"/>
              <a:gd name="connsiteX24" fmla="*/ 1178301 w 6884912"/>
              <a:gd name="connsiteY24" fmla="*/ 698094 h 1161397"/>
              <a:gd name="connsiteX25" fmla="*/ 1188995 w 6884912"/>
              <a:gd name="connsiteY25" fmla="*/ 697048 h 1161397"/>
              <a:gd name="connsiteX26" fmla="*/ 1242716 w 6884912"/>
              <a:gd name="connsiteY26" fmla="*/ 698052 h 1161397"/>
              <a:gd name="connsiteX27" fmla="*/ 1299977 w 6884912"/>
              <a:gd name="connsiteY27" fmla="*/ 639196 h 1161397"/>
              <a:gd name="connsiteX28" fmla="*/ 1326190 w 6884912"/>
              <a:gd name="connsiteY28" fmla="*/ 625955 h 1161397"/>
              <a:gd name="connsiteX29" fmla="*/ 1339600 w 6884912"/>
              <a:gd name="connsiteY29" fmla="*/ 616295 h 1161397"/>
              <a:gd name="connsiteX30" fmla="*/ 1340054 w 6884912"/>
              <a:gd name="connsiteY30" fmla="*/ 614022 h 1161397"/>
              <a:gd name="connsiteX31" fmla="*/ 1391606 w 6884912"/>
              <a:gd name="connsiteY31" fmla="*/ 615229 h 1161397"/>
              <a:gd name="connsiteX32" fmla="*/ 1397565 w 6884912"/>
              <a:gd name="connsiteY32" fmla="*/ 611490 h 1161397"/>
              <a:gd name="connsiteX33" fmla="*/ 1432302 w 6884912"/>
              <a:gd name="connsiteY33" fmla="*/ 617267 h 1161397"/>
              <a:gd name="connsiteX34" fmla="*/ 1449644 w 6884912"/>
              <a:gd name="connsiteY34" fmla="*/ 617591 h 1161397"/>
              <a:gd name="connsiteX35" fmla="*/ 1455793 w 6884912"/>
              <a:gd name="connsiteY35" fmla="*/ 623174 h 1161397"/>
              <a:gd name="connsiteX36" fmla="*/ 1480758 w 6884912"/>
              <a:gd name="connsiteY36" fmla="*/ 620863 h 1161397"/>
              <a:gd name="connsiteX37" fmla="*/ 1483154 w 6884912"/>
              <a:gd name="connsiteY37" fmla="*/ 618527 h 1161397"/>
              <a:gd name="connsiteX38" fmla="*/ 1505495 w 6884912"/>
              <a:gd name="connsiteY38" fmla="*/ 624325 h 1161397"/>
              <a:gd name="connsiteX39" fmla="*/ 1526340 w 6884912"/>
              <a:gd name="connsiteY39" fmla="*/ 638496 h 1161397"/>
              <a:gd name="connsiteX40" fmla="*/ 1731986 w 6884912"/>
              <a:gd name="connsiteY40" fmla="*/ 589682 h 1161397"/>
              <a:gd name="connsiteX41" fmla="*/ 1927935 w 6884912"/>
              <a:gd name="connsiteY41" fmla="*/ 628540 h 1161397"/>
              <a:gd name="connsiteX42" fmla="*/ 2039075 w 6884912"/>
              <a:gd name="connsiteY42" fmla="*/ 599964 h 1161397"/>
              <a:gd name="connsiteX43" fmla="*/ 2066980 w 6884912"/>
              <a:gd name="connsiteY43" fmla="*/ 550413 h 1161397"/>
              <a:gd name="connsiteX44" fmla="*/ 2352236 w 6884912"/>
              <a:gd name="connsiteY44" fmla="*/ 519602 h 1161397"/>
              <a:gd name="connsiteX45" fmla="*/ 2420791 w 6884912"/>
              <a:gd name="connsiteY45" fmla="*/ 492826 h 1161397"/>
              <a:gd name="connsiteX46" fmla="*/ 2489932 w 6884912"/>
              <a:gd name="connsiteY46" fmla="*/ 507864 h 1161397"/>
              <a:gd name="connsiteX47" fmla="*/ 2512917 w 6884912"/>
              <a:gd name="connsiteY47" fmla="*/ 489127 h 1161397"/>
              <a:gd name="connsiteX48" fmla="*/ 2516783 w 6884912"/>
              <a:gd name="connsiteY48" fmla="*/ 485473 h 1161397"/>
              <a:gd name="connsiteX49" fmla="*/ 2534360 w 6884912"/>
              <a:gd name="connsiteY49" fmla="*/ 480064 h 1161397"/>
              <a:gd name="connsiteX50" fmla="*/ 2536691 w 6884912"/>
              <a:gd name="connsiteY50" fmla="*/ 467018 h 1161397"/>
              <a:gd name="connsiteX51" fmla="*/ 2561265 w 6884912"/>
              <a:gd name="connsiteY51" fmla="*/ 450623 h 1161397"/>
              <a:gd name="connsiteX52" fmla="*/ 2594349 w 6884912"/>
              <a:gd name="connsiteY52" fmla="*/ 443884 h 1161397"/>
              <a:gd name="connsiteX53" fmla="*/ 2754324 w 6884912"/>
              <a:gd name="connsiteY53" fmla="*/ 424766 h 1161397"/>
              <a:gd name="connsiteX54" fmla="*/ 2848470 w 6884912"/>
              <a:gd name="connsiteY54" fmla="*/ 405966 h 1161397"/>
              <a:gd name="connsiteX55" fmla="*/ 2881772 w 6884912"/>
              <a:gd name="connsiteY55" fmla="*/ 387260 h 1161397"/>
              <a:gd name="connsiteX56" fmla="*/ 2929932 w 6884912"/>
              <a:gd name="connsiteY56" fmla="*/ 368912 h 1161397"/>
              <a:gd name="connsiteX57" fmla="*/ 3013020 w 6884912"/>
              <a:gd name="connsiteY57" fmla="*/ 327578 h 1161397"/>
              <a:gd name="connsiteX58" fmla="*/ 3222191 w 6884912"/>
              <a:gd name="connsiteY58" fmla="*/ 307887 h 1161397"/>
              <a:gd name="connsiteX59" fmla="*/ 3227953 w 6884912"/>
              <a:gd name="connsiteY59" fmla="*/ 297650 h 1161397"/>
              <a:gd name="connsiteX60" fmla="*/ 3510042 w 6884912"/>
              <a:gd name="connsiteY60" fmla="*/ 311820 h 1161397"/>
              <a:gd name="connsiteX61" fmla="*/ 3626773 w 6884912"/>
              <a:gd name="connsiteY61" fmla="*/ 290452 h 1161397"/>
              <a:gd name="connsiteX62" fmla="*/ 3666217 w 6884912"/>
              <a:gd name="connsiteY62" fmla="*/ 273255 h 1161397"/>
              <a:gd name="connsiteX63" fmla="*/ 3732427 w 6884912"/>
              <a:gd name="connsiteY63" fmla="*/ 245039 h 1161397"/>
              <a:gd name="connsiteX64" fmla="*/ 3777022 w 6884912"/>
              <a:gd name="connsiteY64" fmla="*/ 200276 h 1161397"/>
              <a:gd name="connsiteX65" fmla="*/ 3791246 w 6884912"/>
              <a:gd name="connsiteY65" fmla="*/ 189996 h 1161397"/>
              <a:gd name="connsiteX66" fmla="*/ 3819864 w 6884912"/>
              <a:gd name="connsiteY66" fmla="*/ 194605 h 1161397"/>
              <a:gd name="connsiteX67" fmla="*/ 3830398 w 6884912"/>
              <a:gd name="connsiteY67" fmla="*/ 188383 h 1161397"/>
              <a:gd name="connsiteX68" fmla="*/ 3834360 w 6884912"/>
              <a:gd name="connsiteY68" fmla="*/ 188992 h 1161397"/>
              <a:gd name="connsiteX69" fmla="*/ 3843715 w 6884912"/>
              <a:gd name="connsiteY69" fmla="*/ 188752 h 1161397"/>
              <a:gd name="connsiteX70" fmla="*/ 3842609 w 6884912"/>
              <a:gd name="connsiteY70" fmla="*/ 197386 h 1161397"/>
              <a:gd name="connsiteX71" fmla="*/ 3853961 w 6884912"/>
              <a:gd name="connsiteY71" fmla="*/ 213380 h 1161397"/>
              <a:gd name="connsiteX72" fmla="*/ 3907640 w 6884912"/>
              <a:gd name="connsiteY72" fmla="*/ 207568 h 1161397"/>
              <a:gd name="connsiteX73" fmla="*/ 3910449 w 6884912"/>
              <a:gd name="connsiteY73" fmla="*/ 197808 h 1161397"/>
              <a:gd name="connsiteX74" fmla="*/ 3917197 w 6884912"/>
              <a:gd name="connsiteY74" fmla="*/ 196121 h 1161397"/>
              <a:gd name="connsiteX75" fmla="*/ 3922400 w 6884912"/>
              <a:gd name="connsiteY75" fmla="*/ 205056 h 1161397"/>
              <a:gd name="connsiteX76" fmla="*/ 4013061 w 6884912"/>
              <a:gd name="connsiteY76" fmla="*/ 224874 h 1161397"/>
              <a:gd name="connsiteX77" fmla="*/ 4220717 w 6884912"/>
              <a:gd name="connsiteY77" fmla="*/ 192946 h 1161397"/>
              <a:gd name="connsiteX78" fmla="*/ 4228802 w 6884912"/>
              <a:gd name="connsiteY78" fmla="*/ 201468 h 1161397"/>
              <a:gd name="connsiteX79" fmla="*/ 4289361 w 6884912"/>
              <a:gd name="connsiteY79" fmla="*/ 196642 h 1161397"/>
              <a:gd name="connsiteX80" fmla="*/ 4498913 w 6884912"/>
              <a:gd name="connsiteY80" fmla="*/ 118915 h 1161397"/>
              <a:gd name="connsiteX81" fmla="*/ 4617330 w 6884912"/>
              <a:gd name="connsiteY81" fmla="*/ 111163 h 1161397"/>
              <a:gd name="connsiteX82" fmla="*/ 4659778 w 6884912"/>
              <a:gd name="connsiteY82" fmla="*/ 118219 h 1161397"/>
              <a:gd name="connsiteX83" fmla="*/ 4730870 w 6884912"/>
              <a:gd name="connsiteY83" fmla="*/ 129432 h 1161397"/>
              <a:gd name="connsiteX84" fmla="*/ 4844073 w 6884912"/>
              <a:gd name="connsiteY84" fmla="*/ 161768 h 1161397"/>
              <a:gd name="connsiteX85" fmla="*/ 4856454 w 6884912"/>
              <a:gd name="connsiteY85" fmla="*/ 130488 h 1161397"/>
              <a:gd name="connsiteX86" fmla="*/ 4920038 w 6884912"/>
              <a:gd name="connsiteY86" fmla="*/ 140418 h 1161397"/>
              <a:gd name="connsiteX87" fmla="*/ 5016639 w 6884912"/>
              <a:gd name="connsiteY87" fmla="*/ 158905 h 1161397"/>
              <a:gd name="connsiteX88" fmla="*/ 5072009 w 6884912"/>
              <a:gd name="connsiteY88" fmla="*/ 161502 h 1161397"/>
              <a:gd name="connsiteX89" fmla="*/ 5223626 w 6884912"/>
              <a:gd name="connsiteY89" fmla="*/ 177356 h 1161397"/>
              <a:gd name="connsiteX90" fmla="*/ 5375773 w 6884912"/>
              <a:gd name="connsiteY90" fmla="*/ 199913 h 1161397"/>
              <a:gd name="connsiteX91" fmla="*/ 5467502 w 6884912"/>
              <a:gd name="connsiteY91" fmla="*/ 250963 h 1161397"/>
              <a:gd name="connsiteX92" fmla="*/ 5592395 w 6884912"/>
              <a:gd name="connsiteY92" fmla="*/ 265434 h 1161397"/>
              <a:gd name="connsiteX93" fmla="*/ 5613532 w 6884912"/>
              <a:gd name="connsiteY93" fmla="*/ 273379 h 1161397"/>
              <a:gd name="connsiteX94" fmla="*/ 5642173 w 6884912"/>
              <a:gd name="connsiteY94" fmla="*/ 266904 h 1161397"/>
              <a:gd name="connsiteX95" fmla="*/ 5756910 w 6884912"/>
              <a:gd name="connsiteY95" fmla="*/ 239211 h 1161397"/>
              <a:gd name="connsiteX96" fmla="*/ 5846667 w 6884912"/>
              <a:gd name="connsiteY96" fmla="*/ 201786 h 1161397"/>
              <a:gd name="connsiteX97" fmla="*/ 5960732 w 6884912"/>
              <a:gd name="connsiteY97" fmla="*/ 220708 h 1161397"/>
              <a:gd name="connsiteX98" fmla="*/ 6029542 w 6884912"/>
              <a:gd name="connsiteY98" fmla="*/ 210339 h 1161397"/>
              <a:gd name="connsiteX99" fmla="*/ 6141123 w 6884912"/>
              <a:gd name="connsiteY99" fmla="*/ 159923 h 1161397"/>
              <a:gd name="connsiteX100" fmla="*/ 6290640 w 6884912"/>
              <a:gd name="connsiteY100" fmla="*/ 167441 h 1161397"/>
              <a:gd name="connsiteX101" fmla="*/ 6322806 w 6884912"/>
              <a:gd name="connsiteY101" fmla="*/ 213293 h 1161397"/>
              <a:gd name="connsiteX102" fmla="*/ 6380420 w 6884912"/>
              <a:gd name="connsiteY102" fmla="*/ 173195 h 1161397"/>
              <a:gd name="connsiteX103" fmla="*/ 6507891 w 6884912"/>
              <a:gd name="connsiteY103" fmla="*/ 118474 h 1161397"/>
              <a:gd name="connsiteX104" fmla="*/ 6571807 w 6884912"/>
              <a:gd name="connsiteY104" fmla="*/ 98636 h 1161397"/>
              <a:gd name="connsiteX105" fmla="*/ 6671880 w 6884912"/>
              <a:gd name="connsiteY105" fmla="*/ 82931 h 1161397"/>
              <a:gd name="connsiteX106" fmla="*/ 6702266 w 6884912"/>
              <a:gd name="connsiteY106" fmla="*/ 75470 h 1161397"/>
              <a:gd name="connsiteX107" fmla="*/ 6845802 w 6884912"/>
              <a:gd name="connsiteY107" fmla="*/ 24496 h 1161397"/>
              <a:gd name="connsiteX108" fmla="*/ 6884912 w 6884912"/>
              <a:gd name="connsiteY108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478946 w 6884912"/>
              <a:gd name="connsiteY7" fmla="*/ 1106011 h 1161397"/>
              <a:gd name="connsiteX8" fmla="*/ 512111 w 6884912"/>
              <a:gd name="connsiteY8" fmla="*/ 1085599 h 1161397"/>
              <a:gd name="connsiteX9" fmla="*/ 567875 w 6884912"/>
              <a:gd name="connsiteY9" fmla="*/ 1051976 h 1161397"/>
              <a:gd name="connsiteX10" fmla="*/ 601644 w 6884912"/>
              <a:gd name="connsiteY10" fmla="*/ 1003997 h 1161397"/>
              <a:gd name="connsiteX11" fmla="*/ 651408 w 6884912"/>
              <a:gd name="connsiteY11" fmla="*/ 984938 h 1161397"/>
              <a:gd name="connsiteX12" fmla="*/ 673197 w 6884912"/>
              <a:gd name="connsiteY12" fmla="*/ 1010060 h 1161397"/>
              <a:gd name="connsiteX13" fmla="*/ 723108 w 6884912"/>
              <a:gd name="connsiteY13" fmla="*/ 980081 h 1161397"/>
              <a:gd name="connsiteX14" fmla="*/ 797699 w 6884912"/>
              <a:gd name="connsiteY14" fmla="*/ 931362 h 1161397"/>
              <a:gd name="connsiteX15" fmla="*/ 843359 w 6884912"/>
              <a:gd name="connsiteY15" fmla="*/ 910894 h 1161397"/>
              <a:gd name="connsiteX16" fmla="*/ 965215 w 6884912"/>
              <a:gd name="connsiteY16" fmla="*/ 846701 h 1161397"/>
              <a:gd name="connsiteX17" fmla="*/ 1085080 w 6884912"/>
              <a:gd name="connsiteY17" fmla="*/ 776086 h 1161397"/>
              <a:gd name="connsiteX18" fmla="*/ 1131224 w 6884912"/>
              <a:gd name="connsiteY18" fmla="*/ 706160 h 1161397"/>
              <a:gd name="connsiteX19" fmla="*/ 1138051 w 6884912"/>
              <a:gd name="connsiteY19" fmla="*/ 702034 h 1161397"/>
              <a:gd name="connsiteX20" fmla="*/ 1158800 w 6884912"/>
              <a:gd name="connsiteY20" fmla="*/ 700004 h 1161397"/>
              <a:gd name="connsiteX21" fmla="*/ 1166947 w 6884912"/>
              <a:gd name="connsiteY21" fmla="*/ 700762 h 1161397"/>
              <a:gd name="connsiteX22" fmla="*/ 1178135 w 6884912"/>
              <a:gd name="connsiteY22" fmla="*/ 698631 h 1161397"/>
              <a:gd name="connsiteX23" fmla="*/ 1178301 w 6884912"/>
              <a:gd name="connsiteY23" fmla="*/ 698094 h 1161397"/>
              <a:gd name="connsiteX24" fmla="*/ 1188995 w 6884912"/>
              <a:gd name="connsiteY24" fmla="*/ 697048 h 1161397"/>
              <a:gd name="connsiteX25" fmla="*/ 1242716 w 6884912"/>
              <a:gd name="connsiteY25" fmla="*/ 698052 h 1161397"/>
              <a:gd name="connsiteX26" fmla="*/ 1299977 w 6884912"/>
              <a:gd name="connsiteY26" fmla="*/ 639196 h 1161397"/>
              <a:gd name="connsiteX27" fmla="*/ 1326190 w 6884912"/>
              <a:gd name="connsiteY27" fmla="*/ 625955 h 1161397"/>
              <a:gd name="connsiteX28" fmla="*/ 1339600 w 6884912"/>
              <a:gd name="connsiteY28" fmla="*/ 616295 h 1161397"/>
              <a:gd name="connsiteX29" fmla="*/ 1340054 w 6884912"/>
              <a:gd name="connsiteY29" fmla="*/ 614022 h 1161397"/>
              <a:gd name="connsiteX30" fmla="*/ 1391606 w 6884912"/>
              <a:gd name="connsiteY30" fmla="*/ 615229 h 1161397"/>
              <a:gd name="connsiteX31" fmla="*/ 1397565 w 6884912"/>
              <a:gd name="connsiteY31" fmla="*/ 611490 h 1161397"/>
              <a:gd name="connsiteX32" fmla="*/ 1432302 w 6884912"/>
              <a:gd name="connsiteY32" fmla="*/ 617267 h 1161397"/>
              <a:gd name="connsiteX33" fmla="*/ 1449644 w 6884912"/>
              <a:gd name="connsiteY33" fmla="*/ 617591 h 1161397"/>
              <a:gd name="connsiteX34" fmla="*/ 1455793 w 6884912"/>
              <a:gd name="connsiteY34" fmla="*/ 623174 h 1161397"/>
              <a:gd name="connsiteX35" fmla="*/ 1480758 w 6884912"/>
              <a:gd name="connsiteY35" fmla="*/ 620863 h 1161397"/>
              <a:gd name="connsiteX36" fmla="*/ 1483154 w 6884912"/>
              <a:gd name="connsiteY36" fmla="*/ 618527 h 1161397"/>
              <a:gd name="connsiteX37" fmla="*/ 1505495 w 6884912"/>
              <a:gd name="connsiteY37" fmla="*/ 624325 h 1161397"/>
              <a:gd name="connsiteX38" fmla="*/ 1526340 w 6884912"/>
              <a:gd name="connsiteY38" fmla="*/ 638496 h 1161397"/>
              <a:gd name="connsiteX39" fmla="*/ 1731986 w 6884912"/>
              <a:gd name="connsiteY39" fmla="*/ 589682 h 1161397"/>
              <a:gd name="connsiteX40" fmla="*/ 1927935 w 6884912"/>
              <a:gd name="connsiteY40" fmla="*/ 628540 h 1161397"/>
              <a:gd name="connsiteX41" fmla="*/ 2039075 w 6884912"/>
              <a:gd name="connsiteY41" fmla="*/ 599964 h 1161397"/>
              <a:gd name="connsiteX42" fmla="*/ 2066980 w 6884912"/>
              <a:gd name="connsiteY42" fmla="*/ 550413 h 1161397"/>
              <a:gd name="connsiteX43" fmla="*/ 2352236 w 6884912"/>
              <a:gd name="connsiteY43" fmla="*/ 519602 h 1161397"/>
              <a:gd name="connsiteX44" fmla="*/ 2420791 w 6884912"/>
              <a:gd name="connsiteY44" fmla="*/ 492826 h 1161397"/>
              <a:gd name="connsiteX45" fmla="*/ 2489932 w 6884912"/>
              <a:gd name="connsiteY45" fmla="*/ 507864 h 1161397"/>
              <a:gd name="connsiteX46" fmla="*/ 2512917 w 6884912"/>
              <a:gd name="connsiteY46" fmla="*/ 489127 h 1161397"/>
              <a:gd name="connsiteX47" fmla="*/ 2516783 w 6884912"/>
              <a:gd name="connsiteY47" fmla="*/ 485473 h 1161397"/>
              <a:gd name="connsiteX48" fmla="*/ 2534360 w 6884912"/>
              <a:gd name="connsiteY48" fmla="*/ 480064 h 1161397"/>
              <a:gd name="connsiteX49" fmla="*/ 2536691 w 6884912"/>
              <a:gd name="connsiteY49" fmla="*/ 467018 h 1161397"/>
              <a:gd name="connsiteX50" fmla="*/ 2561265 w 6884912"/>
              <a:gd name="connsiteY50" fmla="*/ 450623 h 1161397"/>
              <a:gd name="connsiteX51" fmla="*/ 2594349 w 6884912"/>
              <a:gd name="connsiteY51" fmla="*/ 443884 h 1161397"/>
              <a:gd name="connsiteX52" fmla="*/ 2754324 w 6884912"/>
              <a:gd name="connsiteY52" fmla="*/ 424766 h 1161397"/>
              <a:gd name="connsiteX53" fmla="*/ 2848470 w 6884912"/>
              <a:gd name="connsiteY53" fmla="*/ 405966 h 1161397"/>
              <a:gd name="connsiteX54" fmla="*/ 2881772 w 6884912"/>
              <a:gd name="connsiteY54" fmla="*/ 387260 h 1161397"/>
              <a:gd name="connsiteX55" fmla="*/ 2929932 w 6884912"/>
              <a:gd name="connsiteY55" fmla="*/ 368912 h 1161397"/>
              <a:gd name="connsiteX56" fmla="*/ 3013020 w 6884912"/>
              <a:gd name="connsiteY56" fmla="*/ 327578 h 1161397"/>
              <a:gd name="connsiteX57" fmla="*/ 3222191 w 6884912"/>
              <a:gd name="connsiteY57" fmla="*/ 307887 h 1161397"/>
              <a:gd name="connsiteX58" fmla="*/ 3227953 w 6884912"/>
              <a:gd name="connsiteY58" fmla="*/ 297650 h 1161397"/>
              <a:gd name="connsiteX59" fmla="*/ 3510042 w 6884912"/>
              <a:gd name="connsiteY59" fmla="*/ 311820 h 1161397"/>
              <a:gd name="connsiteX60" fmla="*/ 3626773 w 6884912"/>
              <a:gd name="connsiteY60" fmla="*/ 290452 h 1161397"/>
              <a:gd name="connsiteX61" fmla="*/ 3666217 w 6884912"/>
              <a:gd name="connsiteY61" fmla="*/ 273255 h 1161397"/>
              <a:gd name="connsiteX62" fmla="*/ 3732427 w 6884912"/>
              <a:gd name="connsiteY62" fmla="*/ 245039 h 1161397"/>
              <a:gd name="connsiteX63" fmla="*/ 3777022 w 6884912"/>
              <a:gd name="connsiteY63" fmla="*/ 200276 h 1161397"/>
              <a:gd name="connsiteX64" fmla="*/ 3791246 w 6884912"/>
              <a:gd name="connsiteY64" fmla="*/ 189996 h 1161397"/>
              <a:gd name="connsiteX65" fmla="*/ 3819864 w 6884912"/>
              <a:gd name="connsiteY65" fmla="*/ 194605 h 1161397"/>
              <a:gd name="connsiteX66" fmla="*/ 3830398 w 6884912"/>
              <a:gd name="connsiteY66" fmla="*/ 188383 h 1161397"/>
              <a:gd name="connsiteX67" fmla="*/ 3834360 w 6884912"/>
              <a:gd name="connsiteY67" fmla="*/ 188992 h 1161397"/>
              <a:gd name="connsiteX68" fmla="*/ 3843715 w 6884912"/>
              <a:gd name="connsiteY68" fmla="*/ 188752 h 1161397"/>
              <a:gd name="connsiteX69" fmla="*/ 3842609 w 6884912"/>
              <a:gd name="connsiteY69" fmla="*/ 197386 h 1161397"/>
              <a:gd name="connsiteX70" fmla="*/ 3853961 w 6884912"/>
              <a:gd name="connsiteY70" fmla="*/ 213380 h 1161397"/>
              <a:gd name="connsiteX71" fmla="*/ 3907640 w 6884912"/>
              <a:gd name="connsiteY71" fmla="*/ 207568 h 1161397"/>
              <a:gd name="connsiteX72" fmla="*/ 3910449 w 6884912"/>
              <a:gd name="connsiteY72" fmla="*/ 197808 h 1161397"/>
              <a:gd name="connsiteX73" fmla="*/ 3917197 w 6884912"/>
              <a:gd name="connsiteY73" fmla="*/ 196121 h 1161397"/>
              <a:gd name="connsiteX74" fmla="*/ 3922400 w 6884912"/>
              <a:gd name="connsiteY74" fmla="*/ 205056 h 1161397"/>
              <a:gd name="connsiteX75" fmla="*/ 4013061 w 6884912"/>
              <a:gd name="connsiteY75" fmla="*/ 224874 h 1161397"/>
              <a:gd name="connsiteX76" fmla="*/ 4220717 w 6884912"/>
              <a:gd name="connsiteY76" fmla="*/ 192946 h 1161397"/>
              <a:gd name="connsiteX77" fmla="*/ 4228802 w 6884912"/>
              <a:gd name="connsiteY77" fmla="*/ 201468 h 1161397"/>
              <a:gd name="connsiteX78" fmla="*/ 4289361 w 6884912"/>
              <a:gd name="connsiteY78" fmla="*/ 196642 h 1161397"/>
              <a:gd name="connsiteX79" fmla="*/ 4498913 w 6884912"/>
              <a:gd name="connsiteY79" fmla="*/ 118915 h 1161397"/>
              <a:gd name="connsiteX80" fmla="*/ 4617330 w 6884912"/>
              <a:gd name="connsiteY80" fmla="*/ 111163 h 1161397"/>
              <a:gd name="connsiteX81" fmla="*/ 4659778 w 6884912"/>
              <a:gd name="connsiteY81" fmla="*/ 118219 h 1161397"/>
              <a:gd name="connsiteX82" fmla="*/ 4730870 w 6884912"/>
              <a:gd name="connsiteY82" fmla="*/ 129432 h 1161397"/>
              <a:gd name="connsiteX83" fmla="*/ 4844073 w 6884912"/>
              <a:gd name="connsiteY83" fmla="*/ 161768 h 1161397"/>
              <a:gd name="connsiteX84" fmla="*/ 4856454 w 6884912"/>
              <a:gd name="connsiteY84" fmla="*/ 130488 h 1161397"/>
              <a:gd name="connsiteX85" fmla="*/ 4920038 w 6884912"/>
              <a:gd name="connsiteY85" fmla="*/ 140418 h 1161397"/>
              <a:gd name="connsiteX86" fmla="*/ 5016639 w 6884912"/>
              <a:gd name="connsiteY86" fmla="*/ 158905 h 1161397"/>
              <a:gd name="connsiteX87" fmla="*/ 5072009 w 6884912"/>
              <a:gd name="connsiteY87" fmla="*/ 161502 h 1161397"/>
              <a:gd name="connsiteX88" fmla="*/ 5223626 w 6884912"/>
              <a:gd name="connsiteY88" fmla="*/ 177356 h 1161397"/>
              <a:gd name="connsiteX89" fmla="*/ 5375773 w 6884912"/>
              <a:gd name="connsiteY89" fmla="*/ 199913 h 1161397"/>
              <a:gd name="connsiteX90" fmla="*/ 5467502 w 6884912"/>
              <a:gd name="connsiteY90" fmla="*/ 250963 h 1161397"/>
              <a:gd name="connsiteX91" fmla="*/ 5592395 w 6884912"/>
              <a:gd name="connsiteY91" fmla="*/ 265434 h 1161397"/>
              <a:gd name="connsiteX92" fmla="*/ 5613532 w 6884912"/>
              <a:gd name="connsiteY92" fmla="*/ 273379 h 1161397"/>
              <a:gd name="connsiteX93" fmla="*/ 5642173 w 6884912"/>
              <a:gd name="connsiteY93" fmla="*/ 266904 h 1161397"/>
              <a:gd name="connsiteX94" fmla="*/ 5756910 w 6884912"/>
              <a:gd name="connsiteY94" fmla="*/ 239211 h 1161397"/>
              <a:gd name="connsiteX95" fmla="*/ 5846667 w 6884912"/>
              <a:gd name="connsiteY95" fmla="*/ 201786 h 1161397"/>
              <a:gd name="connsiteX96" fmla="*/ 5960732 w 6884912"/>
              <a:gd name="connsiteY96" fmla="*/ 220708 h 1161397"/>
              <a:gd name="connsiteX97" fmla="*/ 6029542 w 6884912"/>
              <a:gd name="connsiteY97" fmla="*/ 210339 h 1161397"/>
              <a:gd name="connsiteX98" fmla="*/ 6141123 w 6884912"/>
              <a:gd name="connsiteY98" fmla="*/ 159923 h 1161397"/>
              <a:gd name="connsiteX99" fmla="*/ 6290640 w 6884912"/>
              <a:gd name="connsiteY99" fmla="*/ 167441 h 1161397"/>
              <a:gd name="connsiteX100" fmla="*/ 6322806 w 6884912"/>
              <a:gd name="connsiteY100" fmla="*/ 213293 h 1161397"/>
              <a:gd name="connsiteX101" fmla="*/ 6380420 w 6884912"/>
              <a:gd name="connsiteY101" fmla="*/ 173195 h 1161397"/>
              <a:gd name="connsiteX102" fmla="*/ 6507891 w 6884912"/>
              <a:gd name="connsiteY102" fmla="*/ 118474 h 1161397"/>
              <a:gd name="connsiteX103" fmla="*/ 6571807 w 6884912"/>
              <a:gd name="connsiteY103" fmla="*/ 98636 h 1161397"/>
              <a:gd name="connsiteX104" fmla="*/ 6671880 w 6884912"/>
              <a:gd name="connsiteY104" fmla="*/ 82931 h 1161397"/>
              <a:gd name="connsiteX105" fmla="*/ 6702266 w 6884912"/>
              <a:gd name="connsiteY105" fmla="*/ 75470 h 1161397"/>
              <a:gd name="connsiteX106" fmla="*/ 6845802 w 6884912"/>
              <a:gd name="connsiteY106" fmla="*/ 24496 h 1161397"/>
              <a:gd name="connsiteX107" fmla="*/ 6884912 w 6884912"/>
              <a:gd name="connsiteY107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512111 w 6884912"/>
              <a:gd name="connsiteY7" fmla="*/ 1085599 h 1161397"/>
              <a:gd name="connsiteX8" fmla="*/ 567875 w 6884912"/>
              <a:gd name="connsiteY8" fmla="*/ 1051976 h 1161397"/>
              <a:gd name="connsiteX9" fmla="*/ 601644 w 6884912"/>
              <a:gd name="connsiteY9" fmla="*/ 1003997 h 1161397"/>
              <a:gd name="connsiteX10" fmla="*/ 651408 w 6884912"/>
              <a:gd name="connsiteY10" fmla="*/ 984938 h 1161397"/>
              <a:gd name="connsiteX11" fmla="*/ 673197 w 6884912"/>
              <a:gd name="connsiteY11" fmla="*/ 1010060 h 1161397"/>
              <a:gd name="connsiteX12" fmla="*/ 723108 w 6884912"/>
              <a:gd name="connsiteY12" fmla="*/ 980081 h 1161397"/>
              <a:gd name="connsiteX13" fmla="*/ 797699 w 6884912"/>
              <a:gd name="connsiteY13" fmla="*/ 931362 h 1161397"/>
              <a:gd name="connsiteX14" fmla="*/ 843359 w 6884912"/>
              <a:gd name="connsiteY14" fmla="*/ 910894 h 1161397"/>
              <a:gd name="connsiteX15" fmla="*/ 965215 w 6884912"/>
              <a:gd name="connsiteY15" fmla="*/ 846701 h 1161397"/>
              <a:gd name="connsiteX16" fmla="*/ 1085080 w 6884912"/>
              <a:gd name="connsiteY16" fmla="*/ 776086 h 1161397"/>
              <a:gd name="connsiteX17" fmla="*/ 1131224 w 6884912"/>
              <a:gd name="connsiteY17" fmla="*/ 706160 h 1161397"/>
              <a:gd name="connsiteX18" fmla="*/ 1138051 w 6884912"/>
              <a:gd name="connsiteY18" fmla="*/ 702034 h 1161397"/>
              <a:gd name="connsiteX19" fmla="*/ 1158800 w 6884912"/>
              <a:gd name="connsiteY19" fmla="*/ 700004 h 1161397"/>
              <a:gd name="connsiteX20" fmla="*/ 1166947 w 6884912"/>
              <a:gd name="connsiteY20" fmla="*/ 700762 h 1161397"/>
              <a:gd name="connsiteX21" fmla="*/ 1178135 w 6884912"/>
              <a:gd name="connsiteY21" fmla="*/ 698631 h 1161397"/>
              <a:gd name="connsiteX22" fmla="*/ 1178301 w 6884912"/>
              <a:gd name="connsiteY22" fmla="*/ 698094 h 1161397"/>
              <a:gd name="connsiteX23" fmla="*/ 1188995 w 6884912"/>
              <a:gd name="connsiteY23" fmla="*/ 697048 h 1161397"/>
              <a:gd name="connsiteX24" fmla="*/ 1242716 w 6884912"/>
              <a:gd name="connsiteY24" fmla="*/ 698052 h 1161397"/>
              <a:gd name="connsiteX25" fmla="*/ 1299977 w 6884912"/>
              <a:gd name="connsiteY25" fmla="*/ 639196 h 1161397"/>
              <a:gd name="connsiteX26" fmla="*/ 1326190 w 6884912"/>
              <a:gd name="connsiteY26" fmla="*/ 625955 h 1161397"/>
              <a:gd name="connsiteX27" fmla="*/ 1339600 w 6884912"/>
              <a:gd name="connsiteY27" fmla="*/ 616295 h 1161397"/>
              <a:gd name="connsiteX28" fmla="*/ 1340054 w 6884912"/>
              <a:gd name="connsiteY28" fmla="*/ 614022 h 1161397"/>
              <a:gd name="connsiteX29" fmla="*/ 1391606 w 6884912"/>
              <a:gd name="connsiteY29" fmla="*/ 615229 h 1161397"/>
              <a:gd name="connsiteX30" fmla="*/ 1397565 w 6884912"/>
              <a:gd name="connsiteY30" fmla="*/ 611490 h 1161397"/>
              <a:gd name="connsiteX31" fmla="*/ 1432302 w 6884912"/>
              <a:gd name="connsiteY31" fmla="*/ 617267 h 1161397"/>
              <a:gd name="connsiteX32" fmla="*/ 1449644 w 6884912"/>
              <a:gd name="connsiteY32" fmla="*/ 617591 h 1161397"/>
              <a:gd name="connsiteX33" fmla="*/ 1455793 w 6884912"/>
              <a:gd name="connsiteY33" fmla="*/ 623174 h 1161397"/>
              <a:gd name="connsiteX34" fmla="*/ 1480758 w 6884912"/>
              <a:gd name="connsiteY34" fmla="*/ 620863 h 1161397"/>
              <a:gd name="connsiteX35" fmla="*/ 1483154 w 6884912"/>
              <a:gd name="connsiteY35" fmla="*/ 618527 h 1161397"/>
              <a:gd name="connsiteX36" fmla="*/ 1505495 w 6884912"/>
              <a:gd name="connsiteY36" fmla="*/ 624325 h 1161397"/>
              <a:gd name="connsiteX37" fmla="*/ 1526340 w 6884912"/>
              <a:gd name="connsiteY37" fmla="*/ 638496 h 1161397"/>
              <a:gd name="connsiteX38" fmla="*/ 1731986 w 6884912"/>
              <a:gd name="connsiteY38" fmla="*/ 589682 h 1161397"/>
              <a:gd name="connsiteX39" fmla="*/ 1927935 w 6884912"/>
              <a:gd name="connsiteY39" fmla="*/ 628540 h 1161397"/>
              <a:gd name="connsiteX40" fmla="*/ 2039075 w 6884912"/>
              <a:gd name="connsiteY40" fmla="*/ 599964 h 1161397"/>
              <a:gd name="connsiteX41" fmla="*/ 2066980 w 6884912"/>
              <a:gd name="connsiteY41" fmla="*/ 550413 h 1161397"/>
              <a:gd name="connsiteX42" fmla="*/ 2352236 w 6884912"/>
              <a:gd name="connsiteY42" fmla="*/ 519602 h 1161397"/>
              <a:gd name="connsiteX43" fmla="*/ 2420791 w 6884912"/>
              <a:gd name="connsiteY43" fmla="*/ 492826 h 1161397"/>
              <a:gd name="connsiteX44" fmla="*/ 2489932 w 6884912"/>
              <a:gd name="connsiteY44" fmla="*/ 507864 h 1161397"/>
              <a:gd name="connsiteX45" fmla="*/ 2512917 w 6884912"/>
              <a:gd name="connsiteY45" fmla="*/ 489127 h 1161397"/>
              <a:gd name="connsiteX46" fmla="*/ 2516783 w 6884912"/>
              <a:gd name="connsiteY46" fmla="*/ 485473 h 1161397"/>
              <a:gd name="connsiteX47" fmla="*/ 2534360 w 6884912"/>
              <a:gd name="connsiteY47" fmla="*/ 480064 h 1161397"/>
              <a:gd name="connsiteX48" fmla="*/ 2536691 w 6884912"/>
              <a:gd name="connsiteY48" fmla="*/ 467018 h 1161397"/>
              <a:gd name="connsiteX49" fmla="*/ 2561265 w 6884912"/>
              <a:gd name="connsiteY49" fmla="*/ 450623 h 1161397"/>
              <a:gd name="connsiteX50" fmla="*/ 2594349 w 6884912"/>
              <a:gd name="connsiteY50" fmla="*/ 443884 h 1161397"/>
              <a:gd name="connsiteX51" fmla="*/ 2754324 w 6884912"/>
              <a:gd name="connsiteY51" fmla="*/ 424766 h 1161397"/>
              <a:gd name="connsiteX52" fmla="*/ 2848470 w 6884912"/>
              <a:gd name="connsiteY52" fmla="*/ 405966 h 1161397"/>
              <a:gd name="connsiteX53" fmla="*/ 2881772 w 6884912"/>
              <a:gd name="connsiteY53" fmla="*/ 387260 h 1161397"/>
              <a:gd name="connsiteX54" fmla="*/ 2929932 w 6884912"/>
              <a:gd name="connsiteY54" fmla="*/ 368912 h 1161397"/>
              <a:gd name="connsiteX55" fmla="*/ 3013020 w 6884912"/>
              <a:gd name="connsiteY55" fmla="*/ 327578 h 1161397"/>
              <a:gd name="connsiteX56" fmla="*/ 3222191 w 6884912"/>
              <a:gd name="connsiteY56" fmla="*/ 307887 h 1161397"/>
              <a:gd name="connsiteX57" fmla="*/ 3227953 w 6884912"/>
              <a:gd name="connsiteY57" fmla="*/ 297650 h 1161397"/>
              <a:gd name="connsiteX58" fmla="*/ 3510042 w 6884912"/>
              <a:gd name="connsiteY58" fmla="*/ 311820 h 1161397"/>
              <a:gd name="connsiteX59" fmla="*/ 3626773 w 6884912"/>
              <a:gd name="connsiteY59" fmla="*/ 290452 h 1161397"/>
              <a:gd name="connsiteX60" fmla="*/ 3666217 w 6884912"/>
              <a:gd name="connsiteY60" fmla="*/ 273255 h 1161397"/>
              <a:gd name="connsiteX61" fmla="*/ 3732427 w 6884912"/>
              <a:gd name="connsiteY61" fmla="*/ 245039 h 1161397"/>
              <a:gd name="connsiteX62" fmla="*/ 3777022 w 6884912"/>
              <a:gd name="connsiteY62" fmla="*/ 200276 h 1161397"/>
              <a:gd name="connsiteX63" fmla="*/ 3791246 w 6884912"/>
              <a:gd name="connsiteY63" fmla="*/ 189996 h 1161397"/>
              <a:gd name="connsiteX64" fmla="*/ 3819864 w 6884912"/>
              <a:gd name="connsiteY64" fmla="*/ 194605 h 1161397"/>
              <a:gd name="connsiteX65" fmla="*/ 3830398 w 6884912"/>
              <a:gd name="connsiteY65" fmla="*/ 188383 h 1161397"/>
              <a:gd name="connsiteX66" fmla="*/ 3834360 w 6884912"/>
              <a:gd name="connsiteY66" fmla="*/ 188992 h 1161397"/>
              <a:gd name="connsiteX67" fmla="*/ 3843715 w 6884912"/>
              <a:gd name="connsiteY67" fmla="*/ 188752 h 1161397"/>
              <a:gd name="connsiteX68" fmla="*/ 3842609 w 6884912"/>
              <a:gd name="connsiteY68" fmla="*/ 197386 h 1161397"/>
              <a:gd name="connsiteX69" fmla="*/ 3853961 w 6884912"/>
              <a:gd name="connsiteY69" fmla="*/ 213380 h 1161397"/>
              <a:gd name="connsiteX70" fmla="*/ 3907640 w 6884912"/>
              <a:gd name="connsiteY70" fmla="*/ 207568 h 1161397"/>
              <a:gd name="connsiteX71" fmla="*/ 3910449 w 6884912"/>
              <a:gd name="connsiteY71" fmla="*/ 197808 h 1161397"/>
              <a:gd name="connsiteX72" fmla="*/ 3917197 w 6884912"/>
              <a:gd name="connsiteY72" fmla="*/ 196121 h 1161397"/>
              <a:gd name="connsiteX73" fmla="*/ 3922400 w 6884912"/>
              <a:gd name="connsiteY73" fmla="*/ 205056 h 1161397"/>
              <a:gd name="connsiteX74" fmla="*/ 4013061 w 6884912"/>
              <a:gd name="connsiteY74" fmla="*/ 224874 h 1161397"/>
              <a:gd name="connsiteX75" fmla="*/ 4220717 w 6884912"/>
              <a:gd name="connsiteY75" fmla="*/ 192946 h 1161397"/>
              <a:gd name="connsiteX76" fmla="*/ 4228802 w 6884912"/>
              <a:gd name="connsiteY76" fmla="*/ 201468 h 1161397"/>
              <a:gd name="connsiteX77" fmla="*/ 4289361 w 6884912"/>
              <a:gd name="connsiteY77" fmla="*/ 196642 h 1161397"/>
              <a:gd name="connsiteX78" fmla="*/ 4498913 w 6884912"/>
              <a:gd name="connsiteY78" fmla="*/ 118915 h 1161397"/>
              <a:gd name="connsiteX79" fmla="*/ 4617330 w 6884912"/>
              <a:gd name="connsiteY79" fmla="*/ 111163 h 1161397"/>
              <a:gd name="connsiteX80" fmla="*/ 4659778 w 6884912"/>
              <a:gd name="connsiteY80" fmla="*/ 118219 h 1161397"/>
              <a:gd name="connsiteX81" fmla="*/ 4730870 w 6884912"/>
              <a:gd name="connsiteY81" fmla="*/ 129432 h 1161397"/>
              <a:gd name="connsiteX82" fmla="*/ 4844073 w 6884912"/>
              <a:gd name="connsiteY82" fmla="*/ 161768 h 1161397"/>
              <a:gd name="connsiteX83" fmla="*/ 4856454 w 6884912"/>
              <a:gd name="connsiteY83" fmla="*/ 130488 h 1161397"/>
              <a:gd name="connsiteX84" fmla="*/ 4920038 w 6884912"/>
              <a:gd name="connsiteY84" fmla="*/ 140418 h 1161397"/>
              <a:gd name="connsiteX85" fmla="*/ 5016639 w 6884912"/>
              <a:gd name="connsiteY85" fmla="*/ 158905 h 1161397"/>
              <a:gd name="connsiteX86" fmla="*/ 5072009 w 6884912"/>
              <a:gd name="connsiteY86" fmla="*/ 161502 h 1161397"/>
              <a:gd name="connsiteX87" fmla="*/ 5223626 w 6884912"/>
              <a:gd name="connsiteY87" fmla="*/ 177356 h 1161397"/>
              <a:gd name="connsiteX88" fmla="*/ 5375773 w 6884912"/>
              <a:gd name="connsiteY88" fmla="*/ 199913 h 1161397"/>
              <a:gd name="connsiteX89" fmla="*/ 5467502 w 6884912"/>
              <a:gd name="connsiteY89" fmla="*/ 250963 h 1161397"/>
              <a:gd name="connsiteX90" fmla="*/ 5592395 w 6884912"/>
              <a:gd name="connsiteY90" fmla="*/ 265434 h 1161397"/>
              <a:gd name="connsiteX91" fmla="*/ 5613532 w 6884912"/>
              <a:gd name="connsiteY91" fmla="*/ 273379 h 1161397"/>
              <a:gd name="connsiteX92" fmla="*/ 5642173 w 6884912"/>
              <a:gd name="connsiteY92" fmla="*/ 266904 h 1161397"/>
              <a:gd name="connsiteX93" fmla="*/ 5756910 w 6884912"/>
              <a:gd name="connsiteY93" fmla="*/ 239211 h 1161397"/>
              <a:gd name="connsiteX94" fmla="*/ 5846667 w 6884912"/>
              <a:gd name="connsiteY94" fmla="*/ 201786 h 1161397"/>
              <a:gd name="connsiteX95" fmla="*/ 5960732 w 6884912"/>
              <a:gd name="connsiteY95" fmla="*/ 220708 h 1161397"/>
              <a:gd name="connsiteX96" fmla="*/ 6029542 w 6884912"/>
              <a:gd name="connsiteY96" fmla="*/ 210339 h 1161397"/>
              <a:gd name="connsiteX97" fmla="*/ 6141123 w 6884912"/>
              <a:gd name="connsiteY97" fmla="*/ 159923 h 1161397"/>
              <a:gd name="connsiteX98" fmla="*/ 6290640 w 6884912"/>
              <a:gd name="connsiteY98" fmla="*/ 167441 h 1161397"/>
              <a:gd name="connsiteX99" fmla="*/ 6322806 w 6884912"/>
              <a:gd name="connsiteY99" fmla="*/ 213293 h 1161397"/>
              <a:gd name="connsiteX100" fmla="*/ 6380420 w 6884912"/>
              <a:gd name="connsiteY100" fmla="*/ 173195 h 1161397"/>
              <a:gd name="connsiteX101" fmla="*/ 6507891 w 6884912"/>
              <a:gd name="connsiteY101" fmla="*/ 118474 h 1161397"/>
              <a:gd name="connsiteX102" fmla="*/ 6571807 w 6884912"/>
              <a:gd name="connsiteY102" fmla="*/ 98636 h 1161397"/>
              <a:gd name="connsiteX103" fmla="*/ 6671880 w 6884912"/>
              <a:gd name="connsiteY103" fmla="*/ 82931 h 1161397"/>
              <a:gd name="connsiteX104" fmla="*/ 6702266 w 6884912"/>
              <a:gd name="connsiteY104" fmla="*/ 75470 h 1161397"/>
              <a:gd name="connsiteX105" fmla="*/ 6845802 w 6884912"/>
              <a:gd name="connsiteY105" fmla="*/ 24496 h 1161397"/>
              <a:gd name="connsiteX106" fmla="*/ 6884912 w 6884912"/>
              <a:gd name="connsiteY106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567875 w 6884912"/>
              <a:gd name="connsiteY7" fmla="*/ 1051976 h 1161397"/>
              <a:gd name="connsiteX8" fmla="*/ 601644 w 6884912"/>
              <a:gd name="connsiteY8" fmla="*/ 1003997 h 1161397"/>
              <a:gd name="connsiteX9" fmla="*/ 651408 w 6884912"/>
              <a:gd name="connsiteY9" fmla="*/ 984938 h 1161397"/>
              <a:gd name="connsiteX10" fmla="*/ 673197 w 6884912"/>
              <a:gd name="connsiteY10" fmla="*/ 1010060 h 1161397"/>
              <a:gd name="connsiteX11" fmla="*/ 723108 w 6884912"/>
              <a:gd name="connsiteY11" fmla="*/ 980081 h 1161397"/>
              <a:gd name="connsiteX12" fmla="*/ 797699 w 6884912"/>
              <a:gd name="connsiteY12" fmla="*/ 931362 h 1161397"/>
              <a:gd name="connsiteX13" fmla="*/ 843359 w 6884912"/>
              <a:gd name="connsiteY13" fmla="*/ 910894 h 1161397"/>
              <a:gd name="connsiteX14" fmla="*/ 965215 w 6884912"/>
              <a:gd name="connsiteY14" fmla="*/ 846701 h 1161397"/>
              <a:gd name="connsiteX15" fmla="*/ 1085080 w 6884912"/>
              <a:gd name="connsiteY15" fmla="*/ 776086 h 1161397"/>
              <a:gd name="connsiteX16" fmla="*/ 1131224 w 6884912"/>
              <a:gd name="connsiteY16" fmla="*/ 706160 h 1161397"/>
              <a:gd name="connsiteX17" fmla="*/ 1138051 w 6884912"/>
              <a:gd name="connsiteY17" fmla="*/ 702034 h 1161397"/>
              <a:gd name="connsiteX18" fmla="*/ 1158800 w 6884912"/>
              <a:gd name="connsiteY18" fmla="*/ 700004 h 1161397"/>
              <a:gd name="connsiteX19" fmla="*/ 1166947 w 6884912"/>
              <a:gd name="connsiteY19" fmla="*/ 700762 h 1161397"/>
              <a:gd name="connsiteX20" fmla="*/ 1178135 w 6884912"/>
              <a:gd name="connsiteY20" fmla="*/ 698631 h 1161397"/>
              <a:gd name="connsiteX21" fmla="*/ 1178301 w 6884912"/>
              <a:gd name="connsiteY21" fmla="*/ 698094 h 1161397"/>
              <a:gd name="connsiteX22" fmla="*/ 1188995 w 6884912"/>
              <a:gd name="connsiteY22" fmla="*/ 697048 h 1161397"/>
              <a:gd name="connsiteX23" fmla="*/ 1242716 w 6884912"/>
              <a:gd name="connsiteY23" fmla="*/ 698052 h 1161397"/>
              <a:gd name="connsiteX24" fmla="*/ 1299977 w 6884912"/>
              <a:gd name="connsiteY24" fmla="*/ 639196 h 1161397"/>
              <a:gd name="connsiteX25" fmla="*/ 1326190 w 6884912"/>
              <a:gd name="connsiteY25" fmla="*/ 625955 h 1161397"/>
              <a:gd name="connsiteX26" fmla="*/ 1339600 w 6884912"/>
              <a:gd name="connsiteY26" fmla="*/ 616295 h 1161397"/>
              <a:gd name="connsiteX27" fmla="*/ 1340054 w 6884912"/>
              <a:gd name="connsiteY27" fmla="*/ 614022 h 1161397"/>
              <a:gd name="connsiteX28" fmla="*/ 1391606 w 6884912"/>
              <a:gd name="connsiteY28" fmla="*/ 615229 h 1161397"/>
              <a:gd name="connsiteX29" fmla="*/ 1397565 w 6884912"/>
              <a:gd name="connsiteY29" fmla="*/ 611490 h 1161397"/>
              <a:gd name="connsiteX30" fmla="*/ 1432302 w 6884912"/>
              <a:gd name="connsiteY30" fmla="*/ 617267 h 1161397"/>
              <a:gd name="connsiteX31" fmla="*/ 1449644 w 6884912"/>
              <a:gd name="connsiteY31" fmla="*/ 617591 h 1161397"/>
              <a:gd name="connsiteX32" fmla="*/ 1455793 w 6884912"/>
              <a:gd name="connsiteY32" fmla="*/ 623174 h 1161397"/>
              <a:gd name="connsiteX33" fmla="*/ 1480758 w 6884912"/>
              <a:gd name="connsiteY33" fmla="*/ 620863 h 1161397"/>
              <a:gd name="connsiteX34" fmla="*/ 1483154 w 6884912"/>
              <a:gd name="connsiteY34" fmla="*/ 618527 h 1161397"/>
              <a:gd name="connsiteX35" fmla="*/ 1505495 w 6884912"/>
              <a:gd name="connsiteY35" fmla="*/ 624325 h 1161397"/>
              <a:gd name="connsiteX36" fmla="*/ 1526340 w 6884912"/>
              <a:gd name="connsiteY36" fmla="*/ 638496 h 1161397"/>
              <a:gd name="connsiteX37" fmla="*/ 1731986 w 6884912"/>
              <a:gd name="connsiteY37" fmla="*/ 589682 h 1161397"/>
              <a:gd name="connsiteX38" fmla="*/ 1927935 w 6884912"/>
              <a:gd name="connsiteY38" fmla="*/ 628540 h 1161397"/>
              <a:gd name="connsiteX39" fmla="*/ 2039075 w 6884912"/>
              <a:gd name="connsiteY39" fmla="*/ 599964 h 1161397"/>
              <a:gd name="connsiteX40" fmla="*/ 2066980 w 6884912"/>
              <a:gd name="connsiteY40" fmla="*/ 550413 h 1161397"/>
              <a:gd name="connsiteX41" fmla="*/ 2352236 w 6884912"/>
              <a:gd name="connsiteY41" fmla="*/ 519602 h 1161397"/>
              <a:gd name="connsiteX42" fmla="*/ 2420791 w 6884912"/>
              <a:gd name="connsiteY42" fmla="*/ 492826 h 1161397"/>
              <a:gd name="connsiteX43" fmla="*/ 2489932 w 6884912"/>
              <a:gd name="connsiteY43" fmla="*/ 507864 h 1161397"/>
              <a:gd name="connsiteX44" fmla="*/ 2512917 w 6884912"/>
              <a:gd name="connsiteY44" fmla="*/ 489127 h 1161397"/>
              <a:gd name="connsiteX45" fmla="*/ 2516783 w 6884912"/>
              <a:gd name="connsiteY45" fmla="*/ 485473 h 1161397"/>
              <a:gd name="connsiteX46" fmla="*/ 2534360 w 6884912"/>
              <a:gd name="connsiteY46" fmla="*/ 480064 h 1161397"/>
              <a:gd name="connsiteX47" fmla="*/ 2536691 w 6884912"/>
              <a:gd name="connsiteY47" fmla="*/ 467018 h 1161397"/>
              <a:gd name="connsiteX48" fmla="*/ 2561265 w 6884912"/>
              <a:gd name="connsiteY48" fmla="*/ 450623 h 1161397"/>
              <a:gd name="connsiteX49" fmla="*/ 2594349 w 6884912"/>
              <a:gd name="connsiteY49" fmla="*/ 443884 h 1161397"/>
              <a:gd name="connsiteX50" fmla="*/ 2754324 w 6884912"/>
              <a:gd name="connsiteY50" fmla="*/ 424766 h 1161397"/>
              <a:gd name="connsiteX51" fmla="*/ 2848470 w 6884912"/>
              <a:gd name="connsiteY51" fmla="*/ 405966 h 1161397"/>
              <a:gd name="connsiteX52" fmla="*/ 2881772 w 6884912"/>
              <a:gd name="connsiteY52" fmla="*/ 387260 h 1161397"/>
              <a:gd name="connsiteX53" fmla="*/ 2929932 w 6884912"/>
              <a:gd name="connsiteY53" fmla="*/ 368912 h 1161397"/>
              <a:gd name="connsiteX54" fmla="*/ 3013020 w 6884912"/>
              <a:gd name="connsiteY54" fmla="*/ 327578 h 1161397"/>
              <a:gd name="connsiteX55" fmla="*/ 3222191 w 6884912"/>
              <a:gd name="connsiteY55" fmla="*/ 307887 h 1161397"/>
              <a:gd name="connsiteX56" fmla="*/ 3227953 w 6884912"/>
              <a:gd name="connsiteY56" fmla="*/ 297650 h 1161397"/>
              <a:gd name="connsiteX57" fmla="*/ 3510042 w 6884912"/>
              <a:gd name="connsiteY57" fmla="*/ 311820 h 1161397"/>
              <a:gd name="connsiteX58" fmla="*/ 3626773 w 6884912"/>
              <a:gd name="connsiteY58" fmla="*/ 290452 h 1161397"/>
              <a:gd name="connsiteX59" fmla="*/ 3666217 w 6884912"/>
              <a:gd name="connsiteY59" fmla="*/ 273255 h 1161397"/>
              <a:gd name="connsiteX60" fmla="*/ 3732427 w 6884912"/>
              <a:gd name="connsiteY60" fmla="*/ 245039 h 1161397"/>
              <a:gd name="connsiteX61" fmla="*/ 3777022 w 6884912"/>
              <a:gd name="connsiteY61" fmla="*/ 200276 h 1161397"/>
              <a:gd name="connsiteX62" fmla="*/ 3791246 w 6884912"/>
              <a:gd name="connsiteY62" fmla="*/ 189996 h 1161397"/>
              <a:gd name="connsiteX63" fmla="*/ 3819864 w 6884912"/>
              <a:gd name="connsiteY63" fmla="*/ 194605 h 1161397"/>
              <a:gd name="connsiteX64" fmla="*/ 3830398 w 6884912"/>
              <a:gd name="connsiteY64" fmla="*/ 188383 h 1161397"/>
              <a:gd name="connsiteX65" fmla="*/ 3834360 w 6884912"/>
              <a:gd name="connsiteY65" fmla="*/ 188992 h 1161397"/>
              <a:gd name="connsiteX66" fmla="*/ 3843715 w 6884912"/>
              <a:gd name="connsiteY66" fmla="*/ 188752 h 1161397"/>
              <a:gd name="connsiteX67" fmla="*/ 3842609 w 6884912"/>
              <a:gd name="connsiteY67" fmla="*/ 197386 h 1161397"/>
              <a:gd name="connsiteX68" fmla="*/ 3853961 w 6884912"/>
              <a:gd name="connsiteY68" fmla="*/ 213380 h 1161397"/>
              <a:gd name="connsiteX69" fmla="*/ 3907640 w 6884912"/>
              <a:gd name="connsiteY69" fmla="*/ 207568 h 1161397"/>
              <a:gd name="connsiteX70" fmla="*/ 3910449 w 6884912"/>
              <a:gd name="connsiteY70" fmla="*/ 197808 h 1161397"/>
              <a:gd name="connsiteX71" fmla="*/ 3917197 w 6884912"/>
              <a:gd name="connsiteY71" fmla="*/ 196121 h 1161397"/>
              <a:gd name="connsiteX72" fmla="*/ 3922400 w 6884912"/>
              <a:gd name="connsiteY72" fmla="*/ 205056 h 1161397"/>
              <a:gd name="connsiteX73" fmla="*/ 4013061 w 6884912"/>
              <a:gd name="connsiteY73" fmla="*/ 224874 h 1161397"/>
              <a:gd name="connsiteX74" fmla="*/ 4220717 w 6884912"/>
              <a:gd name="connsiteY74" fmla="*/ 192946 h 1161397"/>
              <a:gd name="connsiteX75" fmla="*/ 4228802 w 6884912"/>
              <a:gd name="connsiteY75" fmla="*/ 201468 h 1161397"/>
              <a:gd name="connsiteX76" fmla="*/ 4289361 w 6884912"/>
              <a:gd name="connsiteY76" fmla="*/ 196642 h 1161397"/>
              <a:gd name="connsiteX77" fmla="*/ 4498913 w 6884912"/>
              <a:gd name="connsiteY77" fmla="*/ 118915 h 1161397"/>
              <a:gd name="connsiteX78" fmla="*/ 4617330 w 6884912"/>
              <a:gd name="connsiteY78" fmla="*/ 111163 h 1161397"/>
              <a:gd name="connsiteX79" fmla="*/ 4659778 w 6884912"/>
              <a:gd name="connsiteY79" fmla="*/ 118219 h 1161397"/>
              <a:gd name="connsiteX80" fmla="*/ 4730870 w 6884912"/>
              <a:gd name="connsiteY80" fmla="*/ 129432 h 1161397"/>
              <a:gd name="connsiteX81" fmla="*/ 4844073 w 6884912"/>
              <a:gd name="connsiteY81" fmla="*/ 161768 h 1161397"/>
              <a:gd name="connsiteX82" fmla="*/ 4856454 w 6884912"/>
              <a:gd name="connsiteY82" fmla="*/ 130488 h 1161397"/>
              <a:gd name="connsiteX83" fmla="*/ 4920038 w 6884912"/>
              <a:gd name="connsiteY83" fmla="*/ 140418 h 1161397"/>
              <a:gd name="connsiteX84" fmla="*/ 5016639 w 6884912"/>
              <a:gd name="connsiteY84" fmla="*/ 158905 h 1161397"/>
              <a:gd name="connsiteX85" fmla="*/ 5072009 w 6884912"/>
              <a:gd name="connsiteY85" fmla="*/ 161502 h 1161397"/>
              <a:gd name="connsiteX86" fmla="*/ 5223626 w 6884912"/>
              <a:gd name="connsiteY86" fmla="*/ 177356 h 1161397"/>
              <a:gd name="connsiteX87" fmla="*/ 5375773 w 6884912"/>
              <a:gd name="connsiteY87" fmla="*/ 199913 h 1161397"/>
              <a:gd name="connsiteX88" fmla="*/ 5467502 w 6884912"/>
              <a:gd name="connsiteY88" fmla="*/ 250963 h 1161397"/>
              <a:gd name="connsiteX89" fmla="*/ 5592395 w 6884912"/>
              <a:gd name="connsiteY89" fmla="*/ 265434 h 1161397"/>
              <a:gd name="connsiteX90" fmla="*/ 5613532 w 6884912"/>
              <a:gd name="connsiteY90" fmla="*/ 273379 h 1161397"/>
              <a:gd name="connsiteX91" fmla="*/ 5642173 w 6884912"/>
              <a:gd name="connsiteY91" fmla="*/ 266904 h 1161397"/>
              <a:gd name="connsiteX92" fmla="*/ 5756910 w 6884912"/>
              <a:gd name="connsiteY92" fmla="*/ 239211 h 1161397"/>
              <a:gd name="connsiteX93" fmla="*/ 5846667 w 6884912"/>
              <a:gd name="connsiteY93" fmla="*/ 201786 h 1161397"/>
              <a:gd name="connsiteX94" fmla="*/ 5960732 w 6884912"/>
              <a:gd name="connsiteY94" fmla="*/ 220708 h 1161397"/>
              <a:gd name="connsiteX95" fmla="*/ 6029542 w 6884912"/>
              <a:gd name="connsiteY95" fmla="*/ 210339 h 1161397"/>
              <a:gd name="connsiteX96" fmla="*/ 6141123 w 6884912"/>
              <a:gd name="connsiteY96" fmla="*/ 159923 h 1161397"/>
              <a:gd name="connsiteX97" fmla="*/ 6290640 w 6884912"/>
              <a:gd name="connsiteY97" fmla="*/ 167441 h 1161397"/>
              <a:gd name="connsiteX98" fmla="*/ 6322806 w 6884912"/>
              <a:gd name="connsiteY98" fmla="*/ 213293 h 1161397"/>
              <a:gd name="connsiteX99" fmla="*/ 6380420 w 6884912"/>
              <a:gd name="connsiteY99" fmla="*/ 173195 h 1161397"/>
              <a:gd name="connsiteX100" fmla="*/ 6507891 w 6884912"/>
              <a:gd name="connsiteY100" fmla="*/ 118474 h 1161397"/>
              <a:gd name="connsiteX101" fmla="*/ 6571807 w 6884912"/>
              <a:gd name="connsiteY101" fmla="*/ 98636 h 1161397"/>
              <a:gd name="connsiteX102" fmla="*/ 6671880 w 6884912"/>
              <a:gd name="connsiteY102" fmla="*/ 82931 h 1161397"/>
              <a:gd name="connsiteX103" fmla="*/ 6702266 w 6884912"/>
              <a:gd name="connsiteY103" fmla="*/ 75470 h 1161397"/>
              <a:gd name="connsiteX104" fmla="*/ 6845802 w 6884912"/>
              <a:gd name="connsiteY104" fmla="*/ 24496 h 1161397"/>
              <a:gd name="connsiteX105" fmla="*/ 6884912 w 6884912"/>
              <a:gd name="connsiteY105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171824 w 6884912"/>
              <a:gd name="connsiteY6" fmla="*/ 1133224 h 1161397"/>
              <a:gd name="connsiteX7" fmla="*/ 454970 w 6884912"/>
              <a:gd name="connsiteY7" fmla="*/ 1023343 h 1161397"/>
              <a:gd name="connsiteX8" fmla="*/ 601644 w 6884912"/>
              <a:gd name="connsiteY8" fmla="*/ 1003997 h 1161397"/>
              <a:gd name="connsiteX9" fmla="*/ 651408 w 6884912"/>
              <a:gd name="connsiteY9" fmla="*/ 984938 h 1161397"/>
              <a:gd name="connsiteX10" fmla="*/ 673197 w 6884912"/>
              <a:gd name="connsiteY10" fmla="*/ 1010060 h 1161397"/>
              <a:gd name="connsiteX11" fmla="*/ 723108 w 6884912"/>
              <a:gd name="connsiteY11" fmla="*/ 980081 h 1161397"/>
              <a:gd name="connsiteX12" fmla="*/ 797699 w 6884912"/>
              <a:gd name="connsiteY12" fmla="*/ 931362 h 1161397"/>
              <a:gd name="connsiteX13" fmla="*/ 843359 w 6884912"/>
              <a:gd name="connsiteY13" fmla="*/ 910894 h 1161397"/>
              <a:gd name="connsiteX14" fmla="*/ 965215 w 6884912"/>
              <a:gd name="connsiteY14" fmla="*/ 846701 h 1161397"/>
              <a:gd name="connsiteX15" fmla="*/ 1085080 w 6884912"/>
              <a:gd name="connsiteY15" fmla="*/ 776086 h 1161397"/>
              <a:gd name="connsiteX16" fmla="*/ 1131224 w 6884912"/>
              <a:gd name="connsiteY16" fmla="*/ 706160 h 1161397"/>
              <a:gd name="connsiteX17" fmla="*/ 1138051 w 6884912"/>
              <a:gd name="connsiteY17" fmla="*/ 702034 h 1161397"/>
              <a:gd name="connsiteX18" fmla="*/ 1158800 w 6884912"/>
              <a:gd name="connsiteY18" fmla="*/ 700004 h 1161397"/>
              <a:gd name="connsiteX19" fmla="*/ 1166947 w 6884912"/>
              <a:gd name="connsiteY19" fmla="*/ 700762 h 1161397"/>
              <a:gd name="connsiteX20" fmla="*/ 1178135 w 6884912"/>
              <a:gd name="connsiteY20" fmla="*/ 698631 h 1161397"/>
              <a:gd name="connsiteX21" fmla="*/ 1178301 w 6884912"/>
              <a:gd name="connsiteY21" fmla="*/ 698094 h 1161397"/>
              <a:gd name="connsiteX22" fmla="*/ 1188995 w 6884912"/>
              <a:gd name="connsiteY22" fmla="*/ 697048 h 1161397"/>
              <a:gd name="connsiteX23" fmla="*/ 1242716 w 6884912"/>
              <a:gd name="connsiteY23" fmla="*/ 698052 h 1161397"/>
              <a:gd name="connsiteX24" fmla="*/ 1299977 w 6884912"/>
              <a:gd name="connsiteY24" fmla="*/ 639196 h 1161397"/>
              <a:gd name="connsiteX25" fmla="*/ 1326190 w 6884912"/>
              <a:gd name="connsiteY25" fmla="*/ 625955 h 1161397"/>
              <a:gd name="connsiteX26" fmla="*/ 1339600 w 6884912"/>
              <a:gd name="connsiteY26" fmla="*/ 616295 h 1161397"/>
              <a:gd name="connsiteX27" fmla="*/ 1340054 w 6884912"/>
              <a:gd name="connsiteY27" fmla="*/ 614022 h 1161397"/>
              <a:gd name="connsiteX28" fmla="*/ 1391606 w 6884912"/>
              <a:gd name="connsiteY28" fmla="*/ 615229 h 1161397"/>
              <a:gd name="connsiteX29" fmla="*/ 1397565 w 6884912"/>
              <a:gd name="connsiteY29" fmla="*/ 611490 h 1161397"/>
              <a:gd name="connsiteX30" fmla="*/ 1432302 w 6884912"/>
              <a:gd name="connsiteY30" fmla="*/ 617267 h 1161397"/>
              <a:gd name="connsiteX31" fmla="*/ 1449644 w 6884912"/>
              <a:gd name="connsiteY31" fmla="*/ 617591 h 1161397"/>
              <a:gd name="connsiteX32" fmla="*/ 1455793 w 6884912"/>
              <a:gd name="connsiteY32" fmla="*/ 623174 h 1161397"/>
              <a:gd name="connsiteX33" fmla="*/ 1480758 w 6884912"/>
              <a:gd name="connsiteY33" fmla="*/ 620863 h 1161397"/>
              <a:gd name="connsiteX34" fmla="*/ 1483154 w 6884912"/>
              <a:gd name="connsiteY34" fmla="*/ 618527 h 1161397"/>
              <a:gd name="connsiteX35" fmla="*/ 1505495 w 6884912"/>
              <a:gd name="connsiteY35" fmla="*/ 624325 h 1161397"/>
              <a:gd name="connsiteX36" fmla="*/ 1526340 w 6884912"/>
              <a:gd name="connsiteY36" fmla="*/ 638496 h 1161397"/>
              <a:gd name="connsiteX37" fmla="*/ 1731986 w 6884912"/>
              <a:gd name="connsiteY37" fmla="*/ 589682 h 1161397"/>
              <a:gd name="connsiteX38" fmla="*/ 1927935 w 6884912"/>
              <a:gd name="connsiteY38" fmla="*/ 628540 h 1161397"/>
              <a:gd name="connsiteX39" fmla="*/ 2039075 w 6884912"/>
              <a:gd name="connsiteY39" fmla="*/ 599964 h 1161397"/>
              <a:gd name="connsiteX40" fmla="*/ 2066980 w 6884912"/>
              <a:gd name="connsiteY40" fmla="*/ 550413 h 1161397"/>
              <a:gd name="connsiteX41" fmla="*/ 2352236 w 6884912"/>
              <a:gd name="connsiteY41" fmla="*/ 519602 h 1161397"/>
              <a:gd name="connsiteX42" fmla="*/ 2420791 w 6884912"/>
              <a:gd name="connsiteY42" fmla="*/ 492826 h 1161397"/>
              <a:gd name="connsiteX43" fmla="*/ 2489932 w 6884912"/>
              <a:gd name="connsiteY43" fmla="*/ 507864 h 1161397"/>
              <a:gd name="connsiteX44" fmla="*/ 2512917 w 6884912"/>
              <a:gd name="connsiteY44" fmla="*/ 489127 h 1161397"/>
              <a:gd name="connsiteX45" fmla="*/ 2516783 w 6884912"/>
              <a:gd name="connsiteY45" fmla="*/ 485473 h 1161397"/>
              <a:gd name="connsiteX46" fmla="*/ 2534360 w 6884912"/>
              <a:gd name="connsiteY46" fmla="*/ 480064 h 1161397"/>
              <a:gd name="connsiteX47" fmla="*/ 2536691 w 6884912"/>
              <a:gd name="connsiteY47" fmla="*/ 467018 h 1161397"/>
              <a:gd name="connsiteX48" fmla="*/ 2561265 w 6884912"/>
              <a:gd name="connsiteY48" fmla="*/ 450623 h 1161397"/>
              <a:gd name="connsiteX49" fmla="*/ 2594349 w 6884912"/>
              <a:gd name="connsiteY49" fmla="*/ 443884 h 1161397"/>
              <a:gd name="connsiteX50" fmla="*/ 2754324 w 6884912"/>
              <a:gd name="connsiteY50" fmla="*/ 424766 h 1161397"/>
              <a:gd name="connsiteX51" fmla="*/ 2848470 w 6884912"/>
              <a:gd name="connsiteY51" fmla="*/ 405966 h 1161397"/>
              <a:gd name="connsiteX52" fmla="*/ 2881772 w 6884912"/>
              <a:gd name="connsiteY52" fmla="*/ 387260 h 1161397"/>
              <a:gd name="connsiteX53" fmla="*/ 2929932 w 6884912"/>
              <a:gd name="connsiteY53" fmla="*/ 368912 h 1161397"/>
              <a:gd name="connsiteX54" fmla="*/ 3013020 w 6884912"/>
              <a:gd name="connsiteY54" fmla="*/ 327578 h 1161397"/>
              <a:gd name="connsiteX55" fmla="*/ 3222191 w 6884912"/>
              <a:gd name="connsiteY55" fmla="*/ 307887 h 1161397"/>
              <a:gd name="connsiteX56" fmla="*/ 3227953 w 6884912"/>
              <a:gd name="connsiteY56" fmla="*/ 297650 h 1161397"/>
              <a:gd name="connsiteX57" fmla="*/ 3510042 w 6884912"/>
              <a:gd name="connsiteY57" fmla="*/ 311820 h 1161397"/>
              <a:gd name="connsiteX58" fmla="*/ 3626773 w 6884912"/>
              <a:gd name="connsiteY58" fmla="*/ 290452 h 1161397"/>
              <a:gd name="connsiteX59" fmla="*/ 3666217 w 6884912"/>
              <a:gd name="connsiteY59" fmla="*/ 273255 h 1161397"/>
              <a:gd name="connsiteX60" fmla="*/ 3732427 w 6884912"/>
              <a:gd name="connsiteY60" fmla="*/ 245039 h 1161397"/>
              <a:gd name="connsiteX61" fmla="*/ 3777022 w 6884912"/>
              <a:gd name="connsiteY61" fmla="*/ 200276 h 1161397"/>
              <a:gd name="connsiteX62" fmla="*/ 3791246 w 6884912"/>
              <a:gd name="connsiteY62" fmla="*/ 189996 h 1161397"/>
              <a:gd name="connsiteX63" fmla="*/ 3819864 w 6884912"/>
              <a:gd name="connsiteY63" fmla="*/ 194605 h 1161397"/>
              <a:gd name="connsiteX64" fmla="*/ 3830398 w 6884912"/>
              <a:gd name="connsiteY64" fmla="*/ 188383 h 1161397"/>
              <a:gd name="connsiteX65" fmla="*/ 3834360 w 6884912"/>
              <a:gd name="connsiteY65" fmla="*/ 188992 h 1161397"/>
              <a:gd name="connsiteX66" fmla="*/ 3843715 w 6884912"/>
              <a:gd name="connsiteY66" fmla="*/ 188752 h 1161397"/>
              <a:gd name="connsiteX67" fmla="*/ 3842609 w 6884912"/>
              <a:gd name="connsiteY67" fmla="*/ 197386 h 1161397"/>
              <a:gd name="connsiteX68" fmla="*/ 3853961 w 6884912"/>
              <a:gd name="connsiteY68" fmla="*/ 213380 h 1161397"/>
              <a:gd name="connsiteX69" fmla="*/ 3907640 w 6884912"/>
              <a:gd name="connsiteY69" fmla="*/ 207568 h 1161397"/>
              <a:gd name="connsiteX70" fmla="*/ 3910449 w 6884912"/>
              <a:gd name="connsiteY70" fmla="*/ 197808 h 1161397"/>
              <a:gd name="connsiteX71" fmla="*/ 3917197 w 6884912"/>
              <a:gd name="connsiteY71" fmla="*/ 196121 h 1161397"/>
              <a:gd name="connsiteX72" fmla="*/ 3922400 w 6884912"/>
              <a:gd name="connsiteY72" fmla="*/ 205056 h 1161397"/>
              <a:gd name="connsiteX73" fmla="*/ 4013061 w 6884912"/>
              <a:gd name="connsiteY73" fmla="*/ 224874 h 1161397"/>
              <a:gd name="connsiteX74" fmla="*/ 4220717 w 6884912"/>
              <a:gd name="connsiteY74" fmla="*/ 192946 h 1161397"/>
              <a:gd name="connsiteX75" fmla="*/ 4228802 w 6884912"/>
              <a:gd name="connsiteY75" fmla="*/ 201468 h 1161397"/>
              <a:gd name="connsiteX76" fmla="*/ 4289361 w 6884912"/>
              <a:gd name="connsiteY76" fmla="*/ 196642 h 1161397"/>
              <a:gd name="connsiteX77" fmla="*/ 4498913 w 6884912"/>
              <a:gd name="connsiteY77" fmla="*/ 118915 h 1161397"/>
              <a:gd name="connsiteX78" fmla="*/ 4617330 w 6884912"/>
              <a:gd name="connsiteY78" fmla="*/ 111163 h 1161397"/>
              <a:gd name="connsiteX79" fmla="*/ 4659778 w 6884912"/>
              <a:gd name="connsiteY79" fmla="*/ 118219 h 1161397"/>
              <a:gd name="connsiteX80" fmla="*/ 4730870 w 6884912"/>
              <a:gd name="connsiteY80" fmla="*/ 129432 h 1161397"/>
              <a:gd name="connsiteX81" fmla="*/ 4844073 w 6884912"/>
              <a:gd name="connsiteY81" fmla="*/ 161768 h 1161397"/>
              <a:gd name="connsiteX82" fmla="*/ 4856454 w 6884912"/>
              <a:gd name="connsiteY82" fmla="*/ 130488 h 1161397"/>
              <a:gd name="connsiteX83" fmla="*/ 4920038 w 6884912"/>
              <a:gd name="connsiteY83" fmla="*/ 140418 h 1161397"/>
              <a:gd name="connsiteX84" fmla="*/ 5016639 w 6884912"/>
              <a:gd name="connsiteY84" fmla="*/ 158905 h 1161397"/>
              <a:gd name="connsiteX85" fmla="*/ 5072009 w 6884912"/>
              <a:gd name="connsiteY85" fmla="*/ 161502 h 1161397"/>
              <a:gd name="connsiteX86" fmla="*/ 5223626 w 6884912"/>
              <a:gd name="connsiteY86" fmla="*/ 177356 h 1161397"/>
              <a:gd name="connsiteX87" fmla="*/ 5375773 w 6884912"/>
              <a:gd name="connsiteY87" fmla="*/ 199913 h 1161397"/>
              <a:gd name="connsiteX88" fmla="*/ 5467502 w 6884912"/>
              <a:gd name="connsiteY88" fmla="*/ 250963 h 1161397"/>
              <a:gd name="connsiteX89" fmla="*/ 5592395 w 6884912"/>
              <a:gd name="connsiteY89" fmla="*/ 265434 h 1161397"/>
              <a:gd name="connsiteX90" fmla="*/ 5613532 w 6884912"/>
              <a:gd name="connsiteY90" fmla="*/ 273379 h 1161397"/>
              <a:gd name="connsiteX91" fmla="*/ 5642173 w 6884912"/>
              <a:gd name="connsiteY91" fmla="*/ 266904 h 1161397"/>
              <a:gd name="connsiteX92" fmla="*/ 5756910 w 6884912"/>
              <a:gd name="connsiteY92" fmla="*/ 239211 h 1161397"/>
              <a:gd name="connsiteX93" fmla="*/ 5846667 w 6884912"/>
              <a:gd name="connsiteY93" fmla="*/ 201786 h 1161397"/>
              <a:gd name="connsiteX94" fmla="*/ 5960732 w 6884912"/>
              <a:gd name="connsiteY94" fmla="*/ 220708 h 1161397"/>
              <a:gd name="connsiteX95" fmla="*/ 6029542 w 6884912"/>
              <a:gd name="connsiteY95" fmla="*/ 210339 h 1161397"/>
              <a:gd name="connsiteX96" fmla="*/ 6141123 w 6884912"/>
              <a:gd name="connsiteY96" fmla="*/ 159923 h 1161397"/>
              <a:gd name="connsiteX97" fmla="*/ 6290640 w 6884912"/>
              <a:gd name="connsiteY97" fmla="*/ 167441 h 1161397"/>
              <a:gd name="connsiteX98" fmla="*/ 6322806 w 6884912"/>
              <a:gd name="connsiteY98" fmla="*/ 213293 h 1161397"/>
              <a:gd name="connsiteX99" fmla="*/ 6380420 w 6884912"/>
              <a:gd name="connsiteY99" fmla="*/ 173195 h 1161397"/>
              <a:gd name="connsiteX100" fmla="*/ 6507891 w 6884912"/>
              <a:gd name="connsiteY100" fmla="*/ 118474 h 1161397"/>
              <a:gd name="connsiteX101" fmla="*/ 6571807 w 6884912"/>
              <a:gd name="connsiteY101" fmla="*/ 98636 h 1161397"/>
              <a:gd name="connsiteX102" fmla="*/ 6671880 w 6884912"/>
              <a:gd name="connsiteY102" fmla="*/ 82931 h 1161397"/>
              <a:gd name="connsiteX103" fmla="*/ 6702266 w 6884912"/>
              <a:gd name="connsiteY103" fmla="*/ 75470 h 1161397"/>
              <a:gd name="connsiteX104" fmla="*/ 6845802 w 6884912"/>
              <a:gd name="connsiteY104" fmla="*/ 24496 h 1161397"/>
              <a:gd name="connsiteX105" fmla="*/ 6884912 w 6884912"/>
              <a:gd name="connsiteY105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119094 w 6884912"/>
              <a:gd name="connsiteY5" fmla="*/ 1148463 h 1161397"/>
              <a:gd name="connsiteX6" fmla="*/ 213420 w 6884912"/>
              <a:gd name="connsiteY6" fmla="*/ 1056868 h 1161397"/>
              <a:gd name="connsiteX7" fmla="*/ 454970 w 6884912"/>
              <a:gd name="connsiteY7" fmla="*/ 1023343 h 1161397"/>
              <a:gd name="connsiteX8" fmla="*/ 601644 w 6884912"/>
              <a:gd name="connsiteY8" fmla="*/ 1003997 h 1161397"/>
              <a:gd name="connsiteX9" fmla="*/ 651408 w 6884912"/>
              <a:gd name="connsiteY9" fmla="*/ 984938 h 1161397"/>
              <a:gd name="connsiteX10" fmla="*/ 673197 w 6884912"/>
              <a:gd name="connsiteY10" fmla="*/ 1010060 h 1161397"/>
              <a:gd name="connsiteX11" fmla="*/ 723108 w 6884912"/>
              <a:gd name="connsiteY11" fmla="*/ 980081 h 1161397"/>
              <a:gd name="connsiteX12" fmla="*/ 797699 w 6884912"/>
              <a:gd name="connsiteY12" fmla="*/ 931362 h 1161397"/>
              <a:gd name="connsiteX13" fmla="*/ 843359 w 6884912"/>
              <a:gd name="connsiteY13" fmla="*/ 910894 h 1161397"/>
              <a:gd name="connsiteX14" fmla="*/ 965215 w 6884912"/>
              <a:gd name="connsiteY14" fmla="*/ 846701 h 1161397"/>
              <a:gd name="connsiteX15" fmla="*/ 1085080 w 6884912"/>
              <a:gd name="connsiteY15" fmla="*/ 776086 h 1161397"/>
              <a:gd name="connsiteX16" fmla="*/ 1131224 w 6884912"/>
              <a:gd name="connsiteY16" fmla="*/ 706160 h 1161397"/>
              <a:gd name="connsiteX17" fmla="*/ 1138051 w 6884912"/>
              <a:gd name="connsiteY17" fmla="*/ 702034 h 1161397"/>
              <a:gd name="connsiteX18" fmla="*/ 1158800 w 6884912"/>
              <a:gd name="connsiteY18" fmla="*/ 700004 h 1161397"/>
              <a:gd name="connsiteX19" fmla="*/ 1166947 w 6884912"/>
              <a:gd name="connsiteY19" fmla="*/ 700762 h 1161397"/>
              <a:gd name="connsiteX20" fmla="*/ 1178135 w 6884912"/>
              <a:gd name="connsiteY20" fmla="*/ 698631 h 1161397"/>
              <a:gd name="connsiteX21" fmla="*/ 1178301 w 6884912"/>
              <a:gd name="connsiteY21" fmla="*/ 698094 h 1161397"/>
              <a:gd name="connsiteX22" fmla="*/ 1188995 w 6884912"/>
              <a:gd name="connsiteY22" fmla="*/ 697048 h 1161397"/>
              <a:gd name="connsiteX23" fmla="*/ 1242716 w 6884912"/>
              <a:gd name="connsiteY23" fmla="*/ 698052 h 1161397"/>
              <a:gd name="connsiteX24" fmla="*/ 1299977 w 6884912"/>
              <a:gd name="connsiteY24" fmla="*/ 639196 h 1161397"/>
              <a:gd name="connsiteX25" fmla="*/ 1326190 w 6884912"/>
              <a:gd name="connsiteY25" fmla="*/ 625955 h 1161397"/>
              <a:gd name="connsiteX26" fmla="*/ 1339600 w 6884912"/>
              <a:gd name="connsiteY26" fmla="*/ 616295 h 1161397"/>
              <a:gd name="connsiteX27" fmla="*/ 1340054 w 6884912"/>
              <a:gd name="connsiteY27" fmla="*/ 614022 h 1161397"/>
              <a:gd name="connsiteX28" fmla="*/ 1391606 w 6884912"/>
              <a:gd name="connsiteY28" fmla="*/ 615229 h 1161397"/>
              <a:gd name="connsiteX29" fmla="*/ 1397565 w 6884912"/>
              <a:gd name="connsiteY29" fmla="*/ 611490 h 1161397"/>
              <a:gd name="connsiteX30" fmla="*/ 1432302 w 6884912"/>
              <a:gd name="connsiteY30" fmla="*/ 617267 h 1161397"/>
              <a:gd name="connsiteX31" fmla="*/ 1449644 w 6884912"/>
              <a:gd name="connsiteY31" fmla="*/ 617591 h 1161397"/>
              <a:gd name="connsiteX32" fmla="*/ 1455793 w 6884912"/>
              <a:gd name="connsiteY32" fmla="*/ 623174 h 1161397"/>
              <a:gd name="connsiteX33" fmla="*/ 1480758 w 6884912"/>
              <a:gd name="connsiteY33" fmla="*/ 620863 h 1161397"/>
              <a:gd name="connsiteX34" fmla="*/ 1483154 w 6884912"/>
              <a:gd name="connsiteY34" fmla="*/ 618527 h 1161397"/>
              <a:gd name="connsiteX35" fmla="*/ 1505495 w 6884912"/>
              <a:gd name="connsiteY35" fmla="*/ 624325 h 1161397"/>
              <a:gd name="connsiteX36" fmla="*/ 1526340 w 6884912"/>
              <a:gd name="connsiteY36" fmla="*/ 638496 h 1161397"/>
              <a:gd name="connsiteX37" fmla="*/ 1731986 w 6884912"/>
              <a:gd name="connsiteY37" fmla="*/ 589682 h 1161397"/>
              <a:gd name="connsiteX38" fmla="*/ 1927935 w 6884912"/>
              <a:gd name="connsiteY38" fmla="*/ 628540 h 1161397"/>
              <a:gd name="connsiteX39" fmla="*/ 2039075 w 6884912"/>
              <a:gd name="connsiteY39" fmla="*/ 599964 h 1161397"/>
              <a:gd name="connsiteX40" fmla="*/ 2066980 w 6884912"/>
              <a:gd name="connsiteY40" fmla="*/ 550413 h 1161397"/>
              <a:gd name="connsiteX41" fmla="*/ 2352236 w 6884912"/>
              <a:gd name="connsiteY41" fmla="*/ 519602 h 1161397"/>
              <a:gd name="connsiteX42" fmla="*/ 2420791 w 6884912"/>
              <a:gd name="connsiteY42" fmla="*/ 492826 h 1161397"/>
              <a:gd name="connsiteX43" fmla="*/ 2489932 w 6884912"/>
              <a:gd name="connsiteY43" fmla="*/ 507864 h 1161397"/>
              <a:gd name="connsiteX44" fmla="*/ 2512917 w 6884912"/>
              <a:gd name="connsiteY44" fmla="*/ 489127 h 1161397"/>
              <a:gd name="connsiteX45" fmla="*/ 2516783 w 6884912"/>
              <a:gd name="connsiteY45" fmla="*/ 485473 h 1161397"/>
              <a:gd name="connsiteX46" fmla="*/ 2534360 w 6884912"/>
              <a:gd name="connsiteY46" fmla="*/ 480064 h 1161397"/>
              <a:gd name="connsiteX47" fmla="*/ 2536691 w 6884912"/>
              <a:gd name="connsiteY47" fmla="*/ 467018 h 1161397"/>
              <a:gd name="connsiteX48" fmla="*/ 2561265 w 6884912"/>
              <a:gd name="connsiteY48" fmla="*/ 450623 h 1161397"/>
              <a:gd name="connsiteX49" fmla="*/ 2594349 w 6884912"/>
              <a:gd name="connsiteY49" fmla="*/ 443884 h 1161397"/>
              <a:gd name="connsiteX50" fmla="*/ 2754324 w 6884912"/>
              <a:gd name="connsiteY50" fmla="*/ 424766 h 1161397"/>
              <a:gd name="connsiteX51" fmla="*/ 2848470 w 6884912"/>
              <a:gd name="connsiteY51" fmla="*/ 405966 h 1161397"/>
              <a:gd name="connsiteX52" fmla="*/ 2881772 w 6884912"/>
              <a:gd name="connsiteY52" fmla="*/ 387260 h 1161397"/>
              <a:gd name="connsiteX53" fmla="*/ 2929932 w 6884912"/>
              <a:gd name="connsiteY53" fmla="*/ 368912 h 1161397"/>
              <a:gd name="connsiteX54" fmla="*/ 3013020 w 6884912"/>
              <a:gd name="connsiteY54" fmla="*/ 327578 h 1161397"/>
              <a:gd name="connsiteX55" fmla="*/ 3222191 w 6884912"/>
              <a:gd name="connsiteY55" fmla="*/ 307887 h 1161397"/>
              <a:gd name="connsiteX56" fmla="*/ 3227953 w 6884912"/>
              <a:gd name="connsiteY56" fmla="*/ 297650 h 1161397"/>
              <a:gd name="connsiteX57" fmla="*/ 3510042 w 6884912"/>
              <a:gd name="connsiteY57" fmla="*/ 311820 h 1161397"/>
              <a:gd name="connsiteX58" fmla="*/ 3626773 w 6884912"/>
              <a:gd name="connsiteY58" fmla="*/ 290452 h 1161397"/>
              <a:gd name="connsiteX59" fmla="*/ 3666217 w 6884912"/>
              <a:gd name="connsiteY59" fmla="*/ 273255 h 1161397"/>
              <a:gd name="connsiteX60" fmla="*/ 3732427 w 6884912"/>
              <a:gd name="connsiteY60" fmla="*/ 245039 h 1161397"/>
              <a:gd name="connsiteX61" fmla="*/ 3777022 w 6884912"/>
              <a:gd name="connsiteY61" fmla="*/ 200276 h 1161397"/>
              <a:gd name="connsiteX62" fmla="*/ 3791246 w 6884912"/>
              <a:gd name="connsiteY62" fmla="*/ 189996 h 1161397"/>
              <a:gd name="connsiteX63" fmla="*/ 3819864 w 6884912"/>
              <a:gd name="connsiteY63" fmla="*/ 194605 h 1161397"/>
              <a:gd name="connsiteX64" fmla="*/ 3830398 w 6884912"/>
              <a:gd name="connsiteY64" fmla="*/ 188383 h 1161397"/>
              <a:gd name="connsiteX65" fmla="*/ 3834360 w 6884912"/>
              <a:gd name="connsiteY65" fmla="*/ 188992 h 1161397"/>
              <a:gd name="connsiteX66" fmla="*/ 3843715 w 6884912"/>
              <a:gd name="connsiteY66" fmla="*/ 188752 h 1161397"/>
              <a:gd name="connsiteX67" fmla="*/ 3842609 w 6884912"/>
              <a:gd name="connsiteY67" fmla="*/ 197386 h 1161397"/>
              <a:gd name="connsiteX68" fmla="*/ 3853961 w 6884912"/>
              <a:gd name="connsiteY68" fmla="*/ 213380 h 1161397"/>
              <a:gd name="connsiteX69" fmla="*/ 3907640 w 6884912"/>
              <a:gd name="connsiteY69" fmla="*/ 207568 h 1161397"/>
              <a:gd name="connsiteX70" fmla="*/ 3910449 w 6884912"/>
              <a:gd name="connsiteY70" fmla="*/ 197808 h 1161397"/>
              <a:gd name="connsiteX71" fmla="*/ 3917197 w 6884912"/>
              <a:gd name="connsiteY71" fmla="*/ 196121 h 1161397"/>
              <a:gd name="connsiteX72" fmla="*/ 3922400 w 6884912"/>
              <a:gd name="connsiteY72" fmla="*/ 205056 h 1161397"/>
              <a:gd name="connsiteX73" fmla="*/ 4013061 w 6884912"/>
              <a:gd name="connsiteY73" fmla="*/ 224874 h 1161397"/>
              <a:gd name="connsiteX74" fmla="*/ 4220717 w 6884912"/>
              <a:gd name="connsiteY74" fmla="*/ 192946 h 1161397"/>
              <a:gd name="connsiteX75" fmla="*/ 4228802 w 6884912"/>
              <a:gd name="connsiteY75" fmla="*/ 201468 h 1161397"/>
              <a:gd name="connsiteX76" fmla="*/ 4289361 w 6884912"/>
              <a:gd name="connsiteY76" fmla="*/ 196642 h 1161397"/>
              <a:gd name="connsiteX77" fmla="*/ 4498913 w 6884912"/>
              <a:gd name="connsiteY77" fmla="*/ 118915 h 1161397"/>
              <a:gd name="connsiteX78" fmla="*/ 4617330 w 6884912"/>
              <a:gd name="connsiteY78" fmla="*/ 111163 h 1161397"/>
              <a:gd name="connsiteX79" fmla="*/ 4659778 w 6884912"/>
              <a:gd name="connsiteY79" fmla="*/ 118219 h 1161397"/>
              <a:gd name="connsiteX80" fmla="*/ 4730870 w 6884912"/>
              <a:gd name="connsiteY80" fmla="*/ 129432 h 1161397"/>
              <a:gd name="connsiteX81" fmla="*/ 4844073 w 6884912"/>
              <a:gd name="connsiteY81" fmla="*/ 161768 h 1161397"/>
              <a:gd name="connsiteX82" fmla="*/ 4856454 w 6884912"/>
              <a:gd name="connsiteY82" fmla="*/ 130488 h 1161397"/>
              <a:gd name="connsiteX83" fmla="*/ 4920038 w 6884912"/>
              <a:gd name="connsiteY83" fmla="*/ 140418 h 1161397"/>
              <a:gd name="connsiteX84" fmla="*/ 5016639 w 6884912"/>
              <a:gd name="connsiteY84" fmla="*/ 158905 h 1161397"/>
              <a:gd name="connsiteX85" fmla="*/ 5072009 w 6884912"/>
              <a:gd name="connsiteY85" fmla="*/ 161502 h 1161397"/>
              <a:gd name="connsiteX86" fmla="*/ 5223626 w 6884912"/>
              <a:gd name="connsiteY86" fmla="*/ 177356 h 1161397"/>
              <a:gd name="connsiteX87" fmla="*/ 5375773 w 6884912"/>
              <a:gd name="connsiteY87" fmla="*/ 199913 h 1161397"/>
              <a:gd name="connsiteX88" fmla="*/ 5467502 w 6884912"/>
              <a:gd name="connsiteY88" fmla="*/ 250963 h 1161397"/>
              <a:gd name="connsiteX89" fmla="*/ 5592395 w 6884912"/>
              <a:gd name="connsiteY89" fmla="*/ 265434 h 1161397"/>
              <a:gd name="connsiteX90" fmla="*/ 5613532 w 6884912"/>
              <a:gd name="connsiteY90" fmla="*/ 273379 h 1161397"/>
              <a:gd name="connsiteX91" fmla="*/ 5642173 w 6884912"/>
              <a:gd name="connsiteY91" fmla="*/ 266904 h 1161397"/>
              <a:gd name="connsiteX92" fmla="*/ 5756910 w 6884912"/>
              <a:gd name="connsiteY92" fmla="*/ 239211 h 1161397"/>
              <a:gd name="connsiteX93" fmla="*/ 5846667 w 6884912"/>
              <a:gd name="connsiteY93" fmla="*/ 201786 h 1161397"/>
              <a:gd name="connsiteX94" fmla="*/ 5960732 w 6884912"/>
              <a:gd name="connsiteY94" fmla="*/ 220708 h 1161397"/>
              <a:gd name="connsiteX95" fmla="*/ 6029542 w 6884912"/>
              <a:gd name="connsiteY95" fmla="*/ 210339 h 1161397"/>
              <a:gd name="connsiteX96" fmla="*/ 6141123 w 6884912"/>
              <a:gd name="connsiteY96" fmla="*/ 159923 h 1161397"/>
              <a:gd name="connsiteX97" fmla="*/ 6290640 w 6884912"/>
              <a:gd name="connsiteY97" fmla="*/ 167441 h 1161397"/>
              <a:gd name="connsiteX98" fmla="*/ 6322806 w 6884912"/>
              <a:gd name="connsiteY98" fmla="*/ 213293 h 1161397"/>
              <a:gd name="connsiteX99" fmla="*/ 6380420 w 6884912"/>
              <a:gd name="connsiteY99" fmla="*/ 173195 h 1161397"/>
              <a:gd name="connsiteX100" fmla="*/ 6507891 w 6884912"/>
              <a:gd name="connsiteY100" fmla="*/ 118474 h 1161397"/>
              <a:gd name="connsiteX101" fmla="*/ 6571807 w 6884912"/>
              <a:gd name="connsiteY101" fmla="*/ 98636 h 1161397"/>
              <a:gd name="connsiteX102" fmla="*/ 6671880 w 6884912"/>
              <a:gd name="connsiteY102" fmla="*/ 82931 h 1161397"/>
              <a:gd name="connsiteX103" fmla="*/ 6702266 w 6884912"/>
              <a:gd name="connsiteY103" fmla="*/ 75470 h 1161397"/>
              <a:gd name="connsiteX104" fmla="*/ 6845802 w 6884912"/>
              <a:gd name="connsiteY104" fmla="*/ 24496 h 1161397"/>
              <a:gd name="connsiteX105" fmla="*/ 6884912 w 6884912"/>
              <a:gd name="connsiteY105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59043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601644 w 6884912"/>
              <a:gd name="connsiteY7" fmla="*/ 1003997 h 1161397"/>
              <a:gd name="connsiteX8" fmla="*/ 651408 w 6884912"/>
              <a:gd name="connsiteY8" fmla="*/ 984938 h 1161397"/>
              <a:gd name="connsiteX9" fmla="*/ 673197 w 6884912"/>
              <a:gd name="connsiteY9" fmla="*/ 1010060 h 1161397"/>
              <a:gd name="connsiteX10" fmla="*/ 723108 w 6884912"/>
              <a:gd name="connsiteY10" fmla="*/ 980081 h 1161397"/>
              <a:gd name="connsiteX11" fmla="*/ 797699 w 6884912"/>
              <a:gd name="connsiteY11" fmla="*/ 931362 h 1161397"/>
              <a:gd name="connsiteX12" fmla="*/ 843359 w 6884912"/>
              <a:gd name="connsiteY12" fmla="*/ 910894 h 1161397"/>
              <a:gd name="connsiteX13" fmla="*/ 965215 w 6884912"/>
              <a:gd name="connsiteY13" fmla="*/ 846701 h 1161397"/>
              <a:gd name="connsiteX14" fmla="*/ 1085080 w 6884912"/>
              <a:gd name="connsiteY14" fmla="*/ 776086 h 1161397"/>
              <a:gd name="connsiteX15" fmla="*/ 1131224 w 6884912"/>
              <a:gd name="connsiteY15" fmla="*/ 706160 h 1161397"/>
              <a:gd name="connsiteX16" fmla="*/ 1138051 w 6884912"/>
              <a:gd name="connsiteY16" fmla="*/ 702034 h 1161397"/>
              <a:gd name="connsiteX17" fmla="*/ 1158800 w 6884912"/>
              <a:gd name="connsiteY17" fmla="*/ 700004 h 1161397"/>
              <a:gd name="connsiteX18" fmla="*/ 1166947 w 6884912"/>
              <a:gd name="connsiteY18" fmla="*/ 700762 h 1161397"/>
              <a:gd name="connsiteX19" fmla="*/ 1178135 w 6884912"/>
              <a:gd name="connsiteY19" fmla="*/ 698631 h 1161397"/>
              <a:gd name="connsiteX20" fmla="*/ 1178301 w 6884912"/>
              <a:gd name="connsiteY20" fmla="*/ 698094 h 1161397"/>
              <a:gd name="connsiteX21" fmla="*/ 1188995 w 6884912"/>
              <a:gd name="connsiteY21" fmla="*/ 697048 h 1161397"/>
              <a:gd name="connsiteX22" fmla="*/ 1242716 w 6884912"/>
              <a:gd name="connsiteY22" fmla="*/ 698052 h 1161397"/>
              <a:gd name="connsiteX23" fmla="*/ 1299977 w 6884912"/>
              <a:gd name="connsiteY23" fmla="*/ 639196 h 1161397"/>
              <a:gd name="connsiteX24" fmla="*/ 1326190 w 6884912"/>
              <a:gd name="connsiteY24" fmla="*/ 625955 h 1161397"/>
              <a:gd name="connsiteX25" fmla="*/ 1339600 w 6884912"/>
              <a:gd name="connsiteY25" fmla="*/ 616295 h 1161397"/>
              <a:gd name="connsiteX26" fmla="*/ 1340054 w 6884912"/>
              <a:gd name="connsiteY26" fmla="*/ 614022 h 1161397"/>
              <a:gd name="connsiteX27" fmla="*/ 1391606 w 6884912"/>
              <a:gd name="connsiteY27" fmla="*/ 615229 h 1161397"/>
              <a:gd name="connsiteX28" fmla="*/ 1397565 w 6884912"/>
              <a:gd name="connsiteY28" fmla="*/ 611490 h 1161397"/>
              <a:gd name="connsiteX29" fmla="*/ 1432302 w 6884912"/>
              <a:gd name="connsiteY29" fmla="*/ 617267 h 1161397"/>
              <a:gd name="connsiteX30" fmla="*/ 1449644 w 6884912"/>
              <a:gd name="connsiteY30" fmla="*/ 617591 h 1161397"/>
              <a:gd name="connsiteX31" fmla="*/ 1455793 w 6884912"/>
              <a:gd name="connsiteY31" fmla="*/ 623174 h 1161397"/>
              <a:gd name="connsiteX32" fmla="*/ 1480758 w 6884912"/>
              <a:gd name="connsiteY32" fmla="*/ 620863 h 1161397"/>
              <a:gd name="connsiteX33" fmla="*/ 1483154 w 6884912"/>
              <a:gd name="connsiteY33" fmla="*/ 618527 h 1161397"/>
              <a:gd name="connsiteX34" fmla="*/ 1505495 w 6884912"/>
              <a:gd name="connsiteY34" fmla="*/ 624325 h 1161397"/>
              <a:gd name="connsiteX35" fmla="*/ 1526340 w 6884912"/>
              <a:gd name="connsiteY35" fmla="*/ 638496 h 1161397"/>
              <a:gd name="connsiteX36" fmla="*/ 1731986 w 6884912"/>
              <a:gd name="connsiteY36" fmla="*/ 589682 h 1161397"/>
              <a:gd name="connsiteX37" fmla="*/ 1927935 w 6884912"/>
              <a:gd name="connsiteY37" fmla="*/ 628540 h 1161397"/>
              <a:gd name="connsiteX38" fmla="*/ 2039075 w 6884912"/>
              <a:gd name="connsiteY38" fmla="*/ 599964 h 1161397"/>
              <a:gd name="connsiteX39" fmla="*/ 2066980 w 6884912"/>
              <a:gd name="connsiteY39" fmla="*/ 550413 h 1161397"/>
              <a:gd name="connsiteX40" fmla="*/ 2352236 w 6884912"/>
              <a:gd name="connsiteY40" fmla="*/ 519602 h 1161397"/>
              <a:gd name="connsiteX41" fmla="*/ 2420791 w 6884912"/>
              <a:gd name="connsiteY41" fmla="*/ 492826 h 1161397"/>
              <a:gd name="connsiteX42" fmla="*/ 2489932 w 6884912"/>
              <a:gd name="connsiteY42" fmla="*/ 507864 h 1161397"/>
              <a:gd name="connsiteX43" fmla="*/ 2512917 w 6884912"/>
              <a:gd name="connsiteY43" fmla="*/ 489127 h 1161397"/>
              <a:gd name="connsiteX44" fmla="*/ 2516783 w 6884912"/>
              <a:gd name="connsiteY44" fmla="*/ 485473 h 1161397"/>
              <a:gd name="connsiteX45" fmla="*/ 2534360 w 6884912"/>
              <a:gd name="connsiteY45" fmla="*/ 480064 h 1161397"/>
              <a:gd name="connsiteX46" fmla="*/ 2536691 w 6884912"/>
              <a:gd name="connsiteY46" fmla="*/ 467018 h 1161397"/>
              <a:gd name="connsiteX47" fmla="*/ 2561265 w 6884912"/>
              <a:gd name="connsiteY47" fmla="*/ 450623 h 1161397"/>
              <a:gd name="connsiteX48" fmla="*/ 2594349 w 6884912"/>
              <a:gd name="connsiteY48" fmla="*/ 443884 h 1161397"/>
              <a:gd name="connsiteX49" fmla="*/ 2754324 w 6884912"/>
              <a:gd name="connsiteY49" fmla="*/ 424766 h 1161397"/>
              <a:gd name="connsiteX50" fmla="*/ 2848470 w 6884912"/>
              <a:gd name="connsiteY50" fmla="*/ 405966 h 1161397"/>
              <a:gd name="connsiteX51" fmla="*/ 2881772 w 6884912"/>
              <a:gd name="connsiteY51" fmla="*/ 387260 h 1161397"/>
              <a:gd name="connsiteX52" fmla="*/ 2929932 w 6884912"/>
              <a:gd name="connsiteY52" fmla="*/ 368912 h 1161397"/>
              <a:gd name="connsiteX53" fmla="*/ 3013020 w 6884912"/>
              <a:gd name="connsiteY53" fmla="*/ 327578 h 1161397"/>
              <a:gd name="connsiteX54" fmla="*/ 3222191 w 6884912"/>
              <a:gd name="connsiteY54" fmla="*/ 307887 h 1161397"/>
              <a:gd name="connsiteX55" fmla="*/ 3227953 w 6884912"/>
              <a:gd name="connsiteY55" fmla="*/ 297650 h 1161397"/>
              <a:gd name="connsiteX56" fmla="*/ 3510042 w 6884912"/>
              <a:gd name="connsiteY56" fmla="*/ 311820 h 1161397"/>
              <a:gd name="connsiteX57" fmla="*/ 3626773 w 6884912"/>
              <a:gd name="connsiteY57" fmla="*/ 290452 h 1161397"/>
              <a:gd name="connsiteX58" fmla="*/ 3666217 w 6884912"/>
              <a:gd name="connsiteY58" fmla="*/ 273255 h 1161397"/>
              <a:gd name="connsiteX59" fmla="*/ 3732427 w 6884912"/>
              <a:gd name="connsiteY59" fmla="*/ 245039 h 1161397"/>
              <a:gd name="connsiteX60" fmla="*/ 3777022 w 6884912"/>
              <a:gd name="connsiteY60" fmla="*/ 200276 h 1161397"/>
              <a:gd name="connsiteX61" fmla="*/ 3791246 w 6884912"/>
              <a:gd name="connsiteY61" fmla="*/ 189996 h 1161397"/>
              <a:gd name="connsiteX62" fmla="*/ 3819864 w 6884912"/>
              <a:gd name="connsiteY62" fmla="*/ 194605 h 1161397"/>
              <a:gd name="connsiteX63" fmla="*/ 3830398 w 6884912"/>
              <a:gd name="connsiteY63" fmla="*/ 188383 h 1161397"/>
              <a:gd name="connsiteX64" fmla="*/ 3834360 w 6884912"/>
              <a:gd name="connsiteY64" fmla="*/ 188992 h 1161397"/>
              <a:gd name="connsiteX65" fmla="*/ 3843715 w 6884912"/>
              <a:gd name="connsiteY65" fmla="*/ 188752 h 1161397"/>
              <a:gd name="connsiteX66" fmla="*/ 3842609 w 6884912"/>
              <a:gd name="connsiteY66" fmla="*/ 197386 h 1161397"/>
              <a:gd name="connsiteX67" fmla="*/ 3853961 w 6884912"/>
              <a:gd name="connsiteY67" fmla="*/ 213380 h 1161397"/>
              <a:gd name="connsiteX68" fmla="*/ 3907640 w 6884912"/>
              <a:gd name="connsiteY68" fmla="*/ 207568 h 1161397"/>
              <a:gd name="connsiteX69" fmla="*/ 3910449 w 6884912"/>
              <a:gd name="connsiteY69" fmla="*/ 197808 h 1161397"/>
              <a:gd name="connsiteX70" fmla="*/ 3917197 w 6884912"/>
              <a:gd name="connsiteY70" fmla="*/ 196121 h 1161397"/>
              <a:gd name="connsiteX71" fmla="*/ 3922400 w 6884912"/>
              <a:gd name="connsiteY71" fmla="*/ 205056 h 1161397"/>
              <a:gd name="connsiteX72" fmla="*/ 4013061 w 6884912"/>
              <a:gd name="connsiteY72" fmla="*/ 224874 h 1161397"/>
              <a:gd name="connsiteX73" fmla="*/ 4220717 w 6884912"/>
              <a:gd name="connsiteY73" fmla="*/ 192946 h 1161397"/>
              <a:gd name="connsiteX74" fmla="*/ 4228802 w 6884912"/>
              <a:gd name="connsiteY74" fmla="*/ 201468 h 1161397"/>
              <a:gd name="connsiteX75" fmla="*/ 4289361 w 6884912"/>
              <a:gd name="connsiteY75" fmla="*/ 196642 h 1161397"/>
              <a:gd name="connsiteX76" fmla="*/ 4498913 w 6884912"/>
              <a:gd name="connsiteY76" fmla="*/ 118915 h 1161397"/>
              <a:gd name="connsiteX77" fmla="*/ 4617330 w 6884912"/>
              <a:gd name="connsiteY77" fmla="*/ 111163 h 1161397"/>
              <a:gd name="connsiteX78" fmla="*/ 4659778 w 6884912"/>
              <a:gd name="connsiteY78" fmla="*/ 118219 h 1161397"/>
              <a:gd name="connsiteX79" fmla="*/ 4730870 w 6884912"/>
              <a:gd name="connsiteY79" fmla="*/ 129432 h 1161397"/>
              <a:gd name="connsiteX80" fmla="*/ 4844073 w 6884912"/>
              <a:gd name="connsiteY80" fmla="*/ 161768 h 1161397"/>
              <a:gd name="connsiteX81" fmla="*/ 4856454 w 6884912"/>
              <a:gd name="connsiteY81" fmla="*/ 130488 h 1161397"/>
              <a:gd name="connsiteX82" fmla="*/ 4920038 w 6884912"/>
              <a:gd name="connsiteY82" fmla="*/ 140418 h 1161397"/>
              <a:gd name="connsiteX83" fmla="*/ 5016639 w 6884912"/>
              <a:gd name="connsiteY83" fmla="*/ 158905 h 1161397"/>
              <a:gd name="connsiteX84" fmla="*/ 5072009 w 6884912"/>
              <a:gd name="connsiteY84" fmla="*/ 161502 h 1161397"/>
              <a:gd name="connsiteX85" fmla="*/ 5223626 w 6884912"/>
              <a:gd name="connsiteY85" fmla="*/ 177356 h 1161397"/>
              <a:gd name="connsiteX86" fmla="*/ 5375773 w 6884912"/>
              <a:gd name="connsiteY86" fmla="*/ 199913 h 1161397"/>
              <a:gd name="connsiteX87" fmla="*/ 5467502 w 6884912"/>
              <a:gd name="connsiteY87" fmla="*/ 250963 h 1161397"/>
              <a:gd name="connsiteX88" fmla="*/ 5592395 w 6884912"/>
              <a:gd name="connsiteY88" fmla="*/ 265434 h 1161397"/>
              <a:gd name="connsiteX89" fmla="*/ 5613532 w 6884912"/>
              <a:gd name="connsiteY89" fmla="*/ 273379 h 1161397"/>
              <a:gd name="connsiteX90" fmla="*/ 5642173 w 6884912"/>
              <a:gd name="connsiteY90" fmla="*/ 266904 h 1161397"/>
              <a:gd name="connsiteX91" fmla="*/ 5756910 w 6884912"/>
              <a:gd name="connsiteY91" fmla="*/ 239211 h 1161397"/>
              <a:gd name="connsiteX92" fmla="*/ 5846667 w 6884912"/>
              <a:gd name="connsiteY92" fmla="*/ 201786 h 1161397"/>
              <a:gd name="connsiteX93" fmla="*/ 5960732 w 6884912"/>
              <a:gd name="connsiteY93" fmla="*/ 220708 h 1161397"/>
              <a:gd name="connsiteX94" fmla="*/ 6029542 w 6884912"/>
              <a:gd name="connsiteY94" fmla="*/ 210339 h 1161397"/>
              <a:gd name="connsiteX95" fmla="*/ 6141123 w 6884912"/>
              <a:gd name="connsiteY95" fmla="*/ 159923 h 1161397"/>
              <a:gd name="connsiteX96" fmla="*/ 6290640 w 6884912"/>
              <a:gd name="connsiteY96" fmla="*/ 167441 h 1161397"/>
              <a:gd name="connsiteX97" fmla="*/ 6322806 w 6884912"/>
              <a:gd name="connsiteY97" fmla="*/ 213293 h 1161397"/>
              <a:gd name="connsiteX98" fmla="*/ 6380420 w 6884912"/>
              <a:gd name="connsiteY98" fmla="*/ 173195 h 1161397"/>
              <a:gd name="connsiteX99" fmla="*/ 6507891 w 6884912"/>
              <a:gd name="connsiteY99" fmla="*/ 118474 h 1161397"/>
              <a:gd name="connsiteX100" fmla="*/ 6571807 w 6884912"/>
              <a:gd name="connsiteY100" fmla="*/ 98636 h 1161397"/>
              <a:gd name="connsiteX101" fmla="*/ 6671880 w 6884912"/>
              <a:gd name="connsiteY101" fmla="*/ 82931 h 1161397"/>
              <a:gd name="connsiteX102" fmla="*/ 6702266 w 6884912"/>
              <a:gd name="connsiteY102" fmla="*/ 75470 h 1161397"/>
              <a:gd name="connsiteX103" fmla="*/ 6845802 w 6884912"/>
              <a:gd name="connsiteY103" fmla="*/ 24496 h 1161397"/>
              <a:gd name="connsiteX104" fmla="*/ 6884912 w 6884912"/>
              <a:gd name="connsiteY104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601644 w 6884912"/>
              <a:gd name="connsiteY7" fmla="*/ 1003997 h 1161397"/>
              <a:gd name="connsiteX8" fmla="*/ 651408 w 6884912"/>
              <a:gd name="connsiteY8" fmla="*/ 984938 h 1161397"/>
              <a:gd name="connsiteX9" fmla="*/ 673197 w 6884912"/>
              <a:gd name="connsiteY9" fmla="*/ 1010060 h 1161397"/>
              <a:gd name="connsiteX10" fmla="*/ 723108 w 6884912"/>
              <a:gd name="connsiteY10" fmla="*/ 980081 h 1161397"/>
              <a:gd name="connsiteX11" fmla="*/ 797699 w 6884912"/>
              <a:gd name="connsiteY11" fmla="*/ 931362 h 1161397"/>
              <a:gd name="connsiteX12" fmla="*/ 843359 w 6884912"/>
              <a:gd name="connsiteY12" fmla="*/ 910894 h 1161397"/>
              <a:gd name="connsiteX13" fmla="*/ 965215 w 6884912"/>
              <a:gd name="connsiteY13" fmla="*/ 846701 h 1161397"/>
              <a:gd name="connsiteX14" fmla="*/ 1085080 w 6884912"/>
              <a:gd name="connsiteY14" fmla="*/ 776086 h 1161397"/>
              <a:gd name="connsiteX15" fmla="*/ 1131224 w 6884912"/>
              <a:gd name="connsiteY15" fmla="*/ 706160 h 1161397"/>
              <a:gd name="connsiteX16" fmla="*/ 1138051 w 6884912"/>
              <a:gd name="connsiteY16" fmla="*/ 702034 h 1161397"/>
              <a:gd name="connsiteX17" fmla="*/ 1158800 w 6884912"/>
              <a:gd name="connsiteY17" fmla="*/ 700004 h 1161397"/>
              <a:gd name="connsiteX18" fmla="*/ 1166947 w 6884912"/>
              <a:gd name="connsiteY18" fmla="*/ 700762 h 1161397"/>
              <a:gd name="connsiteX19" fmla="*/ 1178135 w 6884912"/>
              <a:gd name="connsiteY19" fmla="*/ 698631 h 1161397"/>
              <a:gd name="connsiteX20" fmla="*/ 1178301 w 6884912"/>
              <a:gd name="connsiteY20" fmla="*/ 698094 h 1161397"/>
              <a:gd name="connsiteX21" fmla="*/ 1188995 w 6884912"/>
              <a:gd name="connsiteY21" fmla="*/ 697048 h 1161397"/>
              <a:gd name="connsiteX22" fmla="*/ 1242716 w 6884912"/>
              <a:gd name="connsiteY22" fmla="*/ 698052 h 1161397"/>
              <a:gd name="connsiteX23" fmla="*/ 1299977 w 6884912"/>
              <a:gd name="connsiteY23" fmla="*/ 639196 h 1161397"/>
              <a:gd name="connsiteX24" fmla="*/ 1326190 w 6884912"/>
              <a:gd name="connsiteY24" fmla="*/ 625955 h 1161397"/>
              <a:gd name="connsiteX25" fmla="*/ 1339600 w 6884912"/>
              <a:gd name="connsiteY25" fmla="*/ 616295 h 1161397"/>
              <a:gd name="connsiteX26" fmla="*/ 1340054 w 6884912"/>
              <a:gd name="connsiteY26" fmla="*/ 614022 h 1161397"/>
              <a:gd name="connsiteX27" fmla="*/ 1391606 w 6884912"/>
              <a:gd name="connsiteY27" fmla="*/ 615229 h 1161397"/>
              <a:gd name="connsiteX28" fmla="*/ 1397565 w 6884912"/>
              <a:gd name="connsiteY28" fmla="*/ 611490 h 1161397"/>
              <a:gd name="connsiteX29" fmla="*/ 1432302 w 6884912"/>
              <a:gd name="connsiteY29" fmla="*/ 617267 h 1161397"/>
              <a:gd name="connsiteX30" fmla="*/ 1449644 w 6884912"/>
              <a:gd name="connsiteY30" fmla="*/ 617591 h 1161397"/>
              <a:gd name="connsiteX31" fmla="*/ 1455793 w 6884912"/>
              <a:gd name="connsiteY31" fmla="*/ 623174 h 1161397"/>
              <a:gd name="connsiteX32" fmla="*/ 1480758 w 6884912"/>
              <a:gd name="connsiteY32" fmla="*/ 620863 h 1161397"/>
              <a:gd name="connsiteX33" fmla="*/ 1483154 w 6884912"/>
              <a:gd name="connsiteY33" fmla="*/ 618527 h 1161397"/>
              <a:gd name="connsiteX34" fmla="*/ 1505495 w 6884912"/>
              <a:gd name="connsiteY34" fmla="*/ 624325 h 1161397"/>
              <a:gd name="connsiteX35" fmla="*/ 1526340 w 6884912"/>
              <a:gd name="connsiteY35" fmla="*/ 638496 h 1161397"/>
              <a:gd name="connsiteX36" fmla="*/ 1731986 w 6884912"/>
              <a:gd name="connsiteY36" fmla="*/ 589682 h 1161397"/>
              <a:gd name="connsiteX37" fmla="*/ 1927935 w 6884912"/>
              <a:gd name="connsiteY37" fmla="*/ 628540 h 1161397"/>
              <a:gd name="connsiteX38" fmla="*/ 2039075 w 6884912"/>
              <a:gd name="connsiteY38" fmla="*/ 599964 h 1161397"/>
              <a:gd name="connsiteX39" fmla="*/ 2066980 w 6884912"/>
              <a:gd name="connsiteY39" fmla="*/ 550413 h 1161397"/>
              <a:gd name="connsiteX40" fmla="*/ 2352236 w 6884912"/>
              <a:gd name="connsiteY40" fmla="*/ 519602 h 1161397"/>
              <a:gd name="connsiteX41" fmla="*/ 2420791 w 6884912"/>
              <a:gd name="connsiteY41" fmla="*/ 492826 h 1161397"/>
              <a:gd name="connsiteX42" fmla="*/ 2489932 w 6884912"/>
              <a:gd name="connsiteY42" fmla="*/ 507864 h 1161397"/>
              <a:gd name="connsiteX43" fmla="*/ 2512917 w 6884912"/>
              <a:gd name="connsiteY43" fmla="*/ 489127 h 1161397"/>
              <a:gd name="connsiteX44" fmla="*/ 2516783 w 6884912"/>
              <a:gd name="connsiteY44" fmla="*/ 485473 h 1161397"/>
              <a:gd name="connsiteX45" fmla="*/ 2534360 w 6884912"/>
              <a:gd name="connsiteY45" fmla="*/ 480064 h 1161397"/>
              <a:gd name="connsiteX46" fmla="*/ 2536691 w 6884912"/>
              <a:gd name="connsiteY46" fmla="*/ 467018 h 1161397"/>
              <a:gd name="connsiteX47" fmla="*/ 2561265 w 6884912"/>
              <a:gd name="connsiteY47" fmla="*/ 450623 h 1161397"/>
              <a:gd name="connsiteX48" fmla="*/ 2594349 w 6884912"/>
              <a:gd name="connsiteY48" fmla="*/ 443884 h 1161397"/>
              <a:gd name="connsiteX49" fmla="*/ 2754324 w 6884912"/>
              <a:gd name="connsiteY49" fmla="*/ 424766 h 1161397"/>
              <a:gd name="connsiteX50" fmla="*/ 2848470 w 6884912"/>
              <a:gd name="connsiteY50" fmla="*/ 405966 h 1161397"/>
              <a:gd name="connsiteX51" fmla="*/ 2881772 w 6884912"/>
              <a:gd name="connsiteY51" fmla="*/ 387260 h 1161397"/>
              <a:gd name="connsiteX52" fmla="*/ 2929932 w 6884912"/>
              <a:gd name="connsiteY52" fmla="*/ 368912 h 1161397"/>
              <a:gd name="connsiteX53" fmla="*/ 3013020 w 6884912"/>
              <a:gd name="connsiteY53" fmla="*/ 327578 h 1161397"/>
              <a:gd name="connsiteX54" fmla="*/ 3222191 w 6884912"/>
              <a:gd name="connsiteY54" fmla="*/ 307887 h 1161397"/>
              <a:gd name="connsiteX55" fmla="*/ 3227953 w 6884912"/>
              <a:gd name="connsiteY55" fmla="*/ 297650 h 1161397"/>
              <a:gd name="connsiteX56" fmla="*/ 3510042 w 6884912"/>
              <a:gd name="connsiteY56" fmla="*/ 311820 h 1161397"/>
              <a:gd name="connsiteX57" fmla="*/ 3626773 w 6884912"/>
              <a:gd name="connsiteY57" fmla="*/ 290452 h 1161397"/>
              <a:gd name="connsiteX58" fmla="*/ 3666217 w 6884912"/>
              <a:gd name="connsiteY58" fmla="*/ 273255 h 1161397"/>
              <a:gd name="connsiteX59" fmla="*/ 3732427 w 6884912"/>
              <a:gd name="connsiteY59" fmla="*/ 245039 h 1161397"/>
              <a:gd name="connsiteX60" fmla="*/ 3777022 w 6884912"/>
              <a:gd name="connsiteY60" fmla="*/ 200276 h 1161397"/>
              <a:gd name="connsiteX61" fmla="*/ 3791246 w 6884912"/>
              <a:gd name="connsiteY61" fmla="*/ 189996 h 1161397"/>
              <a:gd name="connsiteX62" fmla="*/ 3819864 w 6884912"/>
              <a:gd name="connsiteY62" fmla="*/ 194605 h 1161397"/>
              <a:gd name="connsiteX63" fmla="*/ 3830398 w 6884912"/>
              <a:gd name="connsiteY63" fmla="*/ 188383 h 1161397"/>
              <a:gd name="connsiteX64" fmla="*/ 3834360 w 6884912"/>
              <a:gd name="connsiteY64" fmla="*/ 188992 h 1161397"/>
              <a:gd name="connsiteX65" fmla="*/ 3843715 w 6884912"/>
              <a:gd name="connsiteY65" fmla="*/ 188752 h 1161397"/>
              <a:gd name="connsiteX66" fmla="*/ 3842609 w 6884912"/>
              <a:gd name="connsiteY66" fmla="*/ 197386 h 1161397"/>
              <a:gd name="connsiteX67" fmla="*/ 3853961 w 6884912"/>
              <a:gd name="connsiteY67" fmla="*/ 213380 h 1161397"/>
              <a:gd name="connsiteX68" fmla="*/ 3907640 w 6884912"/>
              <a:gd name="connsiteY68" fmla="*/ 207568 h 1161397"/>
              <a:gd name="connsiteX69" fmla="*/ 3910449 w 6884912"/>
              <a:gd name="connsiteY69" fmla="*/ 197808 h 1161397"/>
              <a:gd name="connsiteX70" fmla="*/ 3917197 w 6884912"/>
              <a:gd name="connsiteY70" fmla="*/ 196121 h 1161397"/>
              <a:gd name="connsiteX71" fmla="*/ 3922400 w 6884912"/>
              <a:gd name="connsiteY71" fmla="*/ 205056 h 1161397"/>
              <a:gd name="connsiteX72" fmla="*/ 4013061 w 6884912"/>
              <a:gd name="connsiteY72" fmla="*/ 224874 h 1161397"/>
              <a:gd name="connsiteX73" fmla="*/ 4220717 w 6884912"/>
              <a:gd name="connsiteY73" fmla="*/ 192946 h 1161397"/>
              <a:gd name="connsiteX74" fmla="*/ 4228802 w 6884912"/>
              <a:gd name="connsiteY74" fmla="*/ 201468 h 1161397"/>
              <a:gd name="connsiteX75" fmla="*/ 4289361 w 6884912"/>
              <a:gd name="connsiteY75" fmla="*/ 196642 h 1161397"/>
              <a:gd name="connsiteX76" fmla="*/ 4498913 w 6884912"/>
              <a:gd name="connsiteY76" fmla="*/ 118915 h 1161397"/>
              <a:gd name="connsiteX77" fmla="*/ 4617330 w 6884912"/>
              <a:gd name="connsiteY77" fmla="*/ 111163 h 1161397"/>
              <a:gd name="connsiteX78" fmla="*/ 4659778 w 6884912"/>
              <a:gd name="connsiteY78" fmla="*/ 118219 h 1161397"/>
              <a:gd name="connsiteX79" fmla="*/ 4730870 w 6884912"/>
              <a:gd name="connsiteY79" fmla="*/ 129432 h 1161397"/>
              <a:gd name="connsiteX80" fmla="*/ 4844073 w 6884912"/>
              <a:gd name="connsiteY80" fmla="*/ 161768 h 1161397"/>
              <a:gd name="connsiteX81" fmla="*/ 4856454 w 6884912"/>
              <a:gd name="connsiteY81" fmla="*/ 130488 h 1161397"/>
              <a:gd name="connsiteX82" fmla="*/ 4920038 w 6884912"/>
              <a:gd name="connsiteY82" fmla="*/ 140418 h 1161397"/>
              <a:gd name="connsiteX83" fmla="*/ 5016639 w 6884912"/>
              <a:gd name="connsiteY83" fmla="*/ 158905 h 1161397"/>
              <a:gd name="connsiteX84" fmla="*/ 5072009 w 6884912"/>
              <a:gd name="connsiteY84" fmla="*/ 161502 h 1161397"/>
              <a:gd name="connsiteX85" fmla="*/ 5223626 w 6884912"/>
              <a:gd name="connsiteY85" fmla="*/ 177356 h 1161397"/>
              <a:gd name="connsiteX86" fmla="*/ 5375773 w 6884912"/>
              <a:gd name="connsiteY86" fmla="*/ 199913 h 1161397"/>
              <a:gd name="connsiteX87" fmla="*/ 5467502 w 6884912"/>
              <a:gd name="connsiteY87" fmla="*/ 250963 h 1161397"/>
              <a:gd name="connsiteX88" fmla="*/ 5592395 w 6884912"/>
              <a:gd name="connsiteY88" fmla="*/ 265434 h 1161397"/>
              <a:gd name="connsiteX89" fmla="*/ 5613532 w 6884912"/>
              <a:gd name="connsiteY89" fmla="*/ 273379 h 1161397"/>
              <a:gd name="connsiteX90" fmla="*/ 5642173 w 6884912"/>
              <a:gd name="connsiteY90" fmla="*/ 266904 h 1161397"/>
              <a:gd name="connsiteX91" fmla="*/ 5756910 w 6884912"/>
              <a:gd name="connsiteY91" fmla="*/ 239211 h 1161397"/>
              <a:gd name="connsiteX92" fmla="*/ 5846667 w 6884912"/>
              <a:gd name="connsiteY92" fmla="*/ 201786 h 1161397"/>
              <a:gd name="connsiteX93" fmla="*/ 5960732 w 6884912"/>
              <a:gd name="connsiteY93" fmla="*/ 220708 h 1161397"/>
              <a:gd name="connsiteX94" fmla="*/ 6029542 w 6884912"/>
              <a:gd name="connsiteY94" fmla="*/ 210339 h 1161397"/>
              <a:gd name="connsiteX95" fmla="*/ 6141123 w 6884912"/>
              <a:gd name="connsiteY95" fmla="*/ 159923 h 1161397"/>
              <a:gd name="connsiteX96" fmla="*/ 6290640 w 6884912"/>
              <a:gd name="connsiteY96" fmla="*/ 167441 h 1161397"/>
              <a:gd name="connsiteX97" fmla="*/ 6322806 w 6884912"/>
              <a:gd name="connsiteY97" fmla="*/ 213293 h 1161397"/>
              <a:gd name="connsiteX98" fmla="*/ 6380420 w 6884912"/>
              <a:gd name="connsiteY98" fmla="*/ 173195 h 1161397"/>
              <a:gd name="connsiteX99" fmla="*/ 6507891 w 6884912"/>
              <a:gd name="connsiteY99" fmla="*/ 118474 h 1161397"/>
              <a:gd name="connsiteX100" fmla="*/ 6571807 w 6884912"/>
              <a:gd name="connsiteY100" fmla="*/ 98636 h 1161397"/>
              <a:gd name="connsiteX101" fmla="*/ 6671880 w 6884912"/>
              <a:gd name="connsiteY101" fmla="*/ 82931 h 1161397"/>
              <a:gd name="connsiteX102" fmla="*/ 6702266 w 6884912"/>
              <a:gd name="connsiteY102" fmla="*/ 75470 h 1161397"/>
              <a:gd name="connsiteX103" fmla="*/ 6845802 w 6884912"/>
              <a:gd name="connsiteY103" fmla="*/ 24496 h 1161397"/>
              <a:gd name="connsiteX104" fmla="*/ 6884912 w 6884912"/>
              <a:gd name="connsiteY104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601644 w 6884912"/>
              <a:gd name="connsiteY7" fmla="*/ 1003997 h 1161397"/>
              <a:gd name="connsiteX8" fmla="*/ 651408 w 6884912"/>
              <a:gd name="connsiteY8" fmla="*/ 984938 h 1161397"/>
              <a:gd name="connsiteX9" fmla="*/ 723108 w 6884912"/>
              <a:gd name="connsiteY9" fmla="*/ 980081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38051 w 6884912"/>
              <a:gd name="connsiteY15" fmla="*/ 702034 h 1161397"/>
              <a:gd name="connsiteX16" fmla="*/ 1158800 w 6884912"/>
              <a:gd name="connsiteY16" fmla="*/ 700004 h 1161397"/>
              <a:gd name="connsiteX17" fmla="*/ 1166947 w 6884912"/>
              <a:gd name="connsiteY17" fmla="*/ 700762 h 1161397"/>
              <a:gd name="connsiteX18" fmla="*/ 1178135 w 6884912"/>
              <a:gd name="connsiteY18" fmla="*/ 698631 h 1161397"/>
              <a:gd name="connsiteX19" fmla="*/ 1178301 w 6884912"/>
              <a:gd name="connsiteY19" fmla="*/ 698094 h 1161397"/>
              <a:gd name="connsiteX20" fmla="*/ 1188995 w 6884912"/>
              <a:gd name="connsiteY20" fmla="*/ 697048 h 1161397"/>
              <a:gd name="connsiteX21" fmla="*/ 1242716 w 6884912"/>
              <a:gd name="connsiteY21" fmla="*/ 698052 h 1161397"/>
              <a:gd name="connsiteX22" fmla="*/ 1299977 w 6884912"/>
              <a:gd name="connsiteY22" fmla="*/ 639196 h 1161397"/>
              <a:gd name="connsiteX23" fmla="*/ 1326190 w 6884912"/>
              <a:gd name="connsiteY23" fmla="*/ 625955 h 1161397"/>
              <a:gd name="connsiteX24" fmla="*/ 1339600 w 6884912"/>
              <a:gd name="connsiteY24" fmla="*/ 616295 h 1161397"/>
              <a:gd name="connsiteX25" fmla="*/ 1340054 w 6884912"/>
              <a:gd name="connsiteY25" fmla="*/ 614022 h 1161397"/>
              <a:gd name="connsiteX26" fmla="*/ 1391606 w 6884912"/>
              <a:gd name="connsiteY26" fmla="*/ 615229 h 1161397"/>
              <a:gd name="connsiteX27" fmla="*/ 1397565 w 6884912"/>
              <a:gd name="connsiteY27" fmla="*/ 611490 h 1161397"/>
              <a:gd name="connsiteX28" fmla="*/ 1432302 w 6884912"/>
              <a:gd name="connsiteY28" fmla="*/ 617267 h 1161397"/>
              <a:gd name="connsiteX29" fmla="*/ 1449644 w 6884912"/>
              <a:gd name="connsiteY29" fmla="*/ 617591 h 1161397"/>
              <a:gd name="connsiteX30" fmla="*/ 1455793 w 6884912"/>
              <a:gd name="connsiteY30" fmla="*/ 623174 h 1161397"/>
              <a:gd name="connsiteX31" fmla="*/ 1480758 w 6884912"/>
              <a:gd name="connsiteY31" fmla="*/ 620863 h 1161397"/>
              <a:gd name="connsiteX32" fmla="*/ 1483154 w 6884912"/>
              <a:gd name="connsiteY32" fmla="*/ 618527 h 1161397"/>
              <a:gd name="connsiteX33" fmla="*/ 1505495 w 6884912"/>
              <a:gd name="connsiteY33" fmla="*/ 624325 h 1161397"/>
              <a:gd name="connsiteX34" fmla="*/ 1526340 w 6884912"/>
              <a:gd name="connsiteY34" fmla="*/ 638496 h 1161397"/>
              <a:gd name="connsiteX35" fmla="*/ 1731986 w 6884912"/>
              <a:gd name="connsiteY35" fmla="*/ 589682 h 1161397"/>
              <a:gd name="connsiteX36" fmla="*/ 1927935 w 6884912"/>
              <a:gd name="connsiteY36" fmla="*/ 628540 h 1161397"/>
              <a:gd name="connsiteX37" fmla="*/ 2039075 w 6884912"/>
              <a:gd name="connsiteY37" fmla="*/ 599964 h 1161397"/>
              <a:gd name="connsiteX38" fmla="*/ 2066980 w 6884912"/>
              <a:gd name="connsiteY38" fmla="*/ 550413 h 1161397"/>
              <a:gd name="connsiteX39" fmla="*/ 2352236 w 6884912"/>
              <a:gd name="connsiteY39" fmla="*/ 519602 h 1161397"/>
              <a:gd name="connsiteX40" fmla="*/ 2420791 w 6884912"/>
              <a:gd name="connsiteY40" fmla="*/ 492826 h 1161397"/>
              <a:gd name="connsiteX41" fmla="*/ 2489932 w 6884912"/>
              <a:gd name="connsiteY41" fmla="*/ 507864 h 1161397"/>
              <a:gd name="connsiteX42" fmla="*/ 2512917 w 6884912"/>
              <a:gd name="connsiteY42" fmla="*/ 489127 h 1161397"/>
              <a:gd name="connsiteX43" fmla="*/ 2516783 w 6884912"/>
              <a:gd name="connsiteY43" fmla="*/ 485473 h 1161397"/>
              <a:gd name="connsiteX44" fmla="*/ 2534360 w 6884912"/>
              <a:gd name="connsiteY44" fmla="*/ 480064 h 1161397"/>
              <a:gd name="connsiteX45" fmla="*/ 2536691 w 6884912"/>
              <a:gd name="connsiteY45" fmla="*/ 467018 h 1161397"/>
              <a:gd name="connsiteX46" fmla="*/ 2561265 w 6884912"/>
              <a:gd name="connsiteY46" fmla="*/ 450623 h 1161397"/>
              <a:gd name="connsiteX47" fmla="*/ 2594349 w 6884912"/>
              <a:gd name="connsiteY47" fmla="*/ 443884 h 1161397"/>
              <a:gd name="connsiteX48" fmla="*/ 2754324 w 6884912"/>
              <a:gd name="connsiteY48" fmla="*/ 424766 h 1161397"/>
              <a:gd name="connsiteX49" fmla="*/ 2848470 w 6884912"/>
              <a:gd name="connsiteY49" fmla="*/ 405966 h 1161397"/>
              <a:gd name="connsiteX50" fmla="*/ 2881772 w 6884912"/>
              <a:gd name="connsiteY50" fmla="*/ 387260 h 1161397"/>
              <a:gd name="connsiteX51" fmla="*/ 2929932 w 6884912"/>
              <a:gd name="connsiteY51" fmla="*/ 368912 h 1161397"/>
              <a:gd name="connsiteX52" fmla="*/ 3013020 w 6884912"/>
              <a:gd name="connsiteY52" fmla="*/ 327578 h 1161397"/>
              <a:gd name="connsiteX53" fmla="*/ 3222191 w 6884912"/>
              <a:gd name="connsiteY53" fmla="*/ 307887 h 1161397"/>
              <a:gd name="connsiteX54" fmla="*/ 3227953 w 6884912"/>
              <a:gd name="connsiteY54" fmla="*/ 297650 h 1161397"/>
              <a:gd name="connsiteX55" fmla="*/ 3510042 w 6884912"/>
              <a:gd name="connsiteY55" fmla="*/ 311820 h 1161397"/>
              <a:gd name="connsiteX56" fmla="*/ 3626773 w 6884912"/>
              <a:gd name="connsiteY56" fmla="*/ 290452 h 1161397"/>
              <a:gd name="connsiteX57" fmla="*/ 3666217 w 6884912"/>
              <a:gd name="connsiteY57" fmla="*/ 273255 h 1161397"/>
              <a:gd name="connsiteX58" fmla="*/ 3732427 w 6884912"/>
              <a:gd name="connsiteY58" fmla="*/ 245039 h 1161397"/>
              <a:gd name="connsiteX59" fmla="*/ 3777022 w 6884912"/>
              <a:gd name="connsiteY59" fmla="*/ 200276 h 1161397"/>
              <a:gd name="connsiteX60" fmla="*/ 3791246 w 6884912"/>
              <a:gd name="connsiteY60" fmla="*/ 189996 h 1161397"/>
              <a:gd name="connsiteX61" fmla="*/ 3819864 w 6884912"/>
              <a:gd name="connsiteY61" fmla="*/ 194605 h 1161397"/>
              <a:gd name="connsiteX62" fmla="*/ 3830398 w 6884912"/>
              <a:gd name="connsiteY62" fmla="*/ 188383 h 1161397"/>
              <a:gd name="connsiteX63" fmla="*/ 3834360 w 6884912"/>
              <a:gd name="connsiteY63" fmla="*/ 188992 h 1161397"/>
              <a:gd name="connsiteX64" fmla="*/ 3843715 w 6884912"/>
              <a:gd name="connsiteY64" fmla="*/ 188752 h 1161397"/>
              <a:gd name="connsiteX65" fmla="*/ 3842609 w 6884912"/>
              <a:gd name="connsiteY65" fmla="*/ 197386 h 1161397"/>
              <a:gd name="connsiteX66" fmla="*/ 3853961 w 6884912"/>
              <a:gd name="connsiteY66" fmla="*/ 213380 h 1161397"/>
              <a:gd name="connsiteX67" fmla="*/ 3907640 w 6884912"/>
              <a:gd name="connsiteY67" fmla="*/ 207568 h 1161397"/>
              <a:gd name="connsiteX68" fmla="*/ 3910449 w 6884912"/>
              <a:gd name="connsiteY68" fmla="*/ 197808 h 1161397"/>
              <a:gd name="connsiteX69" fmla="*/ 3917197 w 6884912"/>
              <a:gd name="connsiteY69" fmla="*/ 196121 h 1161397"/>
              <a:gd name="connsiteX70" fmla="*/ 3922400 w 6884912"/>
              <a:gd name="connsiteY70" fmla="*/ 205056 h 1161397"/>
              <a:gd name="connsiteX71" fmla="*/ 4013061 w 6884912"/>
              <a:gd name="connsiteY71" fmla="*/ 224874 h 1161397"/>
              <a:gd name="connsiteX72" fmla="*/ 4220717 w 6884912"/>
              <a:gd name="connsiteY72" fmla="*/ 192946 h 1161397"/>
              <a:gd name="connsiteX73" fmla="*/ 4228802 w 6884912"/>
              <a:gd name="connsiteY73" fmla="*/ 201468 h 1161397"/>
              <a:gd name="connsiteX74" fmla="*/ 4289361 w 6884912"/>
              <a:gd name="connsiteY74" fmla="*/ 196642 h 1161397"/>
              <a:gd name="connsiteX75" fmla="*/ 4498913 w 6884912"/>
              <a:gd name="connsiteY75" fmla="*/ 118915 h 1161397"/>
              <a:gd name="connsiteX76" fmla="*/ 4617330 w 6884912"/>
              <a:gd name="connsiteY76" fmla="*/ 111163 h 1161397"/>
              <a:gd name="connsiteX77" fmla="*/ 4659778 w 6884912"/>
              <a:gd name="connsiteY77" fmla="*/ 118219 h 1161397"/>
              <a:gd name="connsiteX78" fmla="*/ 4730870 w 6884912"/>
              <a:gd name="connsiteY78" fmla="*/ 129432 h 1161397"/>
              <a:gd name="connsiteX79" fmla="*/ 4844073 w 6884912"/>
              <a:gd name="connsiteY79" fmla="*/ 161768 h 1161397"/>
              <a:gd name="connsiteX80" fmla="*/ 4856454 w 6884912"/>
              <a:gd name="connsiteY80" fmla="*/ 130488 h 1161397"/>
              <a:gd name="connsiteX81" fmla="*/ 4920038 w 6884912"/>
              <a:gd name="connsiteY81" fmla="*/ 140418 h 1161397"/>
              <a:gd name="connsiteX82" fmla="*/ 5016639 w 6884912"/>
              <a:gd name="connsiteY82" fmla="*/ 158905 h 1161397"/>
              <a:gd name="connsiteX83" fmla="*/ 5072009 w 6884912"/>
              <a:gd name="connsiteY83" fmla="*/ 161502 h 1161397"/>
              <a:gd name="connsiteX84" fmla="*/ 5223626 w 6884912"/>
              <a:gd name="connsiteY84" fmla="*/ 177356 h 1161397"/>
              <a:gd name="connsiteX85" fmla="*/ 5375773 w 6884912"/>
              <a:gd name="connsiteY85" fmla="*/ 199913 h 1161397"/>
              <a:gd name="connsiteX86" fmla="*/ 5467502 w 6884912"/>
              <a:gd name="connsiteY86" fmla="*/ 250963 h 1161397"/>
              <a:gd name="connsiteX87" fmla="*/ 5592395 w 6884912"/>
              <a:gd name="connsiteY87" fmla="*/ 265434 h 1161397"/>
              <a:gd name="connsiteX88" fmla="*/ 5613532 w 6884912"/>
              <a:gd name="connsiteY88" fmla="*/ 273379 h 1161397"/>
              <a:gd name="connsiteX89" fmla="*/ 5642173 w 6884912"/>
              <a:gd name="connsiteY89" fmla="*/ 266904 h 1161397"/>
              <a:gd name="connsiteX90" fmla="*/ 5756910 w 6884912"/>
              <a:gd name="connsiteY90" fmla="*/ 239211 h 1161397"/>
              <a:gd name="connsiteX91" fmla="*/ 5846667 w 6884912"/>
              <a:gd name="connsiteY91" fmla="*/ 201786 h 1161397"/>
              <a:gd name="connsiteX92" fmla="*/ 5960732 w 6884912"/>
              <a:gd name="connsiteY92" fmla="*/ 220708 h 1161397"/>
              <a:gd name="connsiteX93" fmla="*/ 6029542 w 6884912"/>
              <a:gd name="connsiteY93" fmla="*/ 210339 h 1161397"/>
              <a:gd name="connsiteX94" fmla="*/ 6141123 w 6884912"/>
              <a:gd name="connsiteY94" fmla="*/ 159923 h 1161397"/>
              <a:gd name="connsiteX95" fmla="*/ 6290640 w 6884912"/>
              <a:gd name="connsiteY95" fmla="*/ 167441 h 1161397"/>
              <a:gd name="connsiteX96" fmla="*/ 6322806 w 6884912"/>
              <a:gd name="connsiteY96" fmla="*/ 213293 h 1161397"/>
              <a:gd name="connsiteX97" fmla="*/ 6380420 w 6884912"/>
              <a:gd name="connsiteY97" fmla="*/ 173195 h 1161397"/>
              <a:gd name="connsiteX98" fmla="*/ 6507891 w 6884912"/>
              <a:gd name="connsiteY98" fmla="*/ 118474 h 1161397"/>
              <a:gd name="connsiteX99" fmla="*/ 6571807 w 6884912"/>
              <a:gd name="connsiteY99" fmla="*/ 98636 h 1161397"/>
              <a:gd name="connsiteX100" fmla="*/ 6671880 w 6884912"/>
              <a:gd name="connsiteY100" fmla="*/ 82931 h 1161397"/>
              <a:gd name="connsiteX101" fmla="*/ 6702266 w 6884912"/>
              <a:gd name="connsiteY101" fmla="*/ 75470 h 1161397"/>
              <a:gd name="connsiteX102" fmla="*/ 6845802 w 6884912"/>
              <a:gd name="connsiteY102" fmla="*/ 24496 h 1161397"/>
              <a:gd name="connsiteX103" fmla="*/ 6884912 w 6884912"/>
              <a:gd name="connsiteY103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80081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38051 w 6884912"/>
              <a:gd name="connsiteY15" fmla="*/ 702034 h 1161397"/>
              <a:gd name="connsiteX16" fmla="*/ 1158800 w 6884912"/>
              <a:gd name="connsiteY16" fmla="*/ 700004 h 1161397"/>
              <a:gd name="connsiteX17" fmla="*/ 1166947 w 6884912"/>
              <a:gd name="connsiteY17" fmla="*/ 700762 h 1161397"/>
              <a:gd name="connsiteX18" fmla="*/ 1178135 w 6884912"/>
              <a:gd name="connsiteY18" fmla="*/ 698631 h 1161397"/>
              <a:gd name="connsiteX19" fmla="*/ 1178301 w 6884912"/>
              <a:gd name="connsiteY19" fmla="*/ 698094 h 1161397"/>
              <a:gd name="connsiteX20" fmla="*/ 1188995 w 6884912"/>
              <a:gd name="connsiteY20" fmla="*/ 697048 h 1161397"/>
              <a:gd name="connsiteX21" fmla="*/ 1242716 w 6884912"/>
              <a:gd name="connsiteY21" fmla="*/ 698052 h 1161397"/>
              <a:gd name="connsiteX22" fmla="*/ 1299977 w 6884912"/>
              <a:gd name="connsiteY22" fmla="*/ 639196 h 1161397"/>
              <a:gd name="connsiteX23" fmla="*/ 1326190 w 6884912"/>
              <a:gd name="connsiteY23" fmla="*/ 625955 h 1161397"/>
              <a:gd name="connsiteX24" fmla="*/ 1339600 w 6884912"/>
              <a:gd name="connsiteY24" fmla="*/ 616295 h 1161397"/>
              <a:gd name="connsiteX25" fmla="*/ 1340054 w 6884912"/>
              <a:gd name="connsiteY25" fmla="*/ 614022 h 1161397"/>
              <a:gd name="connsiteX26" fmla="*/ 1391606 w 6884912"/>
              <a:gd name="connsiteY26" fmla="*/ 615229 h 1161397"/>
              <a:gd name="connsiteX27" fmla="*/ 1397565 w 6884912"/>
              <a:gd name="connsiteY27" fmla="*/ 611490 h 1161397"/>
              <a:gd name="connsiteX28" fmla="*/ 1432302 w 6884912"/>
              <a:gd name="connsiteY28" fmla="*/ 617267 h 1161397"/>
              <a:gd name="connsiteX29" fmla="*/ 1449644 w 6884912"/>
              <a:gd name="connsiteY29" fmla="*/ 617591 h 1161397"/>
              <a:gd name="connsiteX30" fmla="*/ 1455793 w 6884912"/>
              <a:gd name="connsiteY30" fmla="*/ 623174 h 1161397"/>
              <a:gd name="connsiteX31" fmla="*/ 1480758 w 6884912"/>
              <a:gd name="connsiteY31" fmla="*/ 620863 h 1161397"/>
              <a:gd name="connsiteX32" fmla="*/ 1483154 w 6884912"/>
              <a:gd name="connsiteY32" fmla="*/ 618527 h 1161397"/>
              <a:gd name="connsiteX33" fmla="*/ 1505495 w 6884912"/>
              <a:gd name="connsiteY33" fmla="*/ 624325 h 1161397"/>
              <a:gd name="connsiteX34" fmla="*/ 1526340 w 6884912"/>
              <a:gd name="connsiteY34" fmla="*/ 638496 h 1161397"/>
              <a:gd name="connsiteX35" fmla="*/ 1731986 w 6884912"/>
              <a:gd name="connsiteY35" fmla="*/ 589682 h 1161397"/>
              <a:gd name="connsiteX36" fmla="*/ 1927935 w 6884912"/>
              <a:gd name="connsiteY36" fmla="*/ 628540 h 1161397"/>
              <a:gd name="connsiteX37" fmla="*/ 2039075 w 6884912"/>
              <a:gd name="connsiteY37" fmla="*/ 599964 h 1161397"/>
              <a:gd name="connsiteX38" fmla="*/ 2066980 w 6884912"/>
              <a:gd name="connsiteY38" fmla="*/ 550413 h 1161397"/>
              <a:gd name="connsiteX39" fmla="*/ 2352236 w 6884912"/>
              <a:gd name="connsiteY39" fmla="*/ 519602 h 1161397"/>
              <a:gd name="connsiteX40" fmla="*/ 2420791 w 6884912"/>
              <a:gd name="connsiteY40" fmla="*/ 492826 h 1161397"/>
              <a:gd name="connsiteX41" fmla="*/ 2489932 w 6884912"/>
              <a:gd name="connsiteY41" fmla="*/ 507864 h 1161397"/>
              <a:gd name="connsiteX42" fmla="*/ 2512917 w 6884912"/>
              <a:gd name="connsiteY42" fmla="*/ 489127 h 1161397"/>
              <a:gd name="connsiteX43" fmla="*/ 2516783 w 6884912"/>
              <a:gd name="connsiteY43" fmla="*/ 485473 h 1161397"/>
              <a:gd name="connsiteX44" fmla="*/ 2534360 w 6884912"/>
              <a:gd name="connsiteY44" fmla="*/ 480064 h 1161397"/>
              <a:gd name="connsiteX45" fmla="*/ 2536691 w 6884912"/>
              <a:gd name="connsiteY45" fmla="*/ 467018 h 1161397"/>
              <a:gd name="connsiteX46" fmla="*/ 2561265 w 6884912"/>
              <a:gd name="connsiteY46" fmla="*/ 450623 h 1161397"/>
              <a:gd name="connsiteX47" fmla="*/ 2594349 w 6884912"/>
              <a:gd name="connsiteY47" fmla="*/ 443884 h 1161397"/>
              <a:gd name="connsiteX48" fmla="*/ 2754324 w 6884912"/>
              <a:gd name="connsiteY48" fmla="*/ 424766 h 1161397"/>
              <a:gd name="connsiteX49" fmla="*/ 2848470 w 6884912"/>
              <a:gd name="connsiteY49" fmla="*/ 405966 h 1161397"/>
              <a:gd name="connsiteX50" fmla="*/ 2881772 w 6884912"/>
              <a:gd name="connsiteY50" fmla="*/ 387260 h 1161397"/>
              <a:gd name="connsiteX51" fmla="*/ 2929932 w 6884912"/>
              <a:gd name="connsiteY51" fmla="*/ 368912 h 1161397"/>
              <a:gd name="connsiteX52" fmla="*/ 3013020 w 6884912"/>
              <a:gd name="connsiteY52" fmla="*/ 327578 h 1161397"/>
              <a:gd name="connsiteX53" fmla="*/ 3222191 w 6884912"/>
              <a:gd name="connsiteY53" fmla="*/ 307887 h 1161397"/>
              <a:gd name="connsiteX54" fmla="*/ 3227953 w 6884912"/>
              <a:gd name="connsiteY54" fmla="*/ 297650 h 1161397"/>
              <a:gd name="connsiteX55" fmla="*/ 3510042 w 6884912"/>
              <a:gd name="connsiteY55" fmla="*/ 311820 h 1161397"/>
              <a:gd name="connsiteX56" fmla="*/ 3626773 w 6884912"/>
              <a:gd name="connsiteY56" fmla="*/ 290452 h 1161397"/>
              <a:gd name="connsiteX57" fmla="*/ 3666217 w 6884912"/>
              <a:gd name="connsiteY57" fmla="*/ 273255 h 1161397"/>
              <a:gd name="connsiteX58" fmla="*/ 3732427 w 6884912"/>
              <a:gd name="connsiteY58" fmla="*/ 245039 h 1161397"/>
              <a:gd name="connsiteX59" fmla="*/ 3777022 w 6884912"/>
              <a:gd name="connsiteY59" fmla="*/ 200276 h 1161397"/>
              <a:gd name="connsiteX60" fmla="*/ 3791246 w 6884912"/>
              <a:gd name="connsiteY60" fmla="*/ 189996 h 1161397"/>
              <a:gd name="connsiteX61" fmla="*/ 3819864 w 6884912"/>
              <a:gd name="connsiteY61" fmla="*/ 194605 h 1161397"/>
              <a:gd name="connsiteX62" fmla="*/ 3830398 w 6884912"/>
              <a:gd name="connsiteY62" fmla="*/ 188383 h 1161397"/>
              <a:gd name="connsiteX63" fmla="*/ 3834360 w 6884912"/>
              <a:gd name="connsiteY63" fmla="*/ 188992 h 1161397"/>
              <a:gd name="connsiteX64" fmla="*/ 3843715 w 6884912"/>
              <a:gd name="connsiteY64" fmla="*/ 188752 h 1161397"/>
              <a:gd name="connsiteX65" fmla="*/ 3842609 w 6884912"/>
              <a:gd name="connsiteY65" fmla="*/ 197386 h 1161397"/>
              <a:gd name="connsiteX66" fmla="*/ 3853961 w 6884912"/>
              <a:gd name="connsiteY66" fmla="*/ 213380 h 1161397"/>
              <a:gd name="connsiteX67" fmla="*/ 3907640 w 6884912"/>
              <a:gd name="connsiteY67" fmla="*/ 207568 h 1161397"/>
              <a:gd name="connsiteX68" fmla="*/ 3910449 w 6884912"/>
              <a:gd name="connsiteY68" fmla="*/ 197808 h 1161397"/>
              <a:gd name="connsiteX69" fmla="*/ 3917197 w 6884912"/>
              <a:gd name="connsiteY69" fmla="*/ 196121 h 1161397"/>
              <a:gd name="connsiteX70" fmla="*/ 3922400 w 6884912"/>
              <a:gd name="connsiteY70" fmla="*/ 205056 h 1161397"/>
              <a:gd name="connsiteX71" fmla="*/ 4013061 w 6884912"/>
              <a:gd name="connsiteY71" fmla="*/ 224874 h 1161397"/>
              <a:gd name="connsiteX72" fmla="*/ 4220717 w 6884912"/>
              <a:gd name="connsiteY72" fmla="*/ 192946 h 1161397"/>
              <a:gd name="connsiteX73" fmla="*/ 4228802 w 6884912"/>
              <a:gd name="connsiteY73" fmla="*/ 201468 h 1161397"/>
              <a:gd name="connsiteX74" fmla="*/ 4289361 w 6884912"/>
              <a:gd name="connsiteY74" fmla="*/ 196642 h 1161397"/>
              <a:gd name="connsiteX75" fmla="*/ 4498913 w 6884912"/>
              <a:gd name="connsiteY75" fmla="*/ 118915 h 1161397"/>
              <a:gd name="connsiteX76" fmla="*/ 4617330 w 6884912"/>
              <a:gd name="connsiteY76" fmla="*/ 111163 h 1161397"/>
              <a:gd name="connsiteX77" fmla="*/ 4659778 w 6884912"/>
              <a:gd name="connsiteY77" fmla="*/ 118219 h 1161397"/>
              <a:gd name="connsiteX78" fmla="*/ 4730870 w 6884912"/>
              <a:gd name="connsiteY78" fmla="*/ 129432 h 1161397"/>
              <a:gd name="connsiteX79" fmla="*/ 4844073 w 6884912"/>
              <a:gd name="connsiteY79" fmla="*/ 161768 h 1161397"/>
              <a:gd name="connsiteX80" fmla="*/ 4856454 w 6884912"/>
              <a:gd name="connsiteY80" fmla="*/ 130488 h 1161397"/>
              <a:gd name="connsiteX81" fmla="*/ 4920038 w 6884912"/>
              <a:gd name="connsiteY81" fmla="*/ 140418 h 1161397"/>
              <a:gd name="connsiteX82" fmla="*/ 5016639 w 6884912"/>
              <a:gd name="connsiteY82" fmla="*/ 158905 h 1161397"/>
              <a:gd name="connsiteX83" fmla="*/ 5072009 w 6884912"/>
              <a:gd name="connsiteY83" fmla="*/ 161502 h 1161397"/>
              <a:gd name="connsiteX84" fmla="*/ 5223626 w 6884912"/>
              <a:gd name="connsiteY84" fmla="*/ 177356 h 1161397"/>
              <a:gd name="connsiteX85" fmla="*/ 5375773 w 6884912"/>
              <a:gd name="connsiteY85" fmla="*/ 199913 h 1161397"/>
              <a:gd name="connsiteX86" fmla="*/ 5467502 w 6884912"/>
              <a:gd name="connsiteY86" fmla="*/ 250963 h 1161397"/>
              <a:gd name="connsiteX87" fmla="*/ 5592395 w 6884912"/>
              <a:gd name="connsiteY87" fmla="*/ 265434 h 1161397"/>
              <a:gd name="connsiteX88" fmla="*/ 5613532 w 6884912"/>
              <a:gd name="connsiteY88" fmla="*/ 273379 h 1161397"/>
              <a:gd name="connsiteX89" fmla="*/ 5642173 w 6884912"/>
              <a:gd name="connsiteY89" fmla="*/ 266904 h 1161397"/>
              <a:gd name="connsiteX90" fmla="*/ 5756910 w 6884912"/>
              <a:gd name="connsiteY90" fmla="*/ 239211 h 1161397"/>
              <a:gd name="connsiteX91" fmla="*/ 5846667 w 6884912"/>
              <a:gd name="connsiteY91" fmla="*/ 201786 h 1161397"/>
              <a:gd name="connsiteX92" fmla="*/ 5960732 w 6884912"/>
              <a:gd name="connsiteY92" fmla="*/ 220708 h 1161397"/>
              <a:gd name="connsiteX93" fmla="*/ 6029542 w 6884912"/>
              <a:gd name="connsiteY93" fmla="*/ 210339 h 1161397"/>
              <a:gd name="connsiteX94" fmla="*/ 6141123 w 6884912"/>
              <a:gd name="connsiteY94" fmla="*/ 159923 h 1161397"/>
              <a:gd name="connsiteX95" fmla="*/ 6290640 w 6884912"/>
              <a:gd name="connsiteY95" fmla="*/ 167441 h 1161397"/>
              <a:gd name="connsiteX96" fmla="*/ 6322806 w 6884912"/>
              <a:gd name="connsiteY96" fmla="*/ 213293 h 1161397"/>
              <a:gd name="connsiteX97" fmla="*/ 6380420 w 6884912"/>
              <a:gd name="connsiteY97" fmla="*/ 173195 h 1161397"/>
              <a:gd name="connsiteX98" fmla="*/ 6507891 w 6884912"/>
              <a:gd name="connsiteY98" fmla="*/ 118474 h 1161397"/>
              <a:gd name="connsiteX99" fmla="*/ 6571807 w 6884912"/>
              <a:gd name="connsiteY99" fmla="*/ 98636 h 1161397"/>
              <a:gd name="connsiteX100" fmla="*/ 6671880 w 6884912"/>
              <a:gd name="connsiteY100" fmla="*/ 82931 h 1161397"/>
              <a:gd name="connsiteX101" fmla="*/ 6702266 w 6884912"/>
              <a:gd name="connsiteY101" fmla="*/ 75470 h 1161397"/>
              <a:gd name="connsiteX102" fmla="*/ 6845802 w 6884912"/>
              <a:gd name="connsiteY102" fmla="*/ 24496 h 1161397"/>
              <a:gd name="connsiteX103" fmla="*/ 6884912 w 6884912"/>
              <a:gd name="connsiteY103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38051 w 6884912"/>
              <a:gd name="connsiteY15" fmla="*/ 702034 h 1161397"/>
              <a:gd name="connsiteX16" fmla="*/ 1158800 w 6884912"/>
              <a:gd name="connsiteY16" fmla="*/ 700004 h 1161397"/>
              <a:gd name="connsiteX17" fmla="*/ 1166947 w 6884912"/>
              <a:gd name="connsiteY17" fmla="*/ 700762 h 1161397"/>
              <a:gd name="connsiteX18" fmla="*/ 1178135 w 6884912"/>
              <a:gd name="connsiteY18" fmla="*/ 698631 h 1161397"/>
              <a:gd name="connsiteX19" fmla="*/ 1178301 w 6884912"/>
              <a:gd name="connsiteY19" fmla="*/ 698094 h 1161397"/>
              <a:gd name="connsiteX20" fmla="*/ 1188995 w 6884912"/>
              <a:gd name="connsiteY20" fmla="*/ 697048 h 1161397"/>
              <a:gd name="connsiteX21" fmla="*/ 1242716 w 6884912"/>
              <a:gd name="connsiteY21" fmla="*/ 698052 h 1161397"/>
              <a:gd name="connsiteX22" fmla="*/ 1299977 w 6884912"/>
              <a:gd name="connsiteY22" fmla="*/ 639196 h 1161397"/>
              <a:gd name="connsiteX23" fmla="*/ 1326190 w 6884912"/>
              <a:gd name="connsiteY23" fmla="*/ 625955 h 1161397"/>
              <a:gd name="connsiteX24" fmla="*/ 1339600 w 6884912"/>
              <a:gd name="connsiteY24" fmla="*/ 616295 h 1161397"/>
              <a:gd name="connsiteX25" fmla="*/ 1340054 w 6884912"/>
              <a:gd name="connsiteY25" fmla="*/ 614022 h 1161397"/>
              <a:gd name="connsiteX26" fmla="*/ 1391606 w 6884912"/>
              <a:gd name="connsiteY26" fmla="*/ 615229 h 1161397"/>
              <a:gd name="connsiteX27" fmla="*/ 1397565 w 6884912"/>
              <a:gd name="connsiteY27" fmla="*/ 611490 h 1161397"/>
              <a:gd name="connsiteX28" fmla="*/ 1432302 w 6884912"/>
              <a:gd name="connsiteY28" fmla="*/ 617267 h 1161397"/>
              <a:gd name="connsiteX29" fmla="*/ 1449644 w 6884912"/>
              <a:gd name="connsiteY29" fmla="*/ 617591 h 1161397"/>
              <a:gd name="connsiteX30" fmla="*/ 1455793 w 6884912"/>
              <a:gd name="connsiteY30" fmla="*/ 623174 h 1161397"/>
              <a:gd name="connsiteX31" fmla="*/ 1480758 w 6884912"/>
              <a:gd name="connsiteY31" fmla="*/ 620863 h 1161397"/>
              <a:gd name="connsiteX32" fmla="*/ 1483154 w 6884912"/>
              <a:gd name="connsiteY32" fmla="*/ 618527 h 1161397"/>
              <a:gd name="connsiteX33" fmla="*/ 1505495 w 6884912"/>
              <a:gd name="connsiteY33" fmla="*/ 624325 h 1161397"/>
              <a:gd name="connsiteX34" fmla="*/ 1526340 w 6884912"/>
              <a:gd name="connsiteY34" fmla="*/ 638496 h 1161397"/>
              <a:gd name="connsiteX35" fmla="*/ 1731986 w 6884912"/>
              <a:gd name="connsiteY35" fmla="*/ 589682 h 1161397"/>
              <a:gd name="connsiteX36" fmla="*/ 1927935 w 6884912"/>
              <a:gd name="connsiteY36" fmla="*/ 628540 h 1161397"/>
              <a:gd name="connsiteX37" fmla="*/ 2039075 w 6884912"/>
              <a:gd name="connsiteY37" fmla="*/ 599964 h 1161397"/>
              <a:gd name="connsiteX38" fmla="*/ 2066980 w 6884912"/>
              <a:gd name="connsiteY38" fmla="*/ 550413 h 1161397"/>
              <a:gd name="connsiteX39" fmla="*/ 2352236 w 6884912"/>
              <a:gd name="connsiteY39" fmla="*/ 519602 h 1161397"/>
              <a:gd name="connsiteX40" fmla="*/ 2420791 w 6884912"/>
              <a:gd name="connsiteY40" fmla="*/ 492826 h 1161397"/>
              <a:gd name="connsiteX41" fmla="*/ 2489932 w 6884912"/>
              <a:gd name="connsiteY41" fmla="*/ 507864 h 1161397"/>
              <a:gd name="connsiteX42" fmla="*/ 2512917 w 6884912"/>
              <a:gd name="connsiteY42" fmla="*/ 489127 h 1161397"/>
              <a:gd name="connsiteX43" fmla="*/ 2516783 w 6884912"/>
              <a:gd name="connsiteY43" fmla="*/ 485473 h 1161397"/>
              <a:gd name="connsiteX44" fmla="*/ 2534360 w 6884912"/>
              <a:gd name="connsiteY44" fmla="*/ 480064 h 1161397"/>
              <a:gd name="connsiteX45" fmla="*/ 2536691 w 6884912"/>
              <a:gd name="connsiteY45" fmla="*/ 467018 h 1161397"/>
              <a:gd name="connsiteX46" fmla="*/ 2561265 w 6884912"/>
              <a:gd name="connsiteY46" fmla="*/ 450623 h 1161397"/>
              <a:gd name="connsiteX47" fmla="*/ 2594349 w 6884912"/>
              <a:gd name="connsiteY47" fmla="*/ 443884 h 1161397"/>
              <a:gd name="connsiteX48" fmla="*/ 2754324 w 6884912"/>
              <a:gd name="connsiteY48" fmla="*/ 424766 h 1161397"/>
              <a:gd name="connsiteX49" fmla="*/ 2848470 w 6884912"/>
              <a:gd name="connsiteY49" fmla="*/ 405966 h 1161397"/>
              <a:gd name="connsiteX50" fmla="*/ 2881772 w 6884912"/>
              <a:gd name="connsiteY50" fmla="*/ 387260 h 1161397"/>
              <a:gd name="connsiteX51" fmla="*/ 2929932 w 6884912"/>
              <a:gd name="connsiteY51" fmla="*/ 368912 h 1161397"/>
              <a:gd name="connsiteX52" fmla="*/ 3013020 w 6884912"/>
              <a:gd name="connsiteY52" fmla="*/ 327578 h 1161397"/>
              <a:gd name="connsiteX53" fmla="*/ 3222191 w 6884912"/>
              <a:gd name="connsiteY53" fmla="*/ 307887 h 1161397"/>
              <a:gd name="connsiteX54" fmla="*/ 3227953 w 6884912"/>
              <a:gd name="connsiteY54" fmla="*/ 297650 h 1161397"/>
              <a:gd name="connsiteX55" fmla="*/ 3510042 w 6884912"/>
              <a:gd name="connsiteY55" fmla="*/ 311820 h 1161397"/>
              <a:gd name="connsiteX56" fmla="*/ 3626773 w 6884912"/>
              <a:gd name="connsiteY56" fmla="*/ 290452 h 1161397"/>
              <a:gd name="connsiteX57" fmla="*/ 3666217 w 6884912"/>
              <a:gd name="connsiteY57" fmla="*/ 273255 h 1161397"/>
              <a:gd name="connsiteX58" fmla="*/ 3732427 w 6884912"/>
              <a:gd name="connsiteY58" fmla="*/ 245039 h 1161397"/>
              <a:gd name="connsiteX59" fmla="*/ 3777022 w 6884912"/>
              <a:gd name="connsiteY59" fmla="*/ 200276 h 1161397"/>
              <a:gd name="connsiteX60" fmla="*/ 3791246 w 6884912"/>
              <a:gd name="connsiteY60" fmla="*/ 189996 h 1161397"/>
              <a:gd name="connsiteX61" fmla="*/ 3819864 w 6884912"/>
              <a:gd name="connsiteY61" fmla="*/ 194605 h 1161397"/>
              <a:gd name="connsiteX62" fmla="*/ 3830398 w 6884912"/>
              <a:gd name="connsiteY62" fmla="*/ 188383 h 1161397"/>
              <a:gd name="connsiteX63" fmla="*/ 3834360 w 6884912"/>
              <a:gd name="connsiteY63" fmla="*/ 188992 h 1161397"/>
              <a:gd name="connsiteX64" fmla="*/ 3843715 w 6884912"/>
              <a:gd name="connsiteY64" fmla="*/ 188752 h 1161397"/>
              <a:gd name="connsiteX65" fmla="*/ 3842609 w 6884912"/>
              <a:gd name="connsiteY65" fmla="*/ 197386 h 1161397"/>
              <a:gd name="connsiteX66" fmla="*/ 3853961 w 6884912"/>
              <a:gd name="connsiteY66" fmla="*/ 213380 h 1161397"/>
              <a:gd name="connsiteX67" fmla="*/ 3907640 w 6884912"/>
              <a:gd name="connsiteY67" fmla="*/ 207568 h 1161397"/>
              <a:gd name="connsiteX68" fmla="*/ 3910449 w 6884912"/>
              <a:gd name="connsiteY68" fmla="*/ 197808 h 1161397"/>
              <a:gd name="connsiteX69" fmla="*/ 3917197 w 6884912"/>
              <a:gd name="connsiteY69" fmla="*/ 196121 h 1161397"/>
              <a:gd name="connsiteX70" fmla="*/ 3922400 w 6884912"/>
              <a:gd name="connsiteY70" fmla="*/ 205056 h 1161397"/>
              <a:gd name="connsiteX71" fmla="*/ 4013061 w 6884912"/>
              <a:gd name="connsiteY71" fmla="*/ 224874 h 1161397"/>
              <a:gd name="connsiteX72" fmla="*/ 4220717 w 6884912"/>
              <a:gd name="connsiteY72" fmla="*/ 192946 h 1161397"/>
              <a:gd name="connsiteX73" fmla="*/ 4228802 w 6884912"/>
              <a:gd name="connsiteY73" fmla="*/ 201468 h 1161397"/>
              <a:gd name="connsiteX74" fmla="*/ 4289361 w 6884912"/>
              <a:gd name="connsiteY74" fmla="*/ 196642 h 1161397"/>
              <a:gd name="connsiteX75" fmla="*/ 4498913 w 6884912"/>
              <a:gd name="connsiteY75" fmla="*/ 118915 h 1161397"/>
              <a:gd name="connsiteX76" fmla="*/ 4617330 w 6884912"/>
              <a:gd name="connsiteY76" fmla="*/ 111163 h 1161397"/>
              <a:gd name="connsiteX77" fmla="*/ 4659778 w 6884912"/>
              <a:gd name="connsiteY77" fmla="*/ 118219 h 1161397"/>
              <a:gd name="connsiteX78" fmla="*/ 4730870 w 6884912"/>
              <a:gd name="connsiteY78" fmla="*/ 129432 h 1161397"/>
              <a:gd name="connsiteX79" fmla="*/ 4844073 w 6884912"/>
              <a:gd name="connsiteY79" fmla="*/ 161768 h 1161397"/>
              <a:gd name="connsiteX80" fmla="*/ 4856454 w 6884912"/>
              <a:gd name="connsiteY80" fmla="*/ 130488 h 1161397"/>
              <a:gd name="connsiteX81" fmla="*/ 4920038 w 6884912"/>
              <a:gd name="connsiteY81" fmla="*/ 140418 h 1161397"/>
              <a:gd name="connsiteX82" fmla="*/ 5016639 w 6884912"/>
              <a:gd name="connsiteY82" fmla="*/ 158905 h 1161397"/>
              <a:gd name="connsiteX83" fmla="*/ 5072009 w 6884912"/>
              <a:gd name="connsiteY83" fmla="*/ 161502 h 1161397"/>
              <a:gd name="connsiteX84" fmla="*/ 5223626 w 6884912"/>
              <a:gd name="connsiteY84" fmla="*/ 177356 h 1161397"/>
              <a:gd name="connsiteX85" fmla="*/ 5375773 w 6884912"/>
              <a:gd name="connsiteY85" fmla="*/ 199913 h 1161397"/>
              <a:gd name="connsiteX86" fmla="*/ 5467502 w 6884912"/>
              <a:gd name="connsiteY86" fmla="*/ 250963 h 1161397"/>
              <a:gd name="connsiteX87" fmla="*/ 5592395 w 6884912"/>
              <a:gd name="connsiteY87" fmla="*/ 265434 h 1161397"/>
              <a:gd name="connsiteX88" fmla="*/ 5613532 w 6884912"/>
              <a:gd name="connsiteY88" fmla="*/ 273379 h 1161397"/>
              <a:gd name="connsiteX89" fmla="*/ 5642173 w 6884912"/>
              <a:gd name="connsiteY89" fmla="*/ 266904 h 1161397"/>
              <a:gd name="connsiteX90" fmla="*/ 5756910 w 6884912"/>
              <a:gd name="connsiteY90" fmla="*/ 239211 h 1161397"/>
              <a:gd name="connsiteX91" fmla="*/ 5846667 w 6884912"/>
              <a:gd name="connsiteY91" fmla="*/ 201786 h 1161397"/>
              <a:gd name="connsiteX92" fmla="*/ 5960732 w 6884912"/>
              <a:gd name="connsiteY92" fmla="*/ 220708 h 1161397"/>
              <a:gd name="connsiteX93" fmla="*/ 6029542 w 6884912"/>
              <a:gd name="connsiteY93" fmla="*/ 210339 h 1161397"/>
              <a:gd name="connsiteX94" fmla="*/ 6141123 w 6884912"/>
              <a:gd name="connsiteY94" fmla="*/ 159923 h 1161397"/>
              <a:gd name="connsiteX95" fmla="*/ 6290640 w 6884912"/>
              <a:gd name="connsiteY95" fmla="*/ 167441 h 1161397"/>
              <a:gd name="connsiteX96" fmla="*/ 6322806 w 6884912"/>
              <a:gd name="connsiteY96" fmla="*/ 213293 h 1161397"/>
              <a:gd name="connsiteX97" fmla="*/ 6380420 w 6884912"/>
              <a:gd name="connsiteY97" fmla="*/ 173195 h 1161397"/>
              <a:gd name="connsiteX98" fmla="*/ 6507891 w 6884912"/>
              <a:gd name="connsiteY98" fmla="*/ 118474 h 1161397"/>
              <a:gd name="connsiteX99" fmla="*/ 6571807 w 6884912"/>
              <a:gd name="connsiteY99" fmla="*/ 98636 h 1161397"/>
              <a:gd name="connsiteX100" fmla="*/ 6671880 w 6884912"/>
              <a:gd name="connsiteY100" fmla="*/ 82931 h 1161397"/>
              <a:gd name="connsiteX101" fmla="*/ 6702266 w 6884912"/>
              <a:gd name="connsiteY101" fmla="*/ 75470 h 1161397"/>
              <a:gd name="connsiteX102" fmla="*/ 6845802 w 6884912"/>
              <a:gd name="connsiteY102" fmla="*/ 24496 h 1161397"/>
              <a:gd name="connsiteX103" fmla="*/ 6884912 w 6884912"/>
              <a:gd name="connsiteY103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38051 w 6884912"/>
              <a:gd name="connsiteY15" fmla="*/ 702034 h 1161397"/>
              <a:gd name="connsiteX16" fmla="*/ 1158800 w 6884912"/>
              <a:gd name="connsiteY16" fmla="*/ 700004 h 1161397"/>
              <a:gd name="connsiteX17" fmla="*/ 1166947 w 6884912"/>
              <a:gd name="connsiteY17" fmla="*/ 700762 h 1161397"/>
              <a:gd name="connsiteX18" fmla="*/ 1178135 w 6884912"/>
              <a:gd name="connsiteY18" fmla="*/ 698631 h 1161397"/>
              <a:gd name="connsiteX19" fmla="*/ 1178301 w 6884912"/>
              <a:gd name="connsiteY19" fmla="*/ 698094 h 1161397"/>
              <a:gd name="connsiteX20" fmla="*/ 1242716 w 6884912"/>
              <a:gd name="connsiteY20" fmla="*/ 698052 h 1161397"/>
              <a:gd name="connsiteX21" fmla="*/ 1299977 w 6884912"/>
              <a:gd name="connsiteY21" fmla="*/ 639196 h 1161397"/>
              <a:gd name="connsiteX22" fmla="*/ 1326190 w 6884912"/>
              <a:gd name="connsiteY22" fmla="*/ 625955 h 1161397"/>
              <a:gd name="connsiteX23" fmla="*/ 1339600 w 6884912"/>
              <a:gd name="connsiteY23" fmla="*/ 616295 h 1161397"/>
              <a:gd name="connsiteX24" fmla="*/ 1340054 w 6884912"/>
              <a:gd name="connsiteY24" fmla="*/ 614022 h 1161397"/>
              <a:gd name="connsiteX25" fmla="*/ 1391606 w 6884912"/>
              <a:gd name="connsiteY25" fmla="*/ 615229 h 1161397"/>
              <a:gd name="connsiteX26" fmla="*/ 1397565 w 6884912"/>
              <a:gd name="connsiteY26" fmla="*/ 611490 h 1161397"/>
              <a:gd name="connsiteX27" fmla="*/ 1432302 w 6884912"/>
              <a:gd name="connsiteY27" fmla="*/ 617267 h 1161397"/>
              <a:gd name="connsiteX28" fmla="*/ 1449644 w 6884912"/>
              <a:gd name="connsiteY28" fmla="*/ 617591 h 1161397"/>
              <a:gd name="connsiteX29" fmla="*/ 1455793 w 6884912"/>
              <a:gd name="connsiteY29" fmla="*/ 623174 h 1161397"/>
              <a:gd name="connsiteX30" fmla="*/ 1480758 w 6884912"/>
              <a:gd name="connsiteY30" fmla="*/ 620863 h 1161397"/>
              <a:gd name="connsiteX31" fmla="*/ 1483154 w 6884912"/>
              <a:gd name="connsiteY31" fmla="*/ 618527 h 1161397"/>
              <a:gd name="connsiteX32" fmla="*/ 1505495 w 6884912"/>
              <a:gd name="connsiteY32" fmla="*/ 624325 h 1161397"/>
              <a:gd name="connsiteX33" fmla="*/ 1526340 w 6884912"/>
              <a:gd name="connsiteY33" fmla="*/ 638496 h 1161397"/>
              <a:gd name="connsiteX34" fmla="*/ 1731986 w 6884912"/>
              <a:gd name="connsiteY34" fmla="*/ 589682 h 1161397"/>
              <a:gd name="connsiteX35" fmla="*/ 1927935 w 6884912"/>
              <a:gd name="connsiteY35" fmla="*/ 628540 h 1161397"/>
              <a:gd name="connsiteX36" fmla="*/ 2039075 w 6884912"/>
              <a:gd name="connsiteY36" fmla="*/ 599964 h 1161397"/>
              <a:gd name="connsiteX37" fmla="*/ 2066980 w 6884912"/>
              <a:gd name="connsiteY37" fmla="*/ 550413 h 1161397"/>
              <a:gd name="connsiteX38" fmla="*/ 2352236 w 6884912"/>
              <a:gd name="connsiteY38" fmla="*/ 519602 h 1161397"/>
              <a:gd name="connsiteX39" fmla="*/ 2420791 w 6884912"/>
              <a:gd name="connsiteY39" fmla="*/ 492826 h 1161397"/>
              <a:gd name="connsiteX40" fmla="*/ 2489932 w 6884912"/>
              <a:gd name="connsiteY40" fmla="*/ 507864 h 1161397"/>
              <a:gd name="connsiteX41" fmla="*/ 2512917 w 6884912"/>
              <a:gd name="connsiteY41" fmla="*/ 489127 h 1161397"/>
              <a:gd name="connsiteX42" fmla="*/ 2516783 w 6884912"/>
              <a:gd name="connsiteY42" fmla="*/ 485473 h 1161397"/>
              <a:gd name="connsiteX43" fmla="*/ 2534360 w 6884912"/>
              <a:gd name="connsiteY43" fmla="*/ 480064 h 1161397"/>
              <a:gd name="connsiteX44" fmla="*/ 2536691 w 6884912"/>
              <a:gd name="connsiteY44" fmla="*/ 467018 h 1161397"/>
              <a:gd name="connsiteX45" fmla="*/ 2561265 w 6884912"/>
              <a:gd name="connsiteY45" fmla="*/ 450623 h 1161397"/>
              <a:gd name="connsiteX46" fmla="*/ 2594349 w 6884912"/>
              <a:gd name="connsiteY46" fmla="*/ 443884 h 1161397"/>
              <a:gd name="connsiteX47" fmla="*/ 2754324 w 6884912"/>
              <a:gd name="connsiteY47" fmla="*/ 424766 h 1161397"/>
              <a:gd name="connsiteX48" fmla="*/ 2848470 w 6884912"/>
              <a:gd name="connsiteY48" fmla="*/ 405966 h 1161397"/>
              <a:gd name="connsiteX49" fmla="*/ 2881772 w 6884912"/>
              <a:gd name="connsiteY49" fmla="*/ 387260 h 1161397"/>
              <a:gd name="connsiteX50" fmla="*/ 2929932 w 6884912"/>
              <a:gd name="connsiteY50" fmla="*/ 368912 h 1161397"/>
              <a:gd name="connsiteX51" fmla="*/ 3013020 w 6884912"/>
              <a:gd name="connsiteY51" fmla="*/ 327578 h 1161397"/>
              <a:gd name="connsiteX52" fmla="*/ 3222191 w 6884912"/>
              <a:gd name="connsiteY52" fmla="*/ 307887 h 1161397"/>
              <a:gd name="connsiteX53" fmla="*/ 3227953 w 6884912"/>
              <a:gd name="connsiteY53" fmla="*/ 297650 h 1161397"/>
              <a:gd name="connsiteX54" fmla="*/ 3510042 w 6884912"/>
              <a:gd name="connsiteY54" fmla="*/ 311820 h 1161397"/>
              <a:gd name="connsiteX55" fmla="*/ 3626773 w 6884912"/>
              <a:gd name="connsiteY55" fmla="*/ 290452 h 1161397"/>
              <a:gd name="connsiteX56" fmla="*/ 3666217 w 6884912"/>
              <a:gd name="connsiteY56" fmla="*/ 273255 h 1161397"/>
              <a:gd name="connsiteX57" fmla="*/ 3732427 w 6884912"/>
              <a:gd name="connsiteY57" fmla="*/ 245039 h 1161397"/>
              <a:gd name="connsiteX58" fmla="*/ 3777022 w 6884912"/>
              <a:gd name="connsiteY58" fmla="*/ 200276 h 1161397"/>
              <a:gd name="connsiteX59" fmla="*/ 3791246 w 6884912"/>
              <a:gd name="connsiteY59" fmla="*/ 189996 h 1161397"/>
              <a:gd name="connsiteX60" fmla="*/ 3819864 w 6884912"/>
              <a:gd name="connsiteY60" fmla="*/ 194605 h 1161397"/>
              <a:gd name="connsiteX61" fmla="*/ 3830398 w 6884912"/>
              <a:gd name="connsiteY61" fmla="*/ 188383 h 1161397"/>
              <a:gd name="connsiteX62" fmla="*/ 3834360 w 6884912"/>
              <a:gd name="connsiteY62" fmla="*/ 188992 h 1161397"/>
              <a:gd name="connsiteX63" fmla="*/ 3843715 w 6884912"/>
              <a:gd name="connsiteY63" fmla="*/ 188752 h 1161397"/>
              <a:gd name="connsiteX64" fmla="*/ 3842609 w 6884912"/>
              <a:gd name="connsiteY64" fmla="*/ 197386 h 1161397"/>
              <a:gd name="connsiteX65" fmla="*/ 3853961 w 6884912"/>
              <a:gd name="connsiteY65" fmla="*/ 213380 h 1161397"/>
              <a:gd name="connsiteX66" fmla="*/ 3907640 w 6884912"/>
              <a:gd name="connsiteY66" fmla="*/ 207568 h 1161397"/>
              <a:gd name="connsiteX67" fmla="*/ 3910449 w 6884912"/>
              <a:gd name="connsiteY67" fmla="*/ 197808 h 1161397"/>
              <a:gd name="connsiteX68" fmla="*/ 3917197 w 6884912"/>
              <a:gd name="connsiteY68" fmla="*/ 196121 h 1161397"/>
              <a:gd name="connsiteX69" fmla="*/ 3922400 w 6884912"/>
              <a:gd name="connsiteY69" fmla="*/ 205056 h 1161397"/>
              <a:gd name="connsiteX70" fmla="*/ 4013061 w 6884912"/>
              <a:gd name="connsiteY70" fmla="*/ 224874 h 1161397"/>
              <a:gd name="connsiteX71" fmla="*/ 4220717 w 6884912"/>
              <a:gd name="connsiteY71" fmla="*/ 192946 h 1161397"/>
              <a:gd name="connsiteX72" fmla="*/ 4228802 w 6884912"/>
              <a:gd name="connsiteY72" fmla="*/ 201468 h 1161397"/>
              <a:gd name="connsiteX73" fmla="*/ 4289361 w 6884912"/>
              <a:gd name="connsiteY73" fmla="*/ 196642 h 1161397"/>
              <a:gd name="connsiteX74" fmla="*/ 4498913 w 6884912"/>
              <a:gd name="connsiteY74" fmla="*/ 118915 h 1161397"/>
              <a:gd name="connsiteX75" fmla="*/ 4617330 w 6884912"/>
              <a:gd name="connsiteY75" fmla="*/ 111163 h 1161397"/>
              <a:gd name="connsiteX76" fmla="*/ 4659778 w 6884912"/>
              <a:gd name="connsiteY76" fmla="*/ 118219 h 1161397"/>
              <a:gd name="connsiteX77" fmla="*/ 4730870 w 6884912"/>
              <a:gd name="connsiteY77" fmla="*/ 129432 h 1161397"/>
              <a:gd name="connsiteX78" fmla="*/ 4844073 w 6884912"/>
              <a:gd name="connsiteY78" fmla="*/ 161768 h 1161397"/>
              <a:gd name="connsiteX79" fmla="*/ 4856454 w 6884912"/>
              <a:gd name="connsiteY79" fmla="*/ 130488 h 1161397"/>
              <a:gd name="connsiteX80" fmla="*/ 4920038 w 6884912"/>
              <a:gd name="connsiteY80" fmla="*/ 140418 h 1161397"/>
              <a:gd name="connsiteX81" fmla="*/ 5016639 w 6884912"/>
              <a:gd name="connsiteY81" fmla="*/ 158905 h 1161397"/>
              <a:gd name="connsiteX82" fmla="*/ 5072009 w 6884912"/>
              <a:gd name="connsiteY82" fmla="*/ 161502 h 1161397"/>
              <a:gd name="connsiteX83" fmla="*/ 5223626 w 6884912"/>
              <a:gd name="connsiteY83" fmla="*/ 177356 h 1161397"/>
              <a:gd name="connsiteX84" fmla="*/ 5375773 w 6884912"/>
              <a:gd name="connsiteY84" fmla="*/ 199913 h 1161397"/>
              <a:gd name="connsiteX85" fmla="*/ 5467502 w 6884912"/>
              <a:gd name="connsiteY85" fmla="*/ 250963 h 1161397"/>
              <a:gd name="connsiteX86" fmla="*/ 5592395 w 6884912"/>
              <a:gd name="connsiteY86" fmla="*/ 265434 h 1161397"/>
              <a:gd name="connsiteX87" fmla="*/ 5613532 w 6884912"/>
              <a:gd name="connsiteY87" fmla="*/ 273379 h 1161397"/>
              <a:gd name="connsiteX88" fmla="*/ 5642173 w 6884912"/>
              <a:gd name="connsiteY88" fmla="*/ 266904 h 1161397"/>
              <a:gd name="connsiteX89" fmla="*/ 5756910 w 6884912"/>
              <a:gd name="connsiteY89" fmla="*/ 239211 h 1161397"/>
              <a:gd name="connsiteX90" fmla="*/ 5846667 w 6884912"/>
              <a:gd name="connsiteY90" fmla="*/ 201786 h 1161397"/>
              <a:gd name="connsiteX91" fmla="*/ 5960732 w 6884912"/>
              <a:gd name="connsiteY91" fmla="*/ 220708 h 1161397"/>
              <a:gd name="connsiteX92" fmla="*/ 6029542 w 6884912"/>
              <a:gd name="connsiteY92" fmla="*/ 210339 h 1161397"/>
              <a:gd name="connsiteX93" fmla="*/ 6141123 w 6884912"/>
              <a:gd name="connsiteY93" fmla="*/ 159923 h 1161397"/>
              <a:gd name="connsiteX94" fmla="*/ 6290640 w 6884912"/>
              <a:gd name="connsiteY94" fmla="*/ 167441 h 1161397"/>
              <a:gd name="connsiteX95" fmla="*/ 6322806 w 6884912"/>
              <a:gd name="connsiteY95" fmla="*/ 213293 h 1161397"/>
              <a:gd name="connsiteX96" fmla="*/ 6380420 w 6884912"/>
              <a:gd name="connsiteY96" fmla="*/ 173195 h 1161397"/>
              <a:gd name="connsiteX97" fmla="*/ 6507891 w 6884912"/>
              <a:gd name="connsiteY97" fmla="*/ 118474 h 1161397"/>
              <a:gd name="connsiteX98" fmla="*/ 6571807 w 6884912"/>
              <a:gd name="connsiteY98" fmla="*/ 98636 h 1161397"/>
              <a:gd name="connsiteX99" fmla="*/ 6671880 w 6884912"/>
              <a:gd name="connsiteY99" fmla="*/ 82931 h 1161397"/>
              <a:gd name="connsiteX100" fmla="*/ 6702266 w 6884912"/>
              <a:gd name="connsiteY100" fmla="*/ 75470 h 1161397"/>
              <a:gd name="connsiteX101" fmla="*/ 6845802 w 6884912"/>
              <a:gd name="connsiteY101" fmla="*/ 24496 h 1161397"/>
              <a:gd name="connsiteX102" fmla="*/ 6884912 w 6884912"/>
              <a:gd name="connsiteY102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38051 w 6884912"/>
              <a:gd name="connsiteY15" fmla="*/ 702034 h 1161397"/>
              <a:gd name="connsiteX16" fmla="*/ 1166947 w 6884912"/>
              <a:gd name="connsiteY16" fmla="*/ 700762 h 1161397"/>
              <a:gd name="connsiteX17" fmla="*/ 1178135 w 6884912"/>
              <a:gd name="connsiteY17" fmla="*/ 698631 h 1161397"/>
              <a:gd name="connsiteX18" fmla="*/ 1178301 w 6884912"/>
              <a:gd name="connsiteY18" fmla="*/ 698094 h 1161397"/>
              <a:gd name="connsiteX19" fmla="*/ 1242716 w 6884912"/>
              <a:gd name="connsiteY19" fmla="*/ 698052 h 1161397"/>
              <a:gd name="connsiteX20" fmla="*/ 1299977 w 6884912"/>
              <a:gd name="connsiteY20" fmla="*/ 639196 h 1161397"/>
              <a:gd name="connsiteX21" fmla="*/ 1326190 w 6884912"/>
              <a:gd name="connsiteY21" fmla="*/ 625955 h 1161397"/>
              <a:gd name="connsiteX22" fmla="*/ 1339600 w 6884912"/>
              <a:gd name="connsiteY22" fmla="*/ 616295 h 1161397"/>
              <a:gd name="connsiteX23" fmla="*/ 1340054 w 6884912"/>
              <a:gd name="connsiteY23" fmla="*/ 614022 h 1161397"/>
              <a:gd name="connsiteX24" fmla="*/ 1391606 w 6884912"/>
              <a:gd name="connsiteY24" fmla="*/ 615229 h 1161397"/>
              <a:gd name="connsiteX25" fmla="*/ 1397565 w 6884912"/>
              <a:gd name="connsiteY25" fmla="*/ 611490 h 1161397"/>
              <a:gd name="connsiteX26" fmla="*/ 1432302 w 6884912"/>
              <a:gd name="connsiteY26" fmla="*/ 617267 h 1161397"/>
              <a:gd name="connsiteX27" fmla="*/ 1449644 w 6884912"/>
              <a:gd name="connsiteY27" fmla="*/ 617591 h 1161397"/>
              <a:gd name="connsiteX28" fmla="*/ 1455793 w 6884912"/>
              <a:gd name="connsiteY28" fmla="*/ 623174 h 1161397"/>
              <a:gd name="connsiteX29" fmla="*/ 1480758 w 6884912"/>
              <a:gd name="connsiteY29" fmla="*/ 620863 h 1161397"/>
              <a:gd name="connsiteX30" fmla="*/ 1483154 w 6884912"/>
              <a:gd name="connsiteY30" fmla="*/ 618527 h 1161397"/>
              <a:gd name="connsiteX31" fmla="*/ 1505495 w 6884912"/>
              <a:gd name="connsiteY31" fmla="*/ 624325 h 1161397"/>
              <a:gd name="connsiteX32" fmla="*/ 1526340 w 6884912"/>
              <a:gd name="connsiteY32" fmla="*/ 638496 h 1161397"/>
              <a:gd name="connsiteX33" fmla="*/ 1731986 w 6884912"/>
              <a:gd name="connsiteY33" fmla="*/ 589682 h 1161397"/>
              <a:gd name="connsiteX34" fmla="*/ 1927935 w 6884912"/>
              <a:gd name="connsiteY34" fmla="*/ 628540 h 1161397"/>
              <a:gd name="connsiteX35" fmla="*/ 2039075 w 6884912"/>
              <a:gd name="connsiteY35" fmla="*/ 599964 h 1161397"/>
              <a:gd name="connsiteX36" fmla="*/ 2066980 w 6884912"/>
              <a:gd name="connsiteY36" fmla="*/ 550413 h 1161397"/>
              <a:gd name="connsiteX37" fmla="*/ 2352236 w 6884912"/>
              <a:gd name="connsiteY37" fmla="*/ 519602 h 1161397"/>
              <a:gd name="connsiteX38" fmla="*/ 2420791 w 6884912"/>
              <a:gd name="connsiteY38" fmla="*/ 492826 h 1161397"/>
              <a:gd name="connsiteX39" fmla="*/ 2489932 w 6884912"/>
              <a:gd name="connsiteY39" fmla="*/ 507864 h 1161397"/>
              <a:gd name="connsiteX40" fmla="*/ 2512917 w 6884912"/>
              <a:gd name="connsiteY40" fmla="*/ 489127 h 1161397"/>
              <a:gd name="connsiteX41" fmla="*/ 2516783 w 6884912"/>
              <a:gd name="connsiteY41" fmla="*/ 485473 h 1161397"/>
              <a:gd name="connsiteX42" fmla="*/ 2534360 w 6884912"/>
              <a:gd name="connsiteY42" fmla="*/ 480064 h 1161397"/>
              <a:gd name="connsiteX43" fmla="*/ 2536691 w 6884912"/>
              <a:gd name="connsiteY43" fmla="*/ 467018 h 1161397"/>
              <a:gd name="connsiteX44" fmla="*/ 2561265 w 6884912"/>
              <a:gd name="connsiteY44" fmla="*/ 450623 h 1161397"/>
              <a:gd name="connsiteX45" fmla="*/ 2594349 w 6884912"/>
              <a:gd name="connsiteY45" fmla="*/ 443884 h 1161397"/>
              <a:gd name="connsiteX46" fmla="*/ 2754324 w 6884912"/>
              <a:gd name="connsiteY46" fmla="*/ 424766 h 1161397"/>
              <a:gd name="connsiteX47" fmla="*/ 2848470 w 6884912"/>
              <a:gd name="connsiteY47" fmla="*/ 405966 h 1161397"/>
              <a:gd name="connsiteX48" fmla="*/ 2881772 w 6884912"/>
              <a:gd name="connsiteY48" fmla="*/ 387260 h 1161397"/>
              <a:gd name="connsiteX49" fmla="*/ 2929932 w 6884912"/>
              <a:gd name="connsiteY49" fmla="*/ 368912 h 1161397"/>
              <a:gd name="connsiteX50" fmla="*/ 3013020 w 6884912"/>
              <a:gd name="connsiteY50" fmla="*/ 327578 h 1161397"/>
              <a:gd name="connsiteX51" fmla="*/ 3222191 w 6884912"/>
              <a:gd name="connsiteY51" fmla="*/ 307887 h 1161397"/>
              <a:gd name="connsiteX52" fmla="*/ 3227953 w 6884912"/>
              <a:gd name="connsiteY52" fmla="*/ 297650 h 1161397"/>
              <a:gd name="connsiteX53" fmla="*/ 3510042 w 6884912"/>
              <a:gd name="connsiteY53" fmla="*/ 311820 h 1161397"/>
              <a:gd name="connsiteX54" fmla="*/ 3626773 w 6884912"/>
              <a:gd name="connsiteY54" fmla="*/ 290452 h 1161397"/>
              <a:gd name="connsiteX55" fmla="*/ 3666217 w 6884912"/>
              <a:gd name="connsiteY55" fmla="*/ 273255 h 1161397"/>
              <a:gd name="connsiteX56" fmla="*/ 3732427 w 6884912"/>
              <a:gd name="connsiteY56" fmla="*/ 245039 h 1161397"/>
              <a:gd name="connsiteX57" fmla="*/ 3777022 w 6884912"/>
              <a:gd name="connsiteY57" fmla="*/ 200276 h 1161397"/>
              <a:gd name="connsiteX58" fmla="*/ 3791246 w 6884912"/>
              <a:gd name="connsiteY58" fmla="*/ 189996 h 1161397"/>
              <a:gd name="connsiteX59" fmla="*/ 3819864 w 6884912"/>
              <a:gd name="connsiteY59" fmla="*/ 194605 h 1161397"/>
              <a:gd name="connsiteX60" fmla="*/ 3830398 w 6884912"/>
              <a:gd name="connsiteY60" fmla="*/ 188383 h 1161397"/>
              <a:gd name="connsiteX61" fmla="*/ 3834360 w 6884912"/>
              <a:gd name="connsiteY61" fmla="*/ 188992 h 1161397"/>
              <a:gd name="connsiteX62" fmla="*/ 3843715 w 6884912"/>
              <a:gd name="connsiteY62" fmla="*/ 188752 h 1161397"/>
              <a:gd name="connsiteX63" fmla="*/ 3842609 w 6884912"/>
              <a:gd name="connsiteY63" fmla="*/ 197386 h 1161397"/>
              <a:gd name="connsiteX64" fmla="*/ 3853961 w 6884912"/>
              <a:gd name="connsiteY64" fmla="*/ 213380 h 1161397"/>
              <a:gd name="connsiteX65" fmla="*/ 3907640 w 6884912"/>
              <a:gd name="connsiteY65" fmla="*/ 207568 h 1161397"/>
              <a:gd name="connsiteX66" fmla="*/ 3910449 w 6884912"/>
              <a:gd name="connsiteY66" fmla="*/ 197808 h 1161397"/>
              <a:gd name="connsiteX67" fmla="*/ 3917197 w 6884912"/>
              <a:gd name="connsiteY67" fmla="*/ 196121 h 1161397"/>
              <a:gd name="connsiteX68" fmla="*/ 3922400 w 6884912"/>
              <a:gd name="connsiteY68" fmla="*/ 205056 h 1161397"/>
              <a:gd name="connsiteX69" fmla="*/ 4013061 w 6884912"/>
              <a:gd name="connsiteY69" fmla="*/ 224874 h 1161397"/>
              <a:gd name="connsiteX70" fmla="*/ 4220717 w 6884912"/>
              <a:gd name="connsiteY70" fmla="*/ 192946 h 1161397"/>
              <a:gd name="connsiteX71" fmla="*/ 4228802 w 6884912"/>
              <a:gd name="connsiteY71" fmla="*/ 201468 h 1161397"/>
              <a:gd name="connsiteX72" fmla="*/ 4289361 w 6884912"/>
              <a:gd name="connsiteY72" fmla="*/ 196642 h 1161397"/>
              <a:gd name="connsiteX73" fmla="*/ 4498913 w 6884912"/>
              <a:gd name="connsiteY73" fmla="*/ 118915 h 1161397"/>
              <a:gd name="connsiteX74" fmla="*/ 4617330 w 6884912"/>
              <a:gd name="connsiteY74" fmla="*/ 111163 h 1161397"/>
              <a:gd name="connsiteX75" fmla="*/ 4659778 w 6884912"/>
              <a:gd name="connsiteY75" fmla="*/ 118219 h 1161397"/>
              <a:gd name="connsiteX76" fmla="*/ 4730870 w 6884912"/>
              <a:gd name="connsiteY76" fmla="*/ 129432 h 1161397"/>
              <a:gd name="connsiteX77" fmla="*/ 4844073 w 6884912"/>
              <a:gd name="connsiteY77" fmla="*/ 161768 h 1161397"/>
              <a:gd name="connsiteX78" fmla="*/ 4856454 w 6884912"/>
              <a:gd name="connsiteY78" fmla="*/ 130488 h 1161397"/>
              <a:gd name="connsiteX79" fmla="*/ 4920038 w 6884912"/>
              <a:gd name="connsiteY79" fmla="*/ 140418 h 1161397"/>
              <a:gd name="connsiteX80" fmla="*/ 5016639 w 6884912"/>
              <a:gd name="connsiteY80" fmla="*/ 158905 h 1161397"/>
              <a:gd name="connsiteX81" fmla="*/ 5072009 w 6884912"/>
              <a:gd name="connsiteY81" fmla="*/ 161502 h 1161397"/>
              <a:gd name="connsiteX82" fmla="*/ 5223626 w 6884912"/>
              <a:gd name="connsiteY82" fmla="*/ 177356 h 1161397"/>
              <a:gd name="connsiteX83" fmla="*/ 5375773 w 6884912"/>
              <a:gd name="connsiteY83" fmla="*/ 199913 h 1161397"/>
              <a:gd name="connsiteX84" fmla="*/ 5467502 w 6884912"/>
              <a:gd name="connsiteY84" fmla="*/ 250963 h 1161397"/>
              <a:gd name="connsiteX85" fmla="*/ 5592395 w 6884912"/>
              <a:gd name="connsiteY85" fmla="*/ 265434 h 1161397"/>
              <a:gd name="connsiteX86" fmla="*/ 5613532 w 6884912"/>
              <a:gd name="connsiteY86" fmla="*/ 273379 h 1161397"/>
              <a:gd name="connsiteX87" fmla="*/ 5642173 w 6884912"/>
              <a:gd name="connsiteY87" fmla="*/ 266904 h 1161397"/>
              <a:gd name="connsiteX88" fmla="*/ 5756910 w 6884912"/>
              <a:gd name="connsiteY88" fmla="*/ 239211 h 1161397"/>
              <a:gd name="connsiteX89" fmla="*/ 5846667 w 6884912"/>
              <a:gd name="connsiteY89" fmla="*/ 201786 h 1161397"/>
              <a:gd name="connsiteX90" fmla="*/ 5960732 w 6884912"/>
              <a:gd name="connsiteY90" fmla="*/ 220708 h 1161397"/>
              <a:gd name="connsiteX91" fmla="*/ 6029542 w 6884912"/>
              <a:gd name="connsiteY91" fmla="*/ 210339 h 1161397"/>
              <a:gd name="connsiteX92" fmla="*/ 6141123 w 6884912"/>
              <a:gd name="connsiteY92" fmla="*/ 159923 h 1161397"/>
              <a:gd name="connsiteX93" fmla="*/ 6290640 w 6884912"/>
              <a:gd name="connsiteY93" fmla="*/ 167441 h 1161397"/>
              <a:gd name="connsiteX94" fmla="*/ 6322806 w 6884912"/>
              <a:gd name="connsiteY94" fmla="*/ 213293 h 1161397"/>
              <a:gd name="connsiteX95" fmla="*/ 6380420 w 6884912"/>
              <a:gd name="connsiteY95" fmla="*/ 173195 h 1161397"/>
              <a:gd name="connsiteX96" fmla="*/ 6507891 w 6884912"/>
              <a:gd name="connsiteY96" fmla="*/ 118474 h 1161397"/>
              <a:gd name="connsiteX97" fmla="*/ 6571807 w 6884912"/>
              <a:gd name="connsiteY97" fmla="*/ 98636 h 1161397"/>
              <a:gd name="connsiteX98" fmla="*/ 6671880 w 6884912"/>
              <a:gd name="connsiteY98" fmla="*/ 82931 h 1161397"/>
              <a:gd name="connsiteX99" fmla="*/ 6702266 w 6884912"/>
              <a:gd name="connsiteY99" fmla="*/ 75470 h 1161397"/>
              <a:gd name="connsiteX100" fmla="*/ 6845802 w 6884912"/>
              <a:gd name="connsiteY100" fmla="*/ 24496 h 1161397"/>
              <a:gd name="connsiteX101" fmla="*/ 6884912 w 6884912"/>
              <a:gd name="connsiteY101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38051 w 6884912"/>
              <a:gd name="connsiteY15" fmla="*/ 702034 h 1161397"/>
              <a:gd name="connsiteX16" fmla="*/ 1178135 w 6884912"/>
              <a:gd name="connsiteY16" fmla="*/ 698631 h 1161397"/>
              <a:gd name="connsiteX17" fmla="*/ 1178301 w 6884912"/>
              <a:gd name="connsiteY17" fmla="*/ 698094 h 1161397"/>
              <a:gd name="connsiteX18" fmla="*/ 1242716 w 6884912"/>
              <a:gd name="connsiteY18" fmla="*/ 698052 h 1161397"/>
              <a:gd name="connsiteX19" fmla="*/ 1299977 w 6884912"/>
              <a:gd name="connsiteY19" fmla="*/ 639196 h 1161397"/>
              <a:gd name="connsiteX20" fmla="*/ 1326190 w 6884912"/>
              <a:gd name="connsiteY20" fmla="*/ 625955 h 1161397"/>
              <a:gd name="connsiteX21" fmla="*/ 1339600 w 6884912"/>
              <a:gd name="connsiteY21" fmla="*/ 616295 h 1161397"/>
              <a:gd name="connsiteX22" fmla="*/ 1340054 w 6884912"/>
              <a:gd name="connsiteY22" fmla="*/ 614022 h 1161397"/>
              <a:gd name="connsiteX23" fmla="*/ 1391606 w 6884912"/>
              <a:gd name="connsiteY23" fmla="*/ 615229 h 1161397"/>
              <a:gd name="connsiteX24" fmla="*/ 1397565 w 6884912"/>
              <a:gd name="connsiteY24" fmla="*/ 611490 h 1161397"/>
              <a:gd name="connsiteX25" fmla="*/ 1432302 w 6884912"/>
              <a:gd name="connsiteY25" fmla="*/ 617267 h 1161397"/>
              <a:gd name="connsiteX26" fmla="*/ 1449644 w 6884912"/>
              <a:gd name="connsiteY26" fmla="*/ 617591 h 1161397"/>
              <a:gd name="connsiteX27" fmla="*/ 1455793 w 6884912"/>
              <a:gd name="connsiteY27" fmla="*/ 623174 h 1161397"/>
              <a:gd name="connsiteX28" fmla="*/ 1480758 w 6884912"/>
              <a:gd name="connsiteY28" fmla="*/ 620863 h 1161397"/>
              <a:gd name="connsiteX29" fmla="*/ 1483154 w 6884912"/>
              <a:gd name="connsiteY29" fmla="*/ 618527 h 1161397"/>
              <a:gd name="connsiteX30" fmla="*/ 1505495 w 6884912"/>
              <a:gd name="connsiteY30" fmla="*/ 624325 h 1161397"/>
              <a:gd name="connsiteX31" fmla="*/ 1526340 w 6884912"/>
              <a:gd name="connsiteY31" fmla="*/ 638496 h 1161397"/>
              <a:gd name="connsiteX32" fmla="*/ 1731986 w 6884912"/>
              <a:gd name="connsiteY32" fmla="*/ 589682 h 1161397"/>
              <a:gd name="connsiteX33" fmla="*/ 1927935 w 6884912"/>
              <a:gd name="connsiteY33" fmla="*/ 628540 h 1161397"/>
              <a:gd name="connsiteX34" fmla="*/ 2039075 w 6884912"/>
              <a:gd name="connsiteY34" fmla="*/ 599964 h 1161397"/>
              <a:gd name="connsiteX35" fmla="*/ 2066980 w 6884912"/>
              <a:gd name="connsiteY35" fmla="*/ 550413 h 1161397"/>
              <a:gd name="connsiteX36" fmla="*/ 2352236 w 6884912"/>
              <a:gd name="connsiteY36" fmla="*/ 519602 h 1161397"/>
              <a:gd name="connsiteX37" fmla="*/ 2420791 w 6884912"/>
              <a:gd name="connsiteY37" fmla="*/ 492826 h 1161397"/>
              <a:gd name="connsiteX38" fmla="*/ 2489932 w 6884912"/>
              <a:gd name="connsiteY38" fmla="*/ 507864 h 1161397"/>
              <a:gd name="connsiteX39" fmla="*/ 2512917 w 6884912"/>
              <a:gd name="connsiteY39" fmla="*/ 489127 h 1161397"/>
              <a:gd name="connsiteX40" fmla="*/ 2516783 w 6884912"/>
              <a:gd name="connsiteY40" fmla="*/ 485473 h 1161397"/>
              <a:gd name="connsiteX41" fmla="*/ 2534360 w 6884912"/>
              <a:gd name="connsiteY41" fmla="*/ 480064 h 1161397"/>
              <a:gd name="connsiteX42" fmla="*/ 2536691 w 6884912"/>
              <a:gd name="connsiteY42" fmla="*/ 467018 h 1161397"/>
              <a:gd name="connsiteX43" fmla="*/ 2561265 w 6884912"/>
              <a:gd name="connsiteY43" fmla="*/ 450623 h 1161397"/>
              <a:gd name="connsiteX44" fmla="*/ 2594349 w 6884912"/>
              <a:gd name="connsiteY44" fmla="*/ 443884 h 1161397"/>
              <a:gd name="connsiteX45" fmla="*/ 2754324 w 6884912"/>
              <a:gd name="connsiteY45" fmla="*/ 424766 h 1161397"/>
              <a:gd name="connsiteX46" fmla="*/ 2848470 w 6884912"/>
              <a:gd name="connsiteY46" fmla="*/ 405966 h 1161397"/>
              <a:gd name="connsiteX47" fmla="*/ 2881772 w 6884912"/>
              <a:gd name="connsiteY47" fmla="*/ 387260 h 1161397"/>
              <a:gd name="connsiteX48" fmla="*/ 2929932 w 6884912"/>
              <a:gd name="connsiteY48" fmla="*/ 368912 h 1161397"/>
              <a:gd name="connsiteX49" fmla="*/ 3013020 w 6884912"/>
              <a:gd name="connsiteY49" fmla="*/ 327578 h 1161397"/>
              <a:gd name="connsiteX50" fmla="*/ 3222191 w 6884912"/>
              <a:gd name="connsiteY50" fmla="*/ 307887 h 1161397"/>
              <a:gd name="connsiteX51" fmla="*/ 3227953 w 6884912"/>
              <a:gd name="connsiteY51" fmla="*/ 297650 h 1161397"/>
              <a:gd name="connsiteX52" fmla="*/ 3510042 w 6884912"/>
              <a:gd name="connsiteY52" fmla="*/ 311820 h 1161397"/>
              <a:gd name="connsiteX53" fmla="*/ 3626773 w 6884912"/>
              <a:gd name="connsiteY53" fmla="*/ 290452 h 1161397"/>
              <a:gd name="connsiteX54" fmla="*/ 3666217 w 6884912"/>
              <a:gd name="connsiteY54" fmla="*/ 273255 h 1161397"/>
              <a:gd name="connsiteX55" fmla="*/ 3732427 w 6884912"/>
              <a:gd name="connsiteY55" fmla="*/ 245039 h 1161397"/>
              <a:gd name="connsiteX56" fmla="*/ 3777022 w 6884912"/>
              <a:gd name="connsiteY56" fmla="*/ 200276 h 1161397"/>
              <a:gd name="connsiteX57" fmla="*/ 3791246 w 6884912"/>
              <a:gd name="connsiteY57" fmla="*/ 189996 h 1161397"/>
              <a:gd name="connsiteX58" fmla="*/ 3819864 w 6884912"/>
              <a:gd name="connsiteY58" fmla="*/ 194605 h 1161397"/>
              <a:gd name="connsiteX59" fmla="*/ 3830398 w 6884912"/>
              <a:gd name="connsiteY59" fmla="*/ 188383 h 1161397"/>
              <a:gd name="connsiteX60" fmla="*/ 3834360 w 6884912"/>
              <a:gd name="connsiteY60" fmla="*/ 188992 h 1161397"/>
              <a:gd name="connsiteX61" fmla="*/ 3843715 w 6884912"/>
              <a:gd name="connsiteY61" fmla="*/ 188752 h 1161397"/>
              <a:gd name="connsiteX62" fmla="*/ 3842609 w 6884912"/>
              <a:gd name="connsiteY62" fmla="*/ 197386 h 1161397"/>
              <a:gd name="connsiteX63" fmla="*/ 3853961 w 6884912"/>
              <a:gd name="connsiteY63" fmla="*/ 213380 h 1161397"/>
              <a:gd name="connsiteX64" fmla="*/ 3907640 w 6884912"/>
              <a:gd name="connsiteY64" fmla="*/ 207568 h 1161397"/>
              <a:gd name="connsiteX65" fmla="*/ 3910449 w 6884912"/>
              <a:gd name="connsiteY65" fmla="*/ 197808 h 1161397"/>
              <a:gd name="connsiteX66" fmla="*/ 3917197 w 6884912"/>
              <a:gd name="connsiteY66" fmla="*/ 196121 h 1161397"/>
              <a:gd name="connsiteX67" fmla="*/ 3922400 w 6884912"/>
              <a:gd name="connsiteY67" fmla="*/ 205056 h 1161397"/>
              <a:gd name="connsiteX68" fmla="*/ 4013061 w 6884912"/>
              <a:gd name="connsiteY68" fmla="*/ 224874 h 1161397"/>
              <a:gd name="connsiteX69" fmla="*/ 4220717 w 6884912"/>
              <a:gd name="connsiteY69" fmla="*/ 192946 h 1161397"/>
              <a:gd name="connsiteX70" fmla="*/ 4228802 w 6884912"/>
              <a:gd name="connsiteY70" fmla="*/ 201468 h 1161397"/>
              <a:gd name="connsiteX71" fmla="*/ 4289361 w 6884912"/>
              <a:gd name="connsiteY71" fmla="*/ 196642 h 1161397"/>
              <a:gd name="connsiteX72" fmla="*/ 4498913 w 6884912"/>
              <a:gd name="connsiteY72" fmla="*/ 118915 h 1161397"/>
              <a:gd name="connsiteX73" fmla="*/ 4617330 w 6884912"/>
              <a:gd name="connsiteY73" fmla="*/ 111163 h 1161397"/>
              <a:gd name="connsiteX74" fmla="*/ 4659778 w 6884912"/>
              <a:gd name="connsiteY74" fmla="*/ 118219 h 1161397"/>
              <a:gd name="connsiteX75" fmla="*/ 4730870 w 6884912"/>
              <a:gd name="connsiteY75" fmla="*/ 129432 h 1161397"/>
              <a:gd name="connsiteX76" fmla="*/ 4844073 w 6884912"/>
              <a:gd name="connsiteY76" fmla="*/ 161768 h 1161397"/>
              <a:gd name="connsiteX77" fmla="*/ 4856454 w 6884912"/>
              <a:gd name="connsiteY77" fmla="*/ 130488 h 1161397"/>
              <a:gd name="connsiteX78" fmla="*/ 4920038 w 6884912"/>
              <a:gd name="connsiteY78" fmla="*/ 140418 h 1161397"/>
              <a:gd name="connsiteX79" fmla="*/ 5016639 w 6884912"/>
              <a:gd name="connsiteY79" fmla="*/ 158905 h 1161397"/>
              <a:gd name="connsiteX80" fmla="*/ 5072009 w 6884912"/>
              <a:gd name="connsiteY80" fmla="*/ 161502 h 1161397"/>
              <a:gd name="connsiteX81" fmla="*/ 5223626 w 6884912"/>
              <a:gd name="connsiteY81" fmla="*/ 177356 h 1161397"/>
              <a:gd name="connsiteX82" fmla="*/ 5375773 w 6884912"/>
              <a:gd name="connsiteY82" fmla="*/ 199913 h 1161397"/>
              <a:gd name="connsiteX83" fmla="*/ 5467502 w 6884912"/>
              <a:gd name="connsiteY83" fmla="*/ 250963 h 1161397"/>
              <a:gd name="connsiteX84" fmla="*/ 5592395 w 6884912"/>
              <a:gd name="connsiteY84" fmla="*/ 265434 h 1161397"/>
              <a:gd name="connsiteX85" fmla="*/ 5613532 w 6884912"/>
              <a:gd name="connsiteY85" fmla="*/ 273379 h 1161397"/>
              <a:gd name="connsiteX86" fmla="*/ 5642173 w 6884912"/>
              <a:gd name="connsiteY86" fmla="*/ 266904 h 1161397"/>
              <a:gd name="connsiteX87" fmla="*/ 5756910 w 6884912"/>
              <a:gd name="connsiteY87" fmla="*/ 239211 h 1161397"/>
              <a:gd name="connsiteX88" fmla="*/ 5846667 w 6884912"/>
              <a:gd name="connsiteY88" fmla="*/ 201786 h 1161397"/>
              <a:gd name="connsiteX89" fmla="*/ 5960732 w 6884912"/>
              <a:gd name="connsiteY89" fmla="*/ 220708 h 1161397"/>
              <a:gd name="connsiteX90" fmla="*/ 6029542 w 6884912"/>
              <a:gd name="connsiteY90" fmla="*/ 210339 h 1161397"/>
              <a:gd name="connsiteX91" fmla="*/ 6141123 w 6884912"/>
              <a:gd name="connsiteY91" fmla="*/ 159923 h 1161397"/>
              <a:gd name="connsiteX92" fmla="*/ 6290640 w 6884912"/>
              <a:gd name="connsiteY92" fmla="*/ 167441 h 1161397"/>
              <a:gd name="connsiteX93" fmla="*/ 6322806 w 6884912"/>
              <a:gd name="connsiteY93" fmla="*/ 213293 h 1161397"/>
              <a:gd name="connsiteX94" fmla="*/ 6380420 w 6884912"/>
              <a:gd name="connsiteY94" fmla="*/ 173195 h 1161397"/>
              <a:gd name="connsiteX95" fmla="*/ 6507891 w 6884912"/>
              <a:gd name="connsiteY95" fmla="*/ 118474 h 1161397"/>
              <a:gd name="connsiteX96" fmla="*/ 6571807 w 6884912"/>
              <a:gd name="connsiteY96" fmla="*/ 98636 h 1161397"/>
              <a:gd name="connsiteX97" fmla="*/ 6671880 w 6884912"/>
              <a:gd name="connsiteY97" fmla="*/ 82931 h 1161397"/>
              <a:gd name="connsiteX98" fmla="*/ 6702266 w 6884912"/>
              <a:gd name="connsiteY98" fmla="*/ 75470 h 1161397"/>
              <a:gd name="connsiteX99" fmla="*/ 6845802 w 6884912"/>
              <a:gd name="connsiteY99" fmla="*/ 24496 h 1161397"/>
              <a:gd name="connsiteX100" fmla="*/ 6884912 w 6884912"/>
              <a:gd name="connsiteY100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78135 w 6884912"/>
              <a:gd name="connsiteY15" fmla="*/ 698631 h 1161397"/>
              <a:gd name="connsiteX16" fmla="*/ 1178301 w 6884912"/>
              <a:gd name="connsiteY16" fmla="*/ 698094 h 1161397"/>
              <a:gd name="connsiteX17" fmla="*/ 1242716 w 6884912"/>
              <a:gd name="connsiteY17" fmla="*/ 698052 h 1161397"/>
              <a:gd name="connsiteX18" fmla="*/ 1299977 w 6884912"/>
              <a:gd name="connsiteY18" fmla="*/ 639196 h 1161397"/>
              <a:gd name="connsiteX19" fmla="*/ 1326190 w 6884912"/>
              <a:gd name="connsiteY19" fmla="*/ 625955 h 1161397"/>
              <a:gd name="connsiteX20" fmla="*/ 1339600 w 6884912"/>
              <a:gd name="connsiteY20" fmla="*/ 616295 h 1161397"/>
              <a:gd name="connsiteX21" fmla="*/ 1340054 w 6884912"/>
              <a:gd name="connsiteY21" fmla="*/ 614022 h 1161397"/>
              <a:gd name="connsiteX22" fmla="*/ 1391606 w 6884912"/>
              <a:gd name="connsiteY22" fmla="*/ 615229 h 1161397"/>
              <a:gd name="connsiteX23" fmla="*/ 1397565 w 6884912"/>
              <a:gd name="connsiteY23" fmla="*/ 611490 h 1161397"/>
              <a:gd name="connsiteX24" fmla="*/ 1432302 w 6884912"/>
              <a:gd name="connsiteY24" fmla="*/ 617267 h 1161397"/>
              <a:gd name="connsiteX25" fmla="*/ 1449644 w 6884912"/>
              <a:gd name="connsiteY25" fmla="*/ 617591 h 1161397"/>
              <a:gd name="connsiteX26" fmla="*/ 1455793 w 6884912"/>
              <a:gd name="connsiteY26" fmla="*/ 623174 h 1161397"/>
              <a:gd name="connsiteX27" fmla="*/ 1480758 w 6884912"/>
              <a:gd name="connsiteY27" fmla="*/ 620863 h 1161397"/>
              <a:gd name="connsiteX28" fmla="*/ 1483154 w 6884912"/>
              <a:gd name="connsiteY28" fmla="*/ 618527 h 1161397"/>
              <a:gd name="connsiteX29" fmla="*/ 1505495 w 6884912"/>
              <a:gd name="connsiteY29" fmla="*/ 624325 h 1161397"/>
              <a:gd name="connsiteX30" fmla="*/ 1526340 w 6884912"/>
              <a:gd name="connsiteY30" fmla="*/ 638496 h 1161397"/>
              <a:gd name="connsiteX31" fmla="*/ 1731986 w 6884912"/>
              <a:gd name="connsiteY31" fmla="*/ 589682 h 1161397"/>
              <a:gd name="connsiteX32" fmla="*/ 1927935 w 6884912"/>
              <a:gd name="connsiteY32" fmla="*/ 628540 h 1161397"/>
              <a:gd name="connsiteX33" fmla="*/ 2039075 w 6884912"/>
              <a:gd name="connsiteY33" fmla="*/ 599964 h 1161397"/>
              <a:gd name="connsiteX34" fmla="*/ 2066980 w 6884912"/>
              <a:gd name="connsiteY34" fmla="*/ 550413 h 1161397"/>
              <a:gd name="connsiteX35" fmla="*/ 2352236 w 6884912"/>
              <a:gd name="connsiteY35" fmla="*/ 519602 h 1161397"/>
              <a:gd name="connsiteX36" fmla="*/ 2420791 w 6884912"/>
              <a:gd name="connsiteY36" fmla="*/ 492826 h 1161397"/>
              <a:gd name="connsiteX37" fmla="*/ 2489932 w 6884912"/>
              <a:gd name="connsiteY37" fmla="*/ 507864 h 1161397"/>
              <a:gd name="connsiteX38" fmla="*/ 2512917 w 6884912"/>
              <a:gd name="connsiteY38" fmla="*/ 489127 h 1161397"/>
              <a:gd name="connsiteX39" fmla="*/ 2516783 w 6884912"/>
              <a:gd name="connsiteY39" fmla="*/ 485473 h 1161397"/>
              <a:gd name="connsiteX40" fmla="*/ 2534360 w 6884912"/>
              <a:gd name="connsiteY40" fmla="*/ 480064 h 1161397"/>
              <a:gd name="connsiteX41" fmla="*/ 2536691 w 6884912"/>
              <a:gd name="connsiteY41" fmla="*/ 467018 h 1161397"/>
              <a:gd name="connsiteX42" fmla="*/ 2561265 w 6884912"/>
              <a:gd name="connsiteY42" fmla="*/ 450623 h 1161397"/>
              <a:gd name="connsiteX43" fmla="*/ 2594349 w 6884912"/>
              <a:gd name="connsiteY43" fmla="*/ 443884 h 1161397"/>
              <a:gd name="connsiteX44" fmla="*/ 2754324 w 6884912"/>
              <a:gd name="connsiteY44" fmla="*/ 424766 h 1161397"/>
              <a:gd name="connsiteX45" fmla="*/ 2848470 w 6884912"/>
              <a:gd name="connsiteY45" fmla="*/ 405966 h 1161397"/>
              <a:gd name="connsiteX46" fmla="*/ 2881772 w 6884912"/>
              <a:gd name="connsiteY46" fmla="*/ 387260 h 1161397"/>
              <a:gd name="connsiteX47" fmla="*/ 2929932 w 6884912"/>
              <a:gd name="connsiteY47" fmla="*/ 368912 h 1161397"/>
              <a:gd name="connsiteX48" fmla="*/ 3013020 w 6884912"/>
              <a:gd name="connsiteY48" fmla="*/ 327578 h 1161397"/>
              <a:gd name="connsiteX49" fmla="*/ 3222191 w 6884912"/>
              <a:gd name="connsiteY49" fmla="*/ 307887 h 1161397"/>
              <a:gd name="connsiteX50" fmla="*/ 3227953 w 6884912"/>
              <a:gd name="connsiteY50" fmla="*/ 297650 h 1161397"/>
              <a:gd name="connsiteX51" fmla="*/ 3510042 w 6884912"/>
              <a:gd name="connsiteY51" fmla="*/ 311820 h 1161397"/>
              <a:gd name="connsiteX52" fmla="*/ 3626773 w 6884912"/>
              <a:gd name="connsiteY52" fmla="*/ 290452 h 1161397"/>
              <a:gd name="connsiteX53" fmla="*/ 3666217 w 6884912"/>
              <a:gd name="connsiteY53" fmla="*/ 273255 h 1161397"/>
              <a:gd name="connsiteX54" fmla="*/ 3732427 w 6884912"/>
              <a:gd name="connsiteY54" fmla="*/ 245039 h 1161397"/>
              <a:gd name="connsiteX55" fmla="*/ 3777022 w 6884912"/>
              <a:gd name="connsiteY55" fmla="*/ 200276 h 1161397"/>
              <a:gd name="connsiteX56" fmla="*/ 3791246 w 6884912"/>
              <a:gd name="connsiteY56" fmla="*/ 189996 h 1161397"/>
              <a:gd name="connsiteX57" fmla="*/ 3819864 w 6884912"/>
              <a:gd name="connsiteY57" fmla="*/ 194605 h 1161397"/>
              <a:gd name="connsiteX58" fmla="*/ 3830398 w 6884912"/>
              <a:gd name="connsiteY58" fmla="*/ 188383 h 1161397"/>
              <a:gd name="connsiteX59" fmla="*/ 3834360 w 6884912"/>
              <a:gd name="connsiteY59" fmla="*/ 188992 h 1161397"/>
              <a:gd name="connsiteX60" fmla="*/ 3843715 w 6884912"/>
              <a:gd name="connsiteY60" fmla="*/ 188752 h 1161397"/>
              <a:gd name="connsiteX61" fmla="*/ 3842609 w 6884912"/>
              <a:gd name="connsiteY61" fmla="*/ 197386 h 1161397"/>
              <a:gd name="connsiteX62" fmla="*/ 3853961 w 6884912"/>
              <a:gd name="connsiteY62" fmla="*/ 213380 h 1161397"/>
              <a:gd name="connsiteX63" fmla="*/ 3907640 w 6884912"/>
              <a:gd name="connsiteY63" fmla="*/ 207568 h 1161397"/>
              <a:gd name="connsiteX64" fmla="*/ 3910449 w 6884912"/>
              <a:gd name="connsiteY64" fmla="*/ 197808 h 1161397"/>
              <a:gd name="connsiteX65" fmla="*/ 3917197 w 6884912"/>
              <a:gd name="connsiteY65" fmla="*/ 196121 h 1161397"/>
              <a:gd name="connsiteX66" fmla="*/ 3922400 w 6884912"/>
              <a:gd name="connsiteY66" fmla="*/ 205056 h 1161397"/>
              <a:gd name="connsiteX67" fmla="*/ 4013061 w 6884912"/>
              <a:gd name="connsiteY67" fmla="*/ 224874 h 1161397"/>
              <a:gd name="connsiteX68" fmla="*/ 4220717 w 6884912"/>
              <a:gd name="connsiteY68" fmla="*/ 192946 h 1161397"/>
              <a:gd name="connsiteX69" fmla="*/ 4228802 w 6884912"/>
              <a:gd name="connsiteY69" fmla="*/ 201468 h 1161397"/>
              <a:gd name="connsiteX70" fmla="*/ 4289361 w 6884912"/>
              <a:gd name="connsiteY70" fmla="*/ 196642 h 1161397"/>
              <a:gd name="connsiteX71" fmla="*/ 4498913 w 6884912"/>
              <a:gd name="connsiteY71" fmla="*/ 118915 h 1161397"/>
              <a:gd name="connsiteX72" fmla="*/ 4617330 w 6884912"/>
              <a:gd name="connsiteY72" fmla="*/ 111163 h 1161397"/>
              <a:gd name="connsiteX73" fmla="*/ 4659778 w 6884912"/>
              <a:gd name="connsiteY73" fmla="*/ 118219 h 1161397"/>
              <a:gd name="connsiteX74" fmla="*/ 4730870 w 6884912"/>
              <a:gd name="connsiteY74" fmla="*/ 129432 h 1161397"/>
              <a:gd name="connsiteX75" fmla="*/ 4844073 w 6884912"/>
              <a:gd name="connsiteY75" fmla="*/ 161768 h 1161397"/>
              <a:gd name="connsiteX76" fmla="*/ 4856454 w 6884912"/>
              <a:gd name="connsiteY76" fmla="*/ 130488 h 1161397"/>
              <a:gd name="connsiteX77" fmla="*/ 4920038 w 6884912"/>
              <a:gd name="connsiteY77" fmla="*/ 140418 h 1161397"/>
              <a:gd name="connsiteX78" fmla="*/ 5016639 w 6884912"/>
              <a:gd name="connsiteY78" fmla="*/ 158905 h 1161397"/>
              <a:gd name="connsiteX79" fmla="*/ 5072009 w 6884912"/>
              <a:gd name="connsiteY79" fmla="*/ 161502 h 1161397"/>
              <a:gd name="connsiteX80" fmla="*/ 5223626 w 6884912"/>
              <a:gd name="connsiteY80" fmla="*/ 177356 h 1161397"/>
              <a:gd name="connsiteX81" fmla="*/ 5375773 w 6884912"/>
              <a:gd name="connsiteY81" fmla="*/ 199913 h 1161397"/>
              <a:gd name="connsiteX82" fmla="*/ 5467502 w 6884912"/>
              <a:gd name="connsiteY82" fmla="*/ 250963 h 1161397"/>
              <a:gd name="connsiteX83" fmla="*/ 5592395 w 6884912"/>
              <a:gd name="connsiteY83" fmla="*/ 265434 h 1161397"/>
              <a:gd name="connsiteX84" fmla="*/ 5613532 w 6884912"/>
              <a:gd name="connsiteY84" fmla="*/ 273379 h 1161397"/>
              <a:gd name="connsiteX85" fmla="*/ 5642173 w 6884912"/>
              <a:gd name="connsiteY85" fmla="*/ 266904 h 1161397"/>
              <a:gd name="connsiteX86" fmla="*/ 5756910 w 6884912"/>
              <a:gd name="connsiteY86" fmla="*/ 239211 h 1161397"/>
              <a:gd name="connsiteX87" fmla="*/ 5846667 w 6884912"/>
              <a:gd name="connsiteY87" fmla="*/ 201786 h 1161397"/>
              <a:gd name="connsiteX88" fmla="*/ 5960732 w 6884912"/>
              <a:gd name="connsiteY88" fmla="*/ 220708 h 1161397"/>
              <a:gd name="connsiteX89" fmla="*/ 6029542 w 6884912"/>
              <a:gd name="connsiteY89" fmla="*/ 210339 h 1161397"/>
              <a:gd name="connsiteX90" fmla="*/ 6141123 w 6884912"/>
              <a:gd name="connsiteY90" fmla="*/ 159923 h 1161397"/>
              <a:gd name="connsiteX91" fmla="*/ 6290640 w 6884912"/>
              <a:gd name="connsiteY91" fmla="*/ 167441 h 1161397"/>
              <a:gd name="connsiteX92" fmla="*/ 6322806 w 6884912"/>
              <a:gd name="connsiteY92" fmla="*/ 213293 h 1161397"/>
              <a:gd name="connsiteX93" fmla="*/ 6380420 w 6884912"/>
              <a:gd name="connsiteY93" fmla="*/ 173195 h 1161397"/>
              <a:gd name="connsiteX94" fmla="*/ 6507891 w 6884912"/>
              <a:gd name="connsiteY94" fmla="*/ 118474 h 1161397"/>
              <a:gd name="connsiteX95" fmla="*/ 6571807 w 6884912"/>
              <a:gd name="connsiteY95" fmla="*/ 98636 h 1161397"/>
              <a:gd name="connsiteX96" fmla="*/ 6671880 w 6884912"/>
              <a:gd name="connsiteY96" fmla="*/ 82931 h 1161397"/>
              <a:gd name="connsiteX97" fmla="*/ 6702266 w 6884912"/>
              <a:gd name="connsiteY97" fmla="*/ 75470 h 1161397"/>
              <a:gd name="connsiteX98" fmla="*/ 6845802 w 6884912"/>
              <a:gd name="connsiteY98" fmla="*/ 24496 h 1161397"/>
              <a:gd name="connsiteX99" fmla="*/ 6884912 w 6884912"/>
              <a:gd name="connsiteY99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178135 w 6884912"/>
              <a:gd name="connsiteY15" fmla="*/ 698631 h 1161397"/>
              <a:gd name="connsiteX16" fmla="*/ 1242716 w 6884912"/>
              <a:gd name="connsiteY16" fmla="*/ 698052 h 1161397"/>
              <a:gd name="connsiteX17" fmla="*/ 1299977 w 6884912"/>
              <a:gd name="connsiteY17" fmla="*/ 639196 h 1161397"/>
              <a:gd name="connsiteX18" fmla="*/ 1326190 w 6884912"/>
              <a:gd name="connsiteY18" fmla="*/ 625955 h 1161397"/>
              <a:gd name="connsiteX19" fmla="*/ 1339600 w 6884912"/>
              <a:gd name="connsiteY19" fmla="*/ 616295 h 1161397"/>
              <a:gd name="connsiteX20" fmla="*/ 1340054 w 6884912"/>
              <a:gd name="connsiteY20" fmla="*/ 614022 h 1161397"/>
              <a:gd name="connsiteX21" fmla="*/ 1391606 w 6884912"/>
              <a:gd name="connsiteY21" fmla="*/ 615229 h 1161397"/>
              <a:gd name="connsiteX22" fmla="*/ 1397565 w 6884912"/>
              <a:gd name="connsiteY22" fmla="*/ 611490 h 1161397"/>
              <a:gd name="connsiteX23" fmla="*/ 1432302 w 6884912"/>
              <a:gd name="connsiteY23" fmla="*/ 617267 h 1161397"/>
              <a:gd name="connsiteX24" fmla="*/ 1449644 w 6884912"/>
              <a:gd name="connsiteY24" fmla="*/ 617591 h 1161397"/>
              <a:gd name="connsiteX25" fmla="*/ 1455793 w 6884912"/>
              <a:gd name="connsiteY25" fmla="*/ 623174 h 1161397"/>
              <a:gd name="connsiteX26" fmla="*/ 1480758 w 6884912"/>
              <a:gd name="connsiteY26" fmla="*/ 620863 h 1161397"/>
              <a:gd name="connsiteX27" fmla="*/ 1483154 w 6884912"/>
              <a:gd name="connsiteY27" fmla="*/ 618527 h 1161397"/>
              <a:gd name="connsiteX28" fmla="*/ 1505495 w 6884912"/>
              <a:gd name="connsiteY28" fmla="*/ 624325 h 1161397"/>
              <a:gd name="connsiteX29" fmla="*/ 1526340 w 6884912"/>
              <a:gd name="connsiteY29" fmla="*/ 638496 h 1161397"/>
              <a:gd name="connsiteX30" fmla="*/ 1731986 w 6884912"/>
              <a:gd name="connsiteY30" fmla="*/ 589682 h 1161397"/>
              <a:gd name="connsiteX31" fmla="*/ 1927935 w 6884912"/>
              <a:gd name="connsiteY31" fmla="*/ 628540 h 1161397"/>
              <a:gd name="connsiteX32" fmla="*/ 2039075 w 6884912"/>
              <a:gd name="connsiteY32" fmla="*/ 599964 h 1161397"/>
              <a:gd name="connsiteX33" fmla="*/ 2066980 w 6884912"/>
              <a:gd name="connsiteY33" fmla="*/ 550413 h 1161397"/>
              <a:gd name="connsiteX34" fmla="*/ 2352236 w 6884912"/>
              <a:gd name="connsiteY34" fmla="*/ 519602 h 1161397"/>
              <a:gd name="connsiteX35" fmla="*/ 2420791 w 6884912"/>
              <a:gd name="connsiteY35" fmla="*/ 492826 h 1161397"/>
              <a:gd name="connsiteX36" fmla="*/ 2489932 w 6884912"/>
              <a:gd name="connsiteY36" fmla="*/ 507864 h 1161397"/>
              <a:gd name="connsiteX37" fmla="*/ 2512917 w 6884912"/>
              <a:gd name="connsiteY37" fmla="*/ 489127 h 1161397"/>
              <a:gd name="connsiteX38" fmla="*/ 2516783 w 6884912"/>
              <a:gd name="connsiteY38" fmla="*/ 485473 h 1161397"/>
              <a:gd name="connsiteX39" fmla="*/ 2534360 w 6884912"/>
              <a:gd name="connsiteY39" fmla="*/ 480064 h 1161397"/>
              <a:gd name="connsiteX40" fmla="*/ 2536691 w 6884912"/>
              <a:gd name="connsiteY40" fmla="*/ 467018 h 1161397"/>
              <a:gd name="connsiteX41" fmla="*/ 2561265 w 6884912"/>
              <a:gd name="connsiteY41" fmla="*/ 450623 h 1161397"/>
              <a:gd name="connsiteX42" fmla="*/ 2594349 w 6884912"/>
              <a:gd name="connsiteY42" fmla="*/ 443884 h 1161397"/>
              <a:gd name="connsiteX43" fmla="*/ 2754324 w 6884912"/>
              <a:gd name="connsiteY43" fmla="*/ 424766 h 1161397"/>
              <a:gd name="connsiteX44" fmla="*/ 2848470 w 6884912"/>
              <a:gd name="connsiteY44" fmla="*/ 405966 h 1161397"/>
              <a:gd name="connsiteX45" fmla="*/ 2881772 w 6884912"/>
              <a:gd name="connsiteY45" fmla="*/ 387260 h 1161397"/>
              <a:gd name="connsiteX46" fmla="*/ 2929932 w 6884912"/>
              <a:gd name="connsiteY46" fmla="*/ 368912 h 1161397"/>
              <a:gd name="connsiteX47" fmla="*/ 3013020 w 6884912"/>
              <a:gd name="connsiteY47" fmla="*/ 327578 h 1161397"/>
              <a:gd name="connsiteX48" fmla="*/ 3222191 w 6884912"/>
              <a:gd name="connsiteY48" fmla="*/ 307887 h 1161397"/>
              <a:gd name="connsiteX49" fmla="*/ 3227953 w 6884912"/>
              <a:gd name="connsiteY49" fmla="*/ 297650 h 1161397"/>
              <a:gd name="connsiteX50" fmla="*/ 3510042 w 6884912"/>
              <a:gd name="connsiteY50" fmla="*/ 311820 h 1161397"/>
              <a:gd name="connsiteX51" fmla="*/ 3626773 w 6884912"/>
              <a:gd name="connsiteY51" fmla="*/ 290452 h 1161397"/>
              <a:gd name="connsiteX52" fmla="*/ 3666217 w 6884912"/>
              <a:gd name="connsiteY52" fmla="*/ 273255 h 1161397"/>
              <a:gd name="connsiteX53" fmla="*/ 3732427 w 6884912"/>
              <a:gd name="connsiteY53" fmla="*/ 245039 h 1161397"/>
              <a:gd name="connsiteX54" fmla="*/ 3777022 w 6884912"/>
              <a:gd name="connsiteY54" fmla="*/ 200276 h 1161397"/>
              <a:gd name="connsiteX55" fmla="*/ 3791246 w 6884912"/>
              <a:gd name="connsiteY55" fmla="*/ 189996 h 1161397"/>
              <a:gd name="connsiteX56" fmla="*/ 3819864 w 6884912"/>
              <a:gd name="connsiteY56" fmla="*/ 194605 h 1161397"/>
              <a:gd name="connsiteX57" fmla="*/ 3830398 w 6884912"/>
              <a:gd name="connsiteY57" fmla="*/ 188383 h 1161397"/>
              <a:gd name="connsiteX58" fmla="*/ 3834360 w 6884912"/>
              <a:gd name="connsiteY58" fmla="*/ 188992 h 1161397"/>
              <a:gd name="connsiteX59" fmla="*/ 3843715 w 6884912"/>
              <a:gd name="connsiteY59" fmla="*/ 188752 h 1161397"/>
              <a:gd name="connsiteX60" fmla="*/ 3842609 w 6884912"/>
              <a:gd name="connsiteY60" fmla="*/ 197386 h 1161397"/>
              <a:gd name="connsiteX61" fmla="*/ 3853961 w 6884912"/>
              <a:gd name="connsiteY61" fmla="*/ 213380 h 1161397"/>
              <a:gd name="connsiteX62" fmla="*/ 3907640 w 6884912"/>
              <a:gd name="connsiteY62" fmla="*/ 207568 h 1161397"/>
              <a:gd name="connsiteX63" fmla="*/ 3910449 w 6884912"/>
              <a:gd name="connsiteY63" fmla="*/ 197808 h 1161397"/>
              <a:gd name="connsiteX64" fmla="*/ 3917197 w 6884912"/>
              <a:gd name="connsiteY64" fmla="*/ 196121 h 1161397"/>
              <a:gd name="connsiteX65" fmla="*/ 3922400 w 6884912"/>
              <a:gd name="connsiteY65" fmla="*/ 205056 h 1161397"/>
              <a:gd name="connsiteX66" fmla="*/ 4013061 w 6884912"/>
              <a:gd name="connsiteY66" fmla="*/ 224874 h 1161397"/>
              <a:gd name="connsiteX67" fmla="*/ 4220717 w 6884912"/>
              <a:gd name="connsiteY67" fmla="*/ 192946 h 1161397"/>
              <a:gd name="connsiteX68" fmla="*/ 4228802 w 6884912"/>
              <a:gd name="connsiteY68" fmla="*/ 201468 h 1161397"/>
              <a:gd name="connsiteX69" fmla="*/ 4289361 w 6884912"/>
              <a:gd name="connsiteY69" fmla="*/ 196642 h 1161397"/>
              <a:gd name="connsiteX70" fmla="*/ 4498913 w 6884912"/>
              <a:gd name="connsiteY70" fmla="*/ 118915 h 1161397"/>
              <a:gd name="connsiteX71" fmla="*/ 4617330 w 6884912"/>
              <a:gd name="connsiteY71" fmla="*/ 111163 h 1161397"/>
              <a:gd name="connsiteX72" fmla="*/ 4659778 w 6884912"/>
              <a:gd name="connsiteY72" fmla="*/ 118219 h 1161397"/>
              <a:gd name="connsiteX73" fmla="*/ 4730870 w 6884912"/>
              <a:gd name="connsiteY73" fmla="*/ 129432 h 1161397"/>
              <a:gd name="connsiteX74" fmla="*/ 4844073 w 6884912"/>
              <a:gd name="connsiteY74" fmla="*/ 161768 h 1161397"/>
              <a:gd name="connsiteX75" fmla="*/ 4856454 w 6884912"/>
              <a:gd name="connsiteY75" fmla="*/ 130488 h 1161397"/>
              <a:gd name="connsiteX76" fmla="*/ 4920038 w 6884912"/>
              <a:gd name="connsiteY76" fmla="*/ 140418 h 1161397"/>
              <a:gd name="connsiteX77" fmla="*/ 5016639 w 6884912"/>
              <a:gd name="connsiteY77" fmla="*/ 158905 h 1161397"/>
              <a:gd name="connsiteX78" fmla="*/ 5072009 w 6884912"/>
              <a:gd name="connsiteY78" fmla="*/ 161502 h 1161397"/>
              <a:gd name="connsiteX79" fmla="*/ 5223626 w 6884912"/>
              <a:gd name="connsiteY79" fmla="*/ 177356 h 1161397"/>
              <a:gd name="connsiteX80" fmla="*/ 5375773 w 6884912"/>
              <a:gd name="connsiteY80" fmla="*/ 199913 h 1161397"/>
              <a:gd name="connsiteX81" fmla="*/ 5467502 w 6884912"/>
              <a:gd name="connsiteY81" fmla="*/ 250963 h 1161397"/>
              <a:gd name="connsiteX82" fmla="*/ 5592395 w 6884912"/>
              <a:gd name="connsiteY82" fmla="*/ 265434 h 1161397"/>
              <a:gd name="connsiteX83" fmla="*/ 5613532 w 6884912"/>
              <a:gd name="connsiteY83" fmla="*/ 273379 h 1161397"/>
              <a:gd name="connsiteX84" fmla="*/ 5642173 w 6884912"/>
              <a:gd name="connsiteY84" fmla="*/ 266904 h 1161397"/>
              <a:gd name="connsiteX85" fmla="*/ 5756910 w 6884912"/>
              <a:gd name="connsiteY85" fmla="*/ 239211 h 1161397"/>
              <a:gd name="connsiteX86" fmla="*/ 5846667 w 6884912"/>
              <a:gd name="connsiteY86" fmla="*/ 201786 h 1161397"/>
              <a:gd name="connsiteX87" fmla="*/ 5960732 w 6884912"/>
              <a:gd name="connsiteY87" fmla="*/ 220708 h 1161397"/>
              <a:gd name="connsiteX88" fmla="*/ 6029542 w 6884912"/>
              <a:gd name="connsiteY88" fmla="*/ 210339 h 1161397"/>
              <a:gd name="connsiteX89" fmla="*/ 6141123 w 6884912"/>
              <a:gd name="connsiteY89" fmla="*/ 159923 h 1161397"/>
              <a:gd name="connsiteX90" fmla="*/ 6290640 w 6884912"/>
              <a:gd name="connsiteY90" fmla="*/ 167441 h 1161397"/>
              <a:gd name="connsiteX91" fmla="*/ 6322806 w 6884912"/>
              <a:gd name="connsiteY91" fmla="*/ 213293 h 1161397"/>
              <a:gd name="connsiteX92" fmla="*/ 6380420 w 6884912"/>
              <a:gd name="connsiteY92" fmla="*/ 173195 h 1161397"/>
              <a:gd name="connsiteX93" fmla="*/ 6507891 w 6884912"/>
              <a:gd name="connsiteY93" fmla="*/ 118474 h 1161397"/>
              <a:gd name="connsiteX94" fmla="*/ 6571807 w 6884912"/>
              <a:gd name="connsiteY94" fmla="*/ 98636 h 1161397"/>
              <a:gd name="connsiteX95" fmla="*/ 6671880 w 6884912"/>
              <a:gd name="connsiteY95" fmla="*/ 82931 h 1161397"/>
              <a:gd name="connsiteX96" fmla="*/ 6702266 w 6884912"/>
              <a:gd name="connsiteY96" fmla="*/ 75470 h 1161397"/>
              <a:gd name="connsiteX97" fmla="*/ 6845802 w 6884912"/>
              <a:gd name="connsiteY97" fmla="*/ 24496 h 1161397"/>
              <a:gd name="connsiteX98" fmla="*/ 6884912 w 6884912"/>
              <a:gd name="connsiteY98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1224 w 6884912"/>
              <a:gd name="connsiteY14" fmla="*/ 706160 h 1161397"/>
              <a:gd name="connsiteX15" fmla="*/ 1207847 w 6884912"/>
              <a:gd name="connsiteY15" fmla="*/ 689087 h 1161397"/>
              <a:gd name="connsiteX16" fmla="*/ 1242716 w 6884912"/>
              <a:gd name="connsiteY16" fmla="*/ 698052 h 1161397"/>
              <a:gd name="connsiteX17" fmla="*/ 1299977 w 6884912"/>
              <a:gd name="connsiteY17" fmla="*/ 639196 h 1161397"/>
              <a:gd name="connsiteX18" fmla="*/ 1326190 w 6884912"/>
              <a:gd name="connsiteY18" fmla="*/ 625955 h 1161397"/>
              <a:gd name="connsiteX19" fmla="*/ 1339600 w 6884912"/>
              <a:gd name="connsiteY19" fmla="*/ 616295 h 1161397"/>
              <a:gd name="connsiteX20" fmla="*/ 1340054 w 6884912"/>
              <a:gd name="connsiteY20" fmla="*/ 614022 h 1161397"/>
              <a:gd name="connsiteX21" fmla="*/ 1391606 w 6884912"/>
              <a:gd name="connsiteY21" fmla="*/ 615229 h 1161397"/>
              <a:gd name="connsiteX22" fmla="*/ 1397565 w 6884912"/>
              <a:gd name="connsiteY22" fmla="*/ 611490 h 1161397"/>
              <a:gd name="connsiteX23" fmla="*/ 1432302 w 6884912"/>
              <a:gd name="connsiteY23" fmla="*/ 617267 h 1161397"/>
              <a:gd name="connsiteX24" fmla="*/ 1449644 w 6884912"/>
              <a:gd name="connsiteY24" fmla="*/ 617591 h 1161397"/>
              <a:gd name="connsiteX25" fmla="*/ 1455793 w 6884912"/>
              <a:gd name="connsiteY25" fmla="*/ 623174 h 1161397"/>
              <a:gd name="connsiteX26" fmla="*/ 1480758 w 6884912"/>
              <a:gd name="connsiteY26" fmla="*/ 620863 h 1161397"/>
              <a:gd name="connsiteX27" fmla="*/ 1483154 w 6884912"/>
              <a:gd name="connsiteY27" fmla="*/ 618527 h 1161397"/>
              <a:gd name="connsiteX28" fmla="*/ 1505495 w 6884912"/>
              <a:gd name="connsiteY28" fmla="*/ 624325 h 1161397"/>
              <a:gd name="connsiteX29" fmla="*/ 1526340 w 6884912"/>
              <a:gd name="connsiteY29" fmla="*/ 638496 h 1161397"/>
              <a:gd name="connsiteX30" fmla="*/ 1731986 w 6884912"/>
              <a:gd name="connsiteY30" fmla="*/ 589682 h 1161397"/>
              <a:gd name="connsiteX31" fmla="*/ 1927935 w 6884912"/>
              <a:gd name="connsiteY31" fmla="*/ 628540 h 1161397"/>
              <a:gd name="connsiteX32" fmla="*/ 2039075 w 6884912"/>
              <a:gd name="connsiteY32" fmla="*/ 599964 h 1161397"/>
              <a:gd name="connsiteX33" fmla="*/ 2066980 w 6884912"/>
              <a:gd name="connsiteY33" fmla="*/ 550413 h 1161397"/>
              <a:gd name="connsiteX34" fmla="*/ 2352236 w 6884912"/>
              <a:gd name="connsiteY34" fmla="*/ 519602 h 1161397"/>
              <a:gd name="connsiteX35" fmla="*/ 2420791 w 6884912"/>
              <a:gd name="connsiteY35" fmla="*/ 492826 h 1161397"/>
              <a:gd name="connsiteX36" fmla="*/ 2489932 w 6884912"/>
              <a:gd name="connsiteY36" fmla="*/ 507864 h 1161397"/>
              <a:gd name="connsiteX37" fmla="*/ 2512917 w 6884912"/>
              <a:gd name="connsiteY37" fmla="*/ 489127 h 1161397"/>
              <a:gd name="connsiteX38" fmla="*/ 2516783 w 6884912"/>
              <a:gd name="connsiteY38" fmla="*/ 485473 h 1161397"/>
              <a:gd name="connsiteX39" fmla="*/ 2534360 w 6884912"/>
              <a:gd name="connsiteY39" fmla="*/ 480064 h 1161397"/>
              <a:gd name="connsiteX40" fmla="*/ 2536691 w 6884912"/>
              <a:gd name="connsiteY40" fmla="*/ 467018 h 1161397"/>
              <a:gd name="connsiteX41" fmla="*/ 2561265 w 6884912"/>
              <a:gd name="connsiteY41" fmla="*/ 450623 h 1161397"/>
              <a:gd name="connsiteX42" fmla="*/ 2594349 w 6884912"/>
              <a:gd name="connsiteY42" fmla="*/ 443884 h 1161397"/>
              <a:gd name="connsiteX43" fmla="*/ 2754324 w 6884912"/>
              <a:gd name="connsiteY43" fmla="*/ 424766 h 1161397"/>
              <a:gd name="connsiteX44" fmla="*/ 2848470 w 6884912"/>
              <a:gd name="connsiteY44" fmla="*/ 405966 h 1161397"/>
              <a:gd name="connsiteX45" fmla="*/ 2881772 w 6884912"/>
              <a:gd name="connsiteY45" fmla="*/ 387260 h 1161397"/>
              <a:gd name="connsiteX46" fmla="*/ 2929932 w 6884912"/>
              <a:gd name="connsiteY46" fmla="*/ 368912 h 1161397"/>
              <a:gd name="connsiteX47" fmla="*/ 3013020 w 6884912"/>
              <a:gd name="connsiteY47" fmla="*/ 327578 h 1161397"/>
              <a:gd name="connsiteX48" fmla="*/ 3222191 w 6884912"/>
              <a:gd name="connsiteY48" fmla="*/ 307887 h 1161397"/>
              <a:gd name="connsiteX49" fmla="*/ 3227953 w 6884912"/>
              <a:gd name="connsiteY49" fmla="*/ 297650 h 1161397"/>
              <a:gd name="connsiteX50" fmla="*/ 3510042 w 6884912"/>
              <a:gd name="connsiteY50" fmla="*/ 311820 h 1161397"/>
              <a:gd name="connsiteX51" fmla="*/ 3626773 w 6884912"/>
              <a:gd name="connsiteY51" fmla="*/ 290452 h 1161397"/>
              <a:gd name="connsiteX52" fmla="*/ 3666217 w 6884912"/>
              <a:gd name="connsiteY52" fmla="*/ 273255 h 1161397"/>
              <a:gd name="connsiteX53" fmla="*/ 3732427 w 6884912"/>
              <a:gd name="connsiteY53" fmla="*/ 245039 h 1161397"/>
              <a:gd name="connsiteX54" fmla="*/ 3777022 w 6884912"/>
              <a:gd name="connsiteY54" fmla="*/ 200276 h 1161397"/>
              <a:gd name="connsiteX55" fmla="*/ 3791246 w 6884912"/>
              <a:gd name="connsiteY55" fmla="*/ 189996 h 1161397"/>
              <a:gd name="connsiteX56" fmla="*/ 3819864 w 6884912"/>
              <a:gd name="connsiteY56" fmla="*/ 194605 h 1161397"/>
              <a:gd name="connsiteX57" fmla="*/ 3830398 w 6884912"/>
              <a:gd name="connsiteY57" fmla="*/ 188383 h 1161397"/>
              <a:gd name="connsiteX58" fmla="*/ 3834360 w 6884912"/>
              <a:gd name="connsiteY58" fmla="*/ 188992 h 1161397"/>
              <a:gd name="connsiteX59" fmla="*/ 3843715 w 6884912"/>
              <a:gd name="connsiteY59" fmla="*/ 188752 h 1161397"/>
              <a:gd name="connsiteX60" fmla="*/ 3842609 w 6884912"/>
              <a:gd name="connsiteY60" fmla="*/ 197386 h 1161397"/>
              <a:gd name="connsiteX61" fmla="*/ 3853961 w 6884912"/>
              <a:gd name="connsiteY61" fmla="*/ 213380 h 1161397"/>
              <a:gd name="connsiteX62" fmla="*/ 3907640 w 6884912"/>
              <a:gd name="connsiteY62" fmla="*/ 207568 h 1161397"/>
              <a:gd name="connsiteX63" fmla="*/ 3910449 w 6884912"/>
              <a:gd name="connsiteY63" fmla="*/ 197808 h 1161397"/>
              <a:gd name="connsiteX64" fmla="*/ 3917197 w 6884912"/>
              <a:gd name="connsiteY64" fmla="*/ 196121 h 1161397"/>
              <a:gd name="connsiteX65" fmla="*/ 3922400 w 6884912"/>
              <a:gd name="connsiteY65" fmla="*/ 205056 h 1161397"/>
              <a:gd name="connsiteX66" fmla="*/ 4013061 w 6884912"/>
              <a:gd name="connsiteY66" fmla="*/ 224874 h 1161397"/>
              <a:gd name="connsiteX67" fmla="*/ 4220717 w 6884912"/>
              <a:gd name="connsiteY67" fmla="*/ 192946 h 1161397"/>
              <a:gd name="connsiteX68" fmla="*/ 4228802 w 6884912"/>
              <a:gd name="connsiteY68" fmla="*/ 201468 h 1161397"/>
              <a:gd name="connsiteX69" fmla="*/ 4289361 w 6884912"/>
              <a:gd name="connsiteY69" fmla="*/ 196642 h 1161397"/>
              <a:gd name="connsiteX70" fmla="*/ 4498913 w 6884912"/>
              <a:gd name="connsiteY70" fmla="*/ 118915 h 1161397"/>
              <a:gd name="connsiteX71" fmla="*/ 4617330 w 6884912"/>
              <a:gd name="connsiteY71" fmla="*/ 111163 h 1161397"/>
              <a:gd name="connsiteX72" fmla="*/ 4659778 w 6884912"/>
              <a:gd name="connsiteY72" fmla="*/ 118219 h 1161397"/>
              <a:gd name="connsiteX73" fmla="*/ 4730870 w 6884912"/>
              <a:gd name="connsiteY73" fmla="*/ 129432 h 1161397"/>
              <a:gd name="connsiteX74" fmla="*/ 4844073 w 6884912"/>
              <a:gd name="connsiteY74" fmla="*/ 161768 h 1161397"/>
              <a:gd name="connsiteX75" fmla="*/ 4856454 w 6884912"/>
              <a:gd name="connsiteY75" fmla="*/ 130488 h 1161397"/>
              <a:gd name="connsiteX76" fmla="*/ 4920038 w 6884912"/>
              <a:gd name="connsiteY76" fmla="*/ 140418 h 1161397"/>
              <a:gd name="connsiteX77" fmla="*/ 5016639 w 6884912"/>
              <a:gd name="connsiteY77" fmla="*/ 158905 h 1161397"/>
              <a:gd name="connsiteX78" fmla="*/ 5072009 w 6884912"/>
              <a:gd name="connsiteY78" fmla="*/ 161502 h 1161397"/>
              <a:gd name="connsiteX79" fmla="*/ 5223626 w 6884912"/>
              <a:gd name="connsiteY79" fmla="*/ 177356 h 1161397"/>
              <a:gd name="connsiteX80" fmla="*/ 5375773 w 6884912"/>
              <a:gd name="connsiteY80" fmla="*/ 199913 h 1161397"/>
              <a:gd name="connsiteX81" fmla="*/ 5467502 w 6884912"/>
              <a:gd name="connsiteY81" fmla="*/ 250963 h 1161397"/>
              <a:gd name="connsiteX82" fmla="*/ 5592395 w 6884912"/>
              <a:gd name="connsiteY82" fmla="*/ 265434 h 1161397"/>
              <a:gd name="connsiteX83" fmla="*/ 5613532 w 6884912"/>
              <a:gd name="connsiteY83" fmla="*/ 273379 h 1161397"/>
              <a:gd name="connsiteX84" fmla="*/ 5642173 w 6884912"/>
              <a:gd name="connsiteY84" fmla="*/ 266904 h 1161397"/>
              <a:gd name="connsiteX85" fmla="*/ 5756910 w 6884912"/>
              <a:gd name="connsiteY85" fmla="*/ 239211 h 1161397"/>
              <a:gd name="connsiteX86" fmla="*/ 5846667 w 6884912"/>
              <a:gd name="connsiteY86" fmla="*/ 201786 h 1161397"/>
              <a:gd name="connsiteX87" fmla="*/ 5960732 w 6884912"/>
              <a:gd name="connsiteY87" fmla="*/ 220708 h 1161397"/>
              <a:gd name="connsiteX88" fmla="*/ 6029542 w 6884912"/>
              <a:gd name="connsiteY88" fmla="*/ 210339 h 1161397"/>
              <a:gd name="connsiteX89" fmla="*/ 6141123 w 6884912"/>
              <a:gd name="connsiteY89" fmla="*/ 159923 h 1161397"/>
              <a:gd name="connsiteX90" fmla="*/ 6290640 w 6884912"/>
              <a:gd name="connsiteY90" fmla="*/ 167441 h 1161397"/>
              <a:gd name="connsiteX91" fmla="*/ 6322806 w 6884912"/>
              <a:gd name="connsiteY91" fmla="*/ 213293 h 1161397"/>
              <a:gd name="connsiteX92" fmla="*/ 6380420 w 6884912"/>
              <a:gd name="connsiteY92" fmla="*/ 173195 h 1161397"/>
              <a:gd name="connsiteX93" fmla="*/ 6507891 w 6884912"/>
              <a:gd name="connsiteY93" fmla="*/ 118474 h 1161397"/>
              <a:gd name="connsiteX94" fmla="*/ 6571807 w 6884912"/>
              <a:gd name="connsiteY94" fmla="*/ 98636 h 1161397"/>
              <a:gd name="connsiteX95" fmla="*/ 6671880 w 6884912"/>
              <a:gd name="connsiteY95" fmla="*/ 82931 h 1161397"/>
              <a:gd name="connsiteX96" fmla="*/ 6702266 w 6884912"/>
              <a:gd name="connsiteY96" fmla="*/ 75470 h 1161397"/>
              <a:gd name="connsiteX97" fmla="*/ 6845802 w 6884912"/>
              <a:gd name="connsiteY97" fmla="*/ 24496 h 1161397"/>
              <a:gd name="connsiteX98" fmla="*/ 6884912 w 6884912"/>
              <a:gd name="connsiteY98" fmla="*/ 0 h 1161397"/>
              <a:gd name="connsiteX0" fmla="*/ 6884912 w 6884912"/>
              <a:gd name="connsiteY0" fmla="*/ 0 h 1161397"/>
              <a:gd name="connsiteX1" fmla="*/ 6884912 w 6884912"/>
              <a:gd name="connsiteY1" fmla="*/ 1161397 h 1161397"/>
              <a:gd name="connsiteX2" fmla="*/ 0 w 6884912"/>
              <a:gd name="connsiteY2" fmla="*/ 1161397 h 1161397"/>
              <a:gd name="connsiteX3" fmla="*/ 27135 w 6884912"/>
              <a:gd name="connsiteY3" fmla="*/ 1147460 h 1161397"/>
              <a:gd name="connsiteX4" fmla="*/ 115388 w 6884912"/>
              <a:gd name="connsiteY4" fmla="*/ 1111320 h 1161397"/>
              <a:gd name="connsiteX5" fmla="*/ 213420 w 6884912"/>
              <a:gd name="connsiteY5" fmla="*/ 1056868 h 1161397"/>
              <a:gd name="connsiteX6" fmla="*/ 454970 w 6884912"/>
              <a:gd name="connsiteY6" fmla="*/ 1023343 h 1161397"/>
              <a:gd name="connsiteX7" fmla="*/ 548162 w 6884912"/>
              <a:gd name="connsiteY7" fmla="*/ 984908 h 1161397"/>
              <a:gd name="connsiteX8" fmla="*/ 651408 w 6884912"/>
              <a:gd name="connsiteY8" fmla="*/ 984938 h 1161397"/>
              <a:gd name="connsiteX9" fmla="*/ 723108 w 6884912"/>
              <a:gd name="connsiteY9" fmla="*/ 941904 h 1161397"/>
              <a:gd name="connsiteX10" fmla="*/ 797699 w 6884912"/>
              <a:gd name="connsiteY10" fmla="*/ 931362 h 1161397"/>
              <a:gd name="connsiteX11" fmla="*/ 843359 w 6884912"/>
              <a:gd name="connsiteY11" fmla="*/ 910894 h 1161397"/>
              <a:gd name="connsiteX12" fmla="*/ 965215 w 6884912"/>
              <a:gd name="connsiteY12" fmla="*/ 846701 h 1161397"/>
              <a:gd name="connsiteX13" fmla="*/ 1085080 w 6884912"/>
              <a:gd name="connsiteY13" fmla="*/ 776086 h 1161397"/>
              <a:gd name="connsiteX14" fmla="*/ 1137166 w 6884912"/>
              <a:gd name="connsiteY14" fmla="*/ 744338 h 1161397"/>
              <a:gd name="connsiteX15" fmla="*/ 1207847 w 6884912"/>
              <a:gd name="connsiteY15" fmla="*/ 689087 h 1161397"/>
              <a:gd name="connsiteX16" fmla="*/ 1242716 w 6884912"/>
              <a:gd name="connsiteY16" fmla="*/ 698052 h 1161397"/>
              <a:gd name="connsiteX17" fmla="*/ 1299977 w 6884912"/>
              <a:gd name="connsiteY17" fmla="*/ 639196 h 1161397"/>
              <a:gd name="connsiteX18" fmla="*/ 1326190 w 6884912"/>
              <a:gd name="connsiteY18" fmla="*/ 625955 h 1161397"/>
              <a:gd name="connsiteX19" fmla="*/ 1339600 w 6884912"/>
              <a:gd name="connsiteY19" fmla="*/ 616295 h 1161397"/>
              <a:gd name="connsiteX20" fmla="*/ 1340054 w 6884912"/>
              <a:gd name="connsiteY20" fmla="*/ 614022 h 1161397"/>
              <a:gd name="connsiteX21" fmla="*/ 1391606 w 6884912"/>
              <a:gd name="connsiteY21" fmla="*/ 615229 h 1161397"/>
              <a:gd name="connsiteX22" fmla="*/ 1397565 w 6884912"/>
              <a:gd name="connsiteY22" fmla="*/ 611490 h 1161397"/>
              <a:gd name="connsiteX23" fmla="*/ 1432302 w 6884912"/>
              <a:gd name="connsiteY23" fmla="*/ 617267 h 1161397"/>
              <a:gd name="connsiteX24" fmla="*/ 1449644 w 6884912"/>
              <a:gd name="connsiteY24" fmla="*/ 617591 h 1161397"/>
              <a:gd name="connsiteX25" fmla="*/ 1455793 w 6884912"/>
              <a:gd name="connsiteY25" fmla="*/ 623174 h 1161397"/>
              <a:gd name="connsiteX26" fmla="*/ 1480758 w 6884912"/>
              <a:gd name="connsiteY26" fmla="*/ 620863 h 1161397"/>
              <a:gd name="connsiteX27" fmla="*/ 1483154 w 6884912"/>
              <a:gd name="connsiteY27" fmla="*/ 618527 h 1161397"/>
              <a:gd name="connsiteX28" fmla="*/ 1505495 w 6884912"/>
              <a:gd name="connsiteY28" fmla="*/ 624325 h 1161397"/>
              <a:gd name="connsiteX29" fmla="*/ 1526340 w 6884912"/>
              <a:gd name="connsiteY29" fmla="*/ 638496 h 1161397"/>
              <a:gd name="connsiteX30" fmla="*/ 1731986 w 6884912"/>
              <a:gd name="connsiteY30" fmla="*/ 589682 h 1161397"/>
              <a:gd name="connsiteX31" fmla="*/ 1927935 w 6884912"/>
              <a:gd name="connsiteY31" fmla="*/ 628540 h 1161397"/>
              <a:gd name="connsiteX32" fmla="*/ 2039075 w 6884912"/>
              <a:gd name="connsiteY32" fmla="*/ 599964 h 1161397"/>
              <a:gd name="connsiteX33" fmla="*/ 2066980 w 6884912"/>
              <a:gd name="connsiteY33" fmla="*/ 550413 h 1161397"/>
              <a:gd name="connsiteX34" fmla="*/ 2352236 w 6884912"/>
              <a:gd name="connsiteY34" fmla="*/ 519602 h 1161397"/>
              <a:gd name="connsiteX35" fmla="*/ 2420791 w 6884912"/>
              <a:gd name="connsiteY35" fmla="*/ 492826 h 1161397"/>
              <a:gd name="connsiteX36" fmla="*/ 2489932 w 6884912"/>
              <a:gd name="connsiteY36" fmla="*/ 507864 h 1161397"/>
              <a:gd name="connsiteX37" fmla="*/ 2512917 w 6884912"/>
              <a:gd name="connsiteY37" fmla="*/ 489127 h 1161397"/>
              <a:gd name="connsiteX38" fmla="*/ 2516783 w 6884912"/>
              <a:gd name="connsiteY38" fmla="*/ 485473 h 1161397"/>
              <a:gd name="connsiteX39" fmla="*/ 2534360 w 6884912"/>
              <a:gd name="connsiteY39" fmla="*/ 480064 h 1161397"/>
              <a:gd name="connsiteX40" fmla="*/ 2536691 w 6884912"/>
              <a:gd name="connsiteY40" fmla="*/ 467018 h 1161397"/>
              <a:gd name="connsiteX41" fmla="*/ 2561265 w 6884912"/>
              <a:gd name="connsiteY41" fmla="*/ 450623 h 1161397"/>
              <a:gd name="connsiteX42" fmla="*/ 2594349 w 6884912"/>
              <a:gd name="connsiteY42" fmla="*/ 443884 h 1161397"/>
              <a:gd name="connsiteX43" fmla="*/ 2754324 w 6884912"/>
              <a:gd name="connsiteY43" fmla="*/ 424766 h 1161397"/>
              <a:gd name="connsiteX44" fmla="*/ 2848470 w 6884912"/>
              <a:gd name="connsiteY44" fmla="*/ 405966 h 1161397"/>
              <a:gd name="connsiteX45" fmla="*/ 2881772 w 6884912"/>
              <a:gd name="connsiteY45" fmla="*/ 387260 h 1161397"/>
              <a:gd name="connsiteX46" fmla="*/ 2929932 w 6884912"/>
              <a:gd name="connsiteY46" fmla="*/ 368912 h 1161397"/>
              <a:gd name="connsiteX47" fmla="*/ 3013020 w 6884912"/>
              <a:gd name="connsiteY47" fmla="*/ 327578 h 1161397"/>
              <a:gd name="connsiteX48" fmla="*/ 3222191 w 6884912"/>
              <a:gd name="connsiteY48" fmla="*/ 307887 h 1161397"/>
              <a:gd name="connsiteX49" fmla="*/ 3227953 w 6884912"/>
              <a:gd name="connsiteY49" fmla="*/ 297650 h 1161397"/>
              <a:gd name="connsiteX50" fmla="*/ 3510042 w 6884912"/>
              <a:gd name="connsiteY50" fmla="*/ 311820 h 1161397"/>
              <a:gd name="connsiteX51" fmla="*/ 3626773 w 6884912"/>
              <a:gd name="connsiteY51" fmla="*/ 290452 h 1161397"/>
              <a:gd name="connsiteX52" fmla="*/ 3666217 w 6884912"/>
              <a:gd name="connsiteY52" fmla="*/ 273255 h 1161397"/>
              <a:gd name="connsiteX53" fmla="*/ 3732427 w 6884912"/>
              <a:gd name="connsiteY53" fmla="*/ 245039 h 1161397"/>
              <a:gd name="connsiteX54" fmla="*/ 3777022 w 6884912"/>
              <a:gd name="connsiteY54" fmla="*/ 200276 h 1161397"/>
              <a:gd name="connsiteX55" fmla="*/ 3791246 w 6884912"/>
              <a:gd name="connsiteY55" fmla="*/ 189996 h 1161397"/>
              <a:gd name="connsiteX56" fmla="*/ 3819864 w 6884912"/>
              <a:gd name="connsiteY56" fmla="*/ 194605 h 1161397"/>
              <a:gd name="connsiteX57" fmla="*/ 3830398 w 6884912"/>
              <a:gd name="connsiteY57" fmla="*/ 188383 h 1161397"/>
              <a:gd name="connsiteX58" fmla="*/ 3834360 w 6884912"/>
              <a:gd name="connsiteY58" fmla="*/ 188992 h 1161397"/>
              <a:gd name="connsiteX59" fmla="*/ 3843715 w 6884912"/>
              <a:gd name="connsiteY59" fmla="*/ 188752 h 1161397"/>
              <a:gd name="connsiteX60" fmla="*/ 3842609 w 6884912"/>
              <a:gd name="connsiteY60" fmla="*/ 197386 h 1161397"/>
              <a:gd name="connsiteX61" fmla="*/ 3853961 w 6884912"/>
              <a:gd name="connsiteY61" fmla="*/ 213380 h 1161397"/>
              <a:gd name="connsiteX62" fmla="*/ 3907640 w 6884912"/>
              <a:gd name="connsiteY62" fmla="*/ 207568 h 1161397"/>
              <a:gd name="connsiteX63" fmla="*/ 3910449 w 6884912"/>
              <a:gd name="connsiteY63" fmla="*/ 197808 h 1161397"/>
              <a:gd name="connsiteX64" fmla="*/ 3917197 w 6884912"/>
              <a:gd name="connsiteY64" fmla="*/ 196121 h 1161397"/>
              <a:gd name="connsiteX65" fmla="*/ 3922400 w 6884912"/>
              <a:gd name="connsiteY65" fmla="*/ 205056 h 1161397"/>
              <a:gd name="connsiteX66" fmla="*/ 4013061 w 6884912"/>
              <a:gd name="connsiteY66" fmla="*/ 224874 h 1161397"/>
              <a:gd name="connsiteX67" fmla="*/ 4220717 w 6884912"/>
              <a:gd name="connsiteY67" fmla="*/ 192946 h 1161397"/>
              <a:gd name="connsiteX68" fmla="*/ 4228802 w 6884912"/>
              <a:gd name="connsiteY68" fmla="*/ 201468 h 1161397"/>
              <a:gd name="connsiteX69" fmla="*/ 4289361 w 6884912"/>
              <a:gd name="connsiteY69" fmla="*/ 196642 h 1161397"/>
              <a:gd name="connsiteX70" fmla="*/ 4498913 w 6884912"/>
              <a:gd name="connsiteY70" fmla="*/ 118915 h 1161397"/>
              <a:gd name="connsiteX71" fmla="*/ 4617330 w 6884912"/>
              <a:gd name="connsiteY71" fmla="*/ 111163 h 1161397"/>
              <a:gd name="connsiteX72" fmla="*/ 4659778 w 6884912"/>
              <a:gd name="connsiteY72" fmla="*/ 118219 h 1161397"/>
              <a:gd name="connsiteX73" fmla="*/ 4730870 w 6884912"/>
              <a:gd name="connsiteY73" fmla="*/ 129432 h 1161397"/>
              <a:gd name="connsiteX74" fmla="*/ 4844073 w 6884912"/>
              <a:gd name="connsiteY74" fmla="*/ 161768 h 1161397"/>
              <a:gd name="connsiteX75" fmla="*/ 4856454 w 6884912"/>
              <a:gd name="connsiteY75" fmla="*/ 130488 h 1161397"/>
              <a:gd name="connsiteX76" fmla="*/ 4920038 w 6884912"/>
              <a:gd name="connsiteY76" fmla="*/ 140418 h 1161397"/>
              <a:gd name="connsiteX77" fmla="*/ 5016639 w 6884912"/>
              <a:gd name="connsiteY77" fmla="*/ 158905 h 1161397"/>
              <a:gd name="connsiteX78" fmla="*/ 5072009 w 6884912"/>
              <a:gd name="connsiteY78" fmla="*/ 161502 h 1161397"/>
              <a:gd name="connsiteX79" fmla="*/ 5223626 w 6884912"/>
              <a:gd name="connsiteY79" fmla="*/ 177356 h 1161397"/>
              <a:gd name="connsiteX80" fmla="*/ 5375773 w 6884912"/>
              <a:gd name="connsiteY80" fmla="*/ 199913 h 1161397"/>
              <a:gd name="connsiteX81" fmla="*/ 5467502 w 6884912"/>
              <a:gd name="connsiteY81" fmla="*/ 250963 h 1161397"/>
              <a:gd name="connsiteX82" fmla="*/ 5592395 w 6884912"/>
              <a:gd name="connsiteY82" fmla="*/ 265434 h 1161397"/>
              <a:gd name="connsiteX83" fmla="*/ 5613532 w 6884912"/>
              <a:gd name="connsiteY83" fmla="*/ 273379 h 1161397"/>
              <a:gd name="connsiteX84" fmla="*/ 5642173 w 6884912"/>
              <a:gd name="connsiteY84" fmla="*/ 266904 h 1161397"/>
              <a:gd name="connsiteX85" fmla="*/ 5756910 w 6884912"/>
              <a:gd name="connsiteY85" fmla="*/ 239211 h 1161397"/>
              <a:gd name="connsiteX86" fmla="*/ 5846667 w 6884912"/>
              <a:gd name="connsiteY86" fmla="*/ 201786 h 1161397"/>
              <a:gd name="connsiteX87" fmla="*/ 5960732 w 6884912"/>
              <a:gd name="connsiteY87" fmla="*/ 220708 h 1161397"/>
              <a:gd name="connsiteX88" fmla="*/ 6029542 w 6884912"/>
              <a:gd name="connsiteY88" fmla="*/ 210339 h 1161397"/>
              <a:gd name="connsiteX89" fmla="*/ 6141123 w 6884912"/>
              <a:gd name="connsiteY89" fmla="*/ 159923 h 1161397"/>
              <a:gd name="connsiteX90" fmla="*/ 6290640 w 6884912"/>
              <a:gd name="connsiteY90" fmla="*/ 167441 h 1161397"/>
              <a:gd name="connsiteX91" fmla="*/ 6322806 w 6884912"/>
              <a:gd name="connsiteY91" fmla="*/ 213293 h 1161397"/>
              <a:gd name="connsiteX92" fmla="*/ 6380420 w 6884912"/>
              <a:gd name="connsiteY92" fmla="*/ 173195 h 1161397"/>
              <a:gd name="connsiteX93" fmla="*/ 6507891 w 6884912"/>
              <a:gd name="connsiteY93" fmla="*/ 118474 h 1161397"/>
              <a:gd name="connsiteX94" fmla="*/ 6571807 w 6884912"/>
              <a:gd name="connsiteY94" fmla="*/ 98636 h 1161397"/>
              <a:gd name="connsiteX95" fmla="*/ 6671880 w 6884912"/>
              <a:gd name="connsiteY95" fmla="*/ 82931 h 1161397"/>
              <a:gd name="connsiteX96" fmla="*/ 6702266 w 6884912"/>
              <a:gd name="connsiteY96" fmla="*/ 75470 h 1161397"/>
              <a:gd name="connsiteX97" fmla="*/ 6845802 w 6884912"/>
              <a:gd name="connsiteY97" fmla="*/ 24496 h 1161397"/>
              <a:gd name="connsiteX98" fmla="*/ 6884912 w 6884912"/>
              <a:gd name="connsiteY98" fmla="*/ 0 h 1161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6884912" h="1161397">
                <a:moveTo>
                  <a:pt x="6884912" y="0"/>
                </a:moveTo>
                <a:lnTo>
                  <a:pt x="6884912" y="1161397"/>
                </a:lnTo>
                <a:lnTo>
                  <a:pt x="0" y="1161397"/>
                </a:lnTo>
                <a:lnTo>
                  <a:pt x="27135" y="1147460"/>
                </a:lnTo>
                <a:cubicBezTo>
                  <a:pt x="57431" y="1167048"/>
                  <a:pt x="61886" y="1088181"/>
                  <a:pt x="115388" y="1111320"/>
                </a:cubicBezTo>
                <a:cubicBezTo>
                  <a:pt x="146435" y="1096221"/>
                  <a:pt x="156823" y="1079485"/>
                  <a:pt x="213420" y="1056868"/>
                </a:cubicBezTo>
                <a:cubicBezTo>
                  <a:pt x="288217" y="1040787"/>
                  <a:pt x="383333" y="1044881"/>
                  <a:pt x="454970" y="1023343"/>
                </a:cubicBezTo>
                <a:cubicBezTo>
                  <a:pt x="440966" y="999969"/>
                  <a:pt x="571419" y="1006841"/>
                  <a:pt x="548162" y="984908"/>
                </a:cubicBezTo>
                <a:cubicBezTo>
                  <a:pt x="561321" y="956563"/>
                  <a:pt x="637415" y="1010272"/>
                  <a:pt x="651408" y="984938"/>
                </a:cubicBezTo>
                <a:cubicBezTo>
                  <a:pt x="671652" y="980952"/>
                  <a:pt x="698726" y="950833"/>
                  <a:pt x="723108" y="941904"/>
                </a:cubicBezTo>
                <a:cubicBezTo>
                  <a:pt x="760262" y="946949"/>
                  <a:pt x="757827" y="957145"/>
                  <a:pt x="797699" y="931362"/>
                </a:cubicBezTo>
                <a:cubicBezTo>
                  <a:pt x="821097" y="940623"/>
                  <a:pt x="833565" y="929189"/>
                  <a:pt x="843359" y="910894"/>
                </a:cubicBezTo>
                <a:cubicBezTo>
                  <a:pt x="887668" y="902160"/>
                  <a:pt x="919738" y="869376"/>
                  <a:pt x="965215" y="846701"/>
                </a:cubicBezTo>
                <a:cubicBezTo>
                  <a:pt x="1023081" y="848019"/>
                  <a:pt x="1036422" y="800154"/>
                  <a:pt x="1085080" y="776086"/>
                </a:cubicBezTo>
                <a:cubicBezTo>
                  <a:pt x="1140763" y="795544"/>
                  <a:pt x="1116251" y="768649"/>
                  <a:pt x="1137166" y="744338"/>
                </a:cubicBezTo>
                <a:lnTo>
                  <a:pt x="1207847" y="689087"/>
                </a:lnTo>
                <a:cubicBezTo>
                  <a:pt x="1226429" y="687736"/>
                  <a:pt x="1222409" y="707958"/>
                  <a:pt x="1242716" y="698052"/>
                </a:cubicBezTo>
                <a:cubicBezTo>
                  <a:pt x="1250387" y="668345"/>
                  <a:pt x="1318259" y="689091"/>
                  <a:pt x="1299977" y="639196"/>
                </a:cubicBezTo>
                <a:cubicBezTo>
                  <a:pt x="1323072" y="639367"/>
                  <a:pt x="1341279" y="658105"/>
                  <a:pt x="1326190" y="625955"/>
                </a:cubicBezTo>
                <a:cubicBezTo>
                  <a:pt x="1333572" y="625050"/>
                  <a:pt x="1337406" y="621362"/>
                  <a:pt x="1339600" y="616295"/>
                </a:cubicBezTo>
                <a:cubicBezTo>
                  <a:pt x="1339751" y="615537"/>
                  <a:pt x="1339903" y="614780"/>
                  <a:pt x="1340054" y="614022"/>
                </a:cubicBezTo>
                <a:lnTo>
                  <a:pt x="1391606" y="615229"/>
                </a:lnTo>
                <a:lnTo>
                  <a:pt x="1397565" y="611490"/>
                </a:lnTo>
                <a:lnTo>
                  <a:pt x="1432302" y="617267"/>
                </a:lnTo>
                <a:lnTo>
                  <a:pt x="1449644" y="617591"/>
                </a:lnTo>
                <a:lnTo>
                  <a:pt x="1455793" y="623174"/>
                </a:lnTo>
                <a:cubicBezTo>
                  <a:pt x="1461744" y="626151"/>
                  <a:pt x="1469373" y="626493"/>
                  <a:pt x="1480758" y="620863"/>
                </a:cubicBezTo>
                <a:lnTo>
                  <a:pt x="1483154" y="618527"/>
                </a:lnTo>
                <a:lnTo>
                  <a:pt x="1505495" y="624325"/>
                </a:lnTo>
                <a:cubicBezTo>
                  <a:pt x="1512992" y="627532"/>
                  <a:pt x="1520025" y="632078"/>
                  <a:pt x="1526340" y="638496"/>
                </a:cubicBezTo>
                <a:cubicBezTo>
                  <a:pt x="1586113" y="586768"/>
                  <a:pt x="1659006" y="610309"/>
                  <a:pt x="1731986" y="589682"/>
                </a:cubicBezTo>
                <a:cubicBezTo>
                  <a:pt x="1750397" y="523106"/>
                  <a:pt x="1896056" y="573257"/>
                  <a:pt x="1927935" y="628540"/>
                </a:cubicBezTo>
                <a:cubicBezTo>
                  <a:pt x="1912854" y="559823"/>
                  <a:pt x="2112261" y="676347"/>
                  <a:pt x="2039075" y="599964"/>
                </a:cubicBezTo>
                <a:cubicBezTo>
                  <a:pt x="2066036" y="601198"/>
                  <a:pt x="2086366" y="569532"/>
                  <a:pt x="2066980" y="550413"/>
                </a:cubicBezTo>
                <a:cubicBezTo>
                  <a:pt x="2155364" y="582582"/>
                  <a:pt x="2259548" y="514786"/>
                  <a:pt x="2352236" y="519602"/>
                </a:cubicBezTo>
                <a:cubicBezTo>
                  <a:pt x="2388450" y="459394"/>
                  <a:pt x="2373298" y="511682"/>
                  <a:pt x="2420791" y="492826"/>
                </a:cubicBezTo>
                <a:cubicBezTo>
                  <a:pt x="2417962" y="542563"/>
                  <a:pt x="2475071" y="455098"/>
                  <a:pt x="2489932" y="507864"/>
                </a:cubicBezTo>
                <a:cubicBezTo>
                  <a:pt x="2498105" y="502761"/>
                  <a:pt x="2505553" y="496153"/>
                  <a:pt x="2512917" y="489127"/>
                </a:cubicBezTo>
                <a:lnTo>
                  <a:pt x="2516783" y="485473"/>
                </a:lnTo>
                <a:lnTo>
                  <a:pt x="2534360" y="480064"/>
                </a:lnTo>
                <a:lnTo>
                  <a:pt x="2536691" y="467018"/>
                </a:lnTo>
                <a:lnTo>
                  <a:pt x="2561265" y="450623"/>
                </a:lnTo>
                <a:cubicBezTo>
                  <a:pt x="2570872" y="446262"/>
                  <a:pt x="2581686" y="443655"/>
                  <a:pt x="2594349" y="443884"/>
                </a:cubicBezTo>
                <a:cubicBezTo>
                  <a:pt x="2640435" y="464638"/>
                  <a:pt x="2696955" y="396361"/>
                  <a:pt x="2754324" y="424766"/>
                </a:cubicBezTo>
                <a:cubicBezTo>
                  <a:pt x="2775130" y="430896"/>
                  <a:pt x="2837731" y="423458"/>
                  <a:pt x="2848470" y="405966"/>
                </a:cubicBezTo>
                <a:cubicBezTo>
                  <a:pt x="2861295" y="401100"/>
                  <a:pt x="2876936" y="405309"/>
                  <a:pt x="2881772" y="387260"/>
                </a:cubicBezTo>
                <a:cubicBezTo>
                  <a:pt x="2890299" y="365261"/>
                  <a:pt x="2938134" y="392997"/>
                  <a:pt x="2929932" y="368912"/>
                </a:cubicBezTo>
                <a:cubicBezTo>
                  <a:pt x="2963844" y="387799"/>
                  <a:pt x="2986550" y="341223"/>
                  <a:pt x="3013020" y="327578"/>
                </a:cubicBezTo>
                <a:cubicBezTo>
                  <a:pt x="3061730" y="317407"/>
                  <a:pt x="3186369" y="312875"/>
                  <a:pt x="3222191" y="307887"/>
                </a:cubicBezTo>
                <a:cubicBezTo>
                  <a:pt x="3223593" y="304249"/>
                  <a:pt x="3179978" y="296995"/>
                  <a:pt x="3227953" y="297650"/>
                </a:cubicBezTo>
                <a:cubicBezTo>
                  <a:pt x="3275928" y="298306"/>
                  <a:pt x="3443572" y="313020"/>
                  <a:pt x="3510042" y="311820"/>
                </a:cubicBezTo>
                <a:cubicBezTo>
                  <a:pt x="3585274" y="306641"/>
                  <a:pt x="3525753" y="258887"/>
                  <a:pt x="3626773" y="290452"/>
                </a:cubicBezTo>
                <a:cubicBezTo>
                  <a:pt x="3633124" y="269835"/>
                  <a:pt x="3644693" y="267134"/>
                  <a:pt x="3666217" y="273255"/>
                </a:cubicBezTo>
                <a:cubicBezTo>
                  <a:pt x="3702502" y="269310"/>
                  <a:pt x="3690563" y="221720"/>
                  <a:pt x="3732427" y="245039"/>
                </a:cubicBezTo>
                <a:cubicBezTo>
                  <a:pt x="3720985" y="220241"/>
                  <a:pt x="3798776" y="224539"/>
                  <a:pt x="3777022" y="200276"/>
                </a:cubicBezTo>
                <a:cubicBezTo>
                  <a:pt x="3781759" y="193499"/>
                  <a:pt x="3786499" y="190723"/>
                  <a:pt x="3791246" y="189996"/>
                </a:cubicBezTo>
                <a:cubicBezTo>
                  <a:pt x="3800740" y="188542"/>
                  <a:pt x="3810265" y="195284"/>
                  <a:pt x="3819864" y="194605"/>
                </a:cubicBezTo>
                <a:lnTo>
                  <a:pt x="3830398" y="188383"/>
                </a:lnTo>
                <a:lnTo>
                  <a:pt x="3834360" y="188992"/>
                </a:lnTo>
                <a:lnTo>
                  <a:pt x="3843715" y="188752"/>
                </a:lnTo>
                <a:lnTo>
                  <a:pt x="3842609" y="197386"/>
                </a:lnTo>
                <a:cubicBezTo>
                  <a:pt x="3840673" y="205638"/>
                  <a:pt x="3839248" y="214671"/>
                  <a:pt x="3853961" y="213380"/>
                </a:cubicBezTo>
                <a:cubicBezTo>
                  <a:pt x="3884396" y="206569"/>
                  <a:pt x="3895082" y="241941"/>
                  <a:pt x="3907640" y="207568"/>
                </a:cubicBezTo>
                <a:lnTo>
                  <a:pt x="3910449" y="197808"/>
                </a:lnTo>
                <a:lnTo>
                  <a:pt x="3917197" y="196121"/>
                </a:lnTo>
                <a:cubicBezTo>
                  <a:pt x="3920833" y="196372"/>
                  <a:pt x="3922919" y="198717"/>
                  <a:pt x="3922400" y="205056"/>
                </a:cubicBezTo>
                <a:cubicBezTo>
                  <a:pt x="3950680" y="178467"/>
                  <a:pt x="3984062" y="218098"/>
                  <a:pt x="4013061" y="224874"/>
                </a:cubicBezTo>
                <a:cubicBezTo>
                  <a:pt x="4062781" y="222856"/>
                  <a:pt x="4184760" y="196847"/>
                  <a:pt x="4220717" y="192946"/>
                </a:cubicBezTo>
                <a:cubicBezTo>
                  <a:pt x="4222964" y="196132"/>
                  <a:pt x="4225687" y="199002"/>
                  <a:pt x="4228802" y="201468"/>
                </a:cubicBezTo>
                <a:cubicBezTo>
                  <a:pt x="4246898" y="215792"/>
                  <a:pt x="4274013" y="213632"/>
                  <a:pt x="4289361" y="196642"/>
                </a:cubicBezTo>
                <a:cubicBezTo>
                  <a:pt x="4363212" y="140627"/>
                  <a:pt x="4433598" y="135488"/>
                  <a:pt x="4498913" y="118915"/>
                </a:cubicBezTo>
                <a:cubicBezTo>
                  <a:pt x="4573135" y="105586"/>
                  <a:pt x="4527062" y="166416"/>
                  <a:pt x="4617330" y="111163"/>
                </a:cubicBezTo>
                <a:cubicBezTo>
                  <a:pt x="4628518" y="129608"/>
                  <a:pt x="4640397" y="129405"/>
                  <a:pt x="4659778" y="118219"/>
                </a:cubicBezTo>
                <a:cubicBezTo>
                  <a:pt x="4695929" y="113193"/>
                  <a:pt x="4695958" y="162259"/>
                  <a:pt x="4730870" y="129432"/>
                </a:cubicBezTo>
                <a:cubicBezTo>
                  <a:pt x="4761586" y="136690"/>
                  <a:pt x="4823142" y="161592"/>
                  <a:pt x="4844073" y="161768"/>
                </a:cubicBezTo>
                <a:cubicBezTo>
                  <a:pt x="4870797" y="164132"/>
                  <a:pt x="4827288" y="135164"/>
                  <a:pt x="4856454" y="130488"/>
                </a:cubicBezTo>
                <a:cubicBezTo>
                  <a:pt x="4892086" y="129553"/>
                  <a:pt x="4889263" y="81477"/>
                  <a:pt x="4920038" y="140418"/>
                </a:cubicBezTo>
                <a:cubicBezTo>
                  <a:pt x="4956358" y="122308"/>
                  <a:pt x="4965108" y="149263"/>
                  <a:pt x="5016639" y="158905"/>
                </a:cubicBezTo>
                <a:cubicBezTo>
                  <a:pt x="5037063" y="141828"/>
                  <a:pt x="5054534" y="147986"/>
                  <a:pt x="5072009" y="161502"/>
                </a:cubicBezTo>
                <a:cubicBezTo>
                  <a:pt x="5121260" y="153653"/>
                  <a:pt x="5167555" y="172635"/>
                  <a:pt x="5223626" y="177356"/>
                </a:cubicBezTo>
                <a:cubicBezTo>
                  <a:pt x="5282824" y="155243"/>
                  <a:pt x="5315859" y="195041"/>
                  <a:pt x="5375773" y="199913"/>
                </a:cubicBezTo>
                <a:cubicBezTo>
                  <a:pt x="5432511" y="156218"/>
                  <a:pt x="5417550" y="256036"/>
                  <a:pt x="5467502" y="250963"/>
                </a:cubicBezTo>
                <a:cubicBezTo>
                  <a:pt x="5547124" y="209975"/>
                  <a:pt x="5467171" y="283839"/>
                  <a:pt x="5592395" y="265434"/>
                </a:cubicBezTo>
                <a:cubicBezTo>
                  <a:pt x="5599201" y="258867"/>
                  <a:pt x="5614752" y="264706"/>
                  <a:pt x="5613532" y="273379"/>
                </a:cubicBezTo>
                <a:cubicBezTo>
                  <a:pt x="5621390" y="270408"/>
                  <a:pt x="5639720" y="253173"/>
                  <a:pt x="5642173" y="266904"/>
                </a:cubicBezTo>
                <a:cubicBezTo>
                  <a:pt x="5682296" y="267049"/>
                  <a:pt x="5721812" y="257513"/>
                  <a:pt x="5756910" y="239211"/>
                </a:cubicBezTo>
                <a:cubicBezTo>
                  <a:pt x="5834998" y="260050"/>
                  <a:pt x="5790596" y="197229"/>
                  <a:pt x="5846667" y="201786"/>
                </a:cubicBezTo>
                <a:cubicBezTo>
                  <a:pt x="5892444" y="227312"/>
                  <a:pt x="5908324" y="204527"/>
                  <a:pt x="5960732" y="220708"/>
                </a:cubicBezTo>
                <a:cubicBezTo>
                  <a:pt x="5977124" y="175349"/>
                  <a:pt x="6009640" y="223654"/>
                  <a:pt x="6029542" y="210339"/>
                </a:cubicBezTo>
                <a:cubicBezTo>
                  <a:pt x="6063108" y="261420"/>
                  <a:pt x="6107411" y="160034"/>
                  <a:pt x="6141123" y="159923"/>
                </a:cubicBezTo>
                <a:cubicBezTo>
                  <a:pt x="6198068" y="167749"/>
                  <a:pt x="6260628" y="219715"/>
                  <a:pt x="6290640" y="167441"/>
                </a:cubicBezTo>
                <a:cubicBezTo>
                  <a:pt x="6295193" y="188689"/>
                  <a:pt x="6290494" y="217816"/>
                  <a:pt x="6322806" y="213293"/>
                </a:cubicBezTo>
                <a:cubicBezTo>
                  <a:pt x="6337769" y="214252"/>
                  <a:pt x="6349573" y="188998"/>
                  <a:pt x="6380420" y="173195"/>
                </a:cubicBezTo>
                <a:cubicBezTo>
                  <a:pt x="6420580" y="151473"/>
                  <a:pt x="6513519" y="179296"/>
                  <a:pt x="6507891" y="118474"/>
                </a:cubicBezTo>
                <a:cubicBezTo>
                  <a:pt x="6519398" y="82452"/>
                  <a:pt x="6571830" y="137398"/>
                  <a:pt x="6571807" y="98636"/>
                </a:cubicBezTo>
                <a:cubicBezTo>
                  <a:pt x="6594702" y="123421"/>
                  <a:pt x="6634676" y="82071"/>
                  <a:pt x="6671880" y="82931"/>
                </a:cubicBezTo>
                <a:cubicBezTo>
                  <a:pt x="6678855" y="65407"/>
                  <a:pt x="6687415" y="66196"/>
                  <a:pt x="6702266" y="75470"/>
                </a:cubicBezTo>
                <a:cubicBezTo>
                  <a:pt x="6747004" y="78450"/>
                  <a:pt x="6798307" y="53072"/>
                  <a:pt x="6845802" y="24496"/>
                </a:cubicBezTo>
                <a:lnTo>
                  <a:pt x="6884912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9DED1F1-52C4-44BA-AC9E-1AF38A11D5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1309" y="1167868"/>
            <a:ext cx="4010943" cy="4934819"/>
          </a:xfrm>
          <a:custGeom>
            <a:avLst/>
            <a:gdLst>
              <a:gd name="connsiteX0" fmla="*/ 0 w 2400300"/>
              <a:gd name="connsiteY0" fmla="*/ 0 h 2400300"/>
              <a:gd name="connsiteX1" fmla="*/ 2400300 w 2400300"/>
              <a:gd name="connsiteY1" fmla="*/ 0 h 2400300"/>
              <a:gd name="connsiteX2" fmla="*/ 2400300 w 2400300"/>
              <a:gd name="connsiteY2" fmla="*/ 2400300 h 2400300"/>
              <a:gd name="connsiteX3" fmla="*/ 0 w 2400300"/>
              <a:gd name="connsiteY3" fmla="*/ 240030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0300" h="2400300">
                <a:moveTo>
                  <a:pt x="0" y="0"/>
                </a:moveTo>
                <a:lnTo>
                  <a:pt x="2400300" y="0"/>
                </a:lnTo>
                <a:lnTo>
                  <a:pt x="2400300" y="2400300"/>
                </a:lnTo>
                <a:lnTo>
                  <a:pt x="0" y="24003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38100" dist="12700" dir="300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Graphic 7" descr="Warning outline">
            <a:extLst>
              <a:ext uri="{FF2B5EF4-FFF2-40B4-BE49-F238E27FC236}">
                <a16:creationId xmlns:a16="http://schemas.microsoft.com/office/drawing/2014/main" id="{883B95C1-0C3B-B92A-C2A0-D420CC84CC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0902" y="1939399"/>
            <a:ext cx="3391756" cy="3391756"/>
          </a:xfrm>
          <a:prstGeom prst="rect">
            <a:avLst/>
          </a:prstGeom>
        </p:spPr>
      </p:pic>
      <p:sp>
        <p:nvSpPr>
          <p:cNvPr id="21" name="Rectangle 6">
            <a:extLst>
              <a:ext uri="{FF2B5EF4-FFF2-40B4-BE49-F238E27FC236}">
                <a16:creationId xmlns:a16="http://schemas.microsoft.com/office/drawing/2014/main" id="{64AF1A56-FA4A-4156-B01E-296B70DD2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84719" y="5956459"/>
            <a:ext cx="1367625" cy="428984"/>
          </a:xfrm>
          <a:custGeom>
            <a:avLst/>
            <a:gdLst>
              <a:gd name="connsiteX0" fmla="*/ 0 w 2142503"/>
              <a:gd name="connsiteY0" fmla="*/ 0 h 571500"/>
              <a:gd name="connsiteX1" fmla="*/ 2142503 w 2142503"/>
              <a:gd name="connsiteY1" fmla="*/ 0 h 571500"/>
              <a:gd name="connsiteX2" fmla="*/ 2142503 w 2142503"/>
              <a:gd name="connsiteY2" fmla="*/ 571500 h 571500"/>
              <a:gd name="connsiteX3" fmla="*/ 0 w 2142503"/>
              <a:gd name="connsiteY3" fmla="*/ 571500 h 571500"/>
              <a:gd name="connsiteX4" fmla="*/ 0 w 2142503"/>
              <a:gd name="connsiteY4" fmla="*/ 0 h 571500"/>
              <a:gd name="connsiteX0" fmla="*/ 0 w 2142503"/>
              <a:gd name="connsiteY0" fmla="*/ 0 h 582145"/>
              <a:gd name="connsiteX1" fmla="*/ 2142503 w 2142503"/>
              <a:gd name="connsiteY1" fmla="*/ 0 h 582145"/>
              <a:gd name="connsiteX2" fmla="*/ 2142503 w 2142503"/>
              <a:gd name="connsiteY2" fmla="*/ 571500 h 582145"/>
              <a:gd name="connsiteX3" fmla="*/ 2050917 w 2142503"/>
              <a:gd name="connsiteY3" fmla="*/ 582088 h 582145"/>
              <a:gd name="connsiteX4" fmla="*/ 0 w 2142503"/>
              <a:gd name="connsiteY4" fmla="*/ 571500 h 582145"/>
              <a:gd name="connsiteX5" fmla="*/ 0 w 2142503"/>
              <a:gd name="connsiteY5" fmla="*/ 0 h 582145"/>
              <a:gd name="connsiteX0" fmla="*/ 0 w 2159832"/>
              <a:gd name="connsiteY0" fmla="*/ 0 h 582145"/>
              <a:gd name="connsiteX1" fmla="*/ 2142503 w 2159832"/>
              <a:gd name="connsiteY1" fmla="*/ 0 h 582145"/>
              <a:gd name="connsiteX2" fmla="*/ 2159829 w 2159832"/>
              <a:gd name="connsiteY2" fmla="*/ 96526 h 582145"/>
              <a:gd name="connsiteX3" fmla="*/ 2142503 w 2159832"/>
              <a:gd name="connsiteY3" fmla="*/ 571500 h 582145"/>
              <a:gd name="connsiteX4" fmla="*/ 2050917 w 2159832"/>
              <a:gd name="connsiteY4" fmla="*/ 582088 h 582145"/>
              <a:gd name="connsiteX5" fmla="*/ 0 w 2159832"/>
              <a:gd name="connsiteY5" fmla="*/ 571500 h 582145"/>
              <a:gd name="connsiteX6" fmla="*/ 0 w 2159832"/>
              <a:gd name="connsiteY6" fmla="*/ 0 h 582145"/>
              <a:gd name="connsiteX0" fmla="*/ 0 w 2159832"/>
              <a:gd name="connsiteY0" fmla="*/ 12386 h 594531"/>
              <a:gd name="connsiteX1" fmla="*/ 67826 w 2159832"/>
              <a:gd name="connsiteY1" fmla="*/ 0 h 594531"/>
              <a:gd name="connsiteX2" fmla="*/ 2142503 w 2159832"/>
              <a:gd name="connsiteY2" fmla="*/ 12386 h 594531"/>
              <a:gd name="connsiteX3" fmla="*/ 2159829 w 2159832"/>
              <a:gd name="connsiteY3" fmla="*/ 108912 h 594531"/>
              <a:gd name="connsiteX4" fmla="*/ 2142503 w 2159832"/>
              <a:gd name="connsiteY4" fmla="*/ 583886 h 594531"/>
              <a:gd name="connsiteX5" fmla="*/ 2050917 w 2159832"/>
              <a:gd name="connsiteY5" fmla="*/ 594474 h 594531"/>
              <a:gd name="connsiteX6" fmla="*/ 0 w 2159832"/>
              <a:gd name="connsiteY6" fmla="*/ 583886 h 594531"/>
              <a:gd name="connsiteX7" fmla="*/ 0 w 2159832"/>
              <a:gd name="connsiteY7" fmla="*/ 12386 h 594531"/>
              <a:gd name="connsiteX0" fmla="*/ 0 w 2168908"/>
              <a:gd name="connsiteY0" fmla="*/ 26000 h 594531"/>
              <a:gd name="connsiteX1" fmla="*/ 76902 w 2168908"/>
              <a:gd name="connsiteY1" fmla="*/ 0 h 594531"/>
              <a:gd name="connsiteX2" fmla="*/ 2151579 w 2168908"/>
              <a:gd name="connsiteY2" fmla="*/ 12386 h 594531"/>
              <a:gd name="connsiteX3" fmla="*/ 2168905 w 2168908"/>
              <a:gd name="connsiteY3" fmla="*/ 108912 h 594531"/>
              <a:gd name="connsiteX4" fmla="*/ 2151579 w 2168908"/>
              <a:gd name="connsiteY4" fmla="*/ 583886 h 594531"/>
              <a:gd name="connsiteX5" fmla="*/ 2059993 w 2168908"/>
              <a:gd name="connsiteY5" fmla="*/ 594474 h 594531"/>
              <a:gd name="connsiteX6" fmla="*/ 9076 w 2168908"/>
              <a:gd name="connsiteY6" fmla="*/ 583886 h 594531"/>
              <a:gd name="connsiteX7" fmla="*/ 0 w 2168908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147197 w 2316105"/>
              <a:gd name="connsiteY0" fmla="*/ 26000 h 594531"/>
              <a:gd name="connsiteX1" fmla="*/ 224099 w 2316105"/>
              <a:gd name="connsiteY1" fmla="*/ 0 h 594531"/>
              <a:gd name="connsiteX2" fmla="*/ 2298776 w 2316105"/>
              <a:gd name="connsiteY2" fmla="*/ 12386 h 594531"/>
              <a:gd name="connsiteX3" fmla="*/ 2316102 w 2316105"/>
              <a:gd name="connsiteY3" fmla="*/ 108912 h 594531"/>
              <a:gd name="connsiteX4" fmla="*/ 2298776 w 2316105"/>
              <a:gd name="connsiteY4" fmla="*/ 583886 h 594531"/>
              <a:gd name="connsiteX5" fmla="*/ 2207190 w 2316105"/>
              <a:gd name="connsiteY5" fmla="*/ 594474 h 594531"/>
              <a:gd name="connsiteX6" fmla="*/ 156273 w 2316105"/>
              <a:gd name="connsiteY6" fmla="*/ 583886 h 594531"/>
              <a:gd name="connsiteX7" fmla="*/ 142416 w 2316105"/>
              <a:gd name="connsiteY7" fmla="*/ 235975 h 594531"/>
              <a:gd name="connsiteX8" fmla="*/ 147197 w 2316105"/>
              <a:gd name="connsiteY8" fmla="*/ 26000 h 594531"/>
              <a:gd name="connsiteX0" fmla="*/ 154684 w 2323592"/>
              <a:gd name="connsiteY0" fmla="*/ 26000 h 594531"/>
              <a:gd name="connsiteX1" fmla="*/ 231586 w 2323592"/>
              <a:gd name="connsiteY1" fmla="*/ 0 h 594531"/>
              <a:gd name="connsiteX2" fmla="*/ 2306263 w 2323592"/>
              <a:gd name="connsiteY2" fmla="*/ 12386 h 594531"/>
              <a:gd name="connsiteX3" fmla="*/ 2323589 w 2323592"/>
              <a:gd name="connsiteY3" fmla="*/ 108912 h 594531"/>
              <a:gd name="connsiteX4" fmla="*/ 2306263 w 2323592"/>
              <a:gd name="connsiteY4" fmla="*/ 583886 h 594531"/>
              <a:gd name="connsiteX5" fmla="*/ 2214677 w 2323592"/>
              <a:gd name="connsiteY5" fmla="*/ 594474 h 594531"/>
              <a:gd name="connsiteX6" fmla="*/ 163760 w 2323592"/>
              <a:gd name="connsiteY6" fmla="*/ 583886 h 594531"/>
              <a:gd name="connsiteX7" fmla="*/ 158979 w 2323592"/>
              <a:gd name="connsiteY7" fmla="*/ 403879 h 594531"/>
              <a:gd name="connsiteX8" fmla="*/ 149903 w 2323592"/>
              <a:gd name="connsiteY8" fmla="*/ 235975 h 594531"/>
              <a:gd name="connsiteX9" fmla="*/ 154684 w 2323592"/>
              <a:gd name="connsiteY9" fmla="*/ 26000 h 594531"/>
              <a:gd name="connsiteX0" fmla="*/ 13665 w 2182573"/>
              <a:gd name="connsiteY0" fmla="*/ 26000 h 594531"/>
              <a:gd name="connsiteX1" fmla="*/ 90567 w 2182573"/>
              <a:gd name="connsiteY1" fmla="*/ 0 h 594531"/>
              <a:gd name="connsiteX2" fmla="*/ 2165244 w 2182573"/>
              <a:gd name="connsiteY2" fmla="*/ 12386 h 594531"/>
              <a:gd name="connsiteX3" fmla="*/ 2182570 w 2182573"/>
              <a:gd name="connsiteY3" fmla="*/ 108912 h 594531"/>
              <a:gd name="connsiteX4" fmla="*/ 2165244 w 2182573"/>
              <a:gd name="connsiteY4" fmla="*/ 583886 h 594531"/>
              <a:gd name="connsiteX5" fmla="*/ 2073658 w 2182573"/>
              <a:gd name="connsiteY5" fmla="*/ 594474 h 594531"/>
              <a:gd name="connsiteX6" fmla="*/ 22741 w 2182573"/>
              <a:gd name="connsiteY6" fmla="*/ 583886 h 594531"/>
              <a:gd name="connsiteX7" fmla="*/ 17960 w 2182573"/>
              <a:gd name="connsiteY7" fmla="*/ 403879 h 594531"/>
              <a:gd name="connsiteX8" fmla="*/ 8884 w 2182573"/>
              <a:gd name="connsiteY8" fmla="*/ 235975 h 594531"/>
              <a:gd name="connsiteX9" fmla="*/ 13665 w 2182573"/>
              <a:gd name="connsiteY9" fmla="*/ 26000 h 594531"/>
              <a:gd name="connsiteX0" fmla="*/ 13665 w 2202120"/>
              <a:gd name="connsiteY0" fmla="*/ 26000 h 594531"/>
              <a:gd name="connsiteX1" fmla="*/ 90567 w 2202120"/>
              <a:gd name="connsiteY1" fmla="*/ 0 h 594531"/>
              <a:gd name="connsiteX2" fmla="*/ 2165244 w 2202120"/>
              <a:gd name="connsiteY2" fmla="*/ 12386 h 594531"/>
              <a:gd name="connsiteX3" fmla="*/ 2182570 w 2202120"/>
              <a:gd name="connsiteY3" fmla="*/ 108912 h 594531"/>
              <a:gd name="connsiteX4" fmla="*/ 2192471 w 2202120"/>
              <a:gd name="connsiteY4" fmla="*/ 583886 h 594531"/>
              <a:gd name="connsiteX5" fmla="*/ 2073658 w 2202120"/>
              <a:gd name="connsiteY5" fmla="*/ 594474 h 594531"/>
              <a:gd name="connsiteX6" fmla="*/ 22741 w 2202120"/>
              <a:gd name="connsiteY6" fmla="*/ 583886 h 594531"/>
              <a:gd name="connsiteX7" fmla="*/ 17960 w 2202120"/>
              <a:gd name="connsiteY7" fmla="*/ 403879 h 594531"/>
              <a:gd name="connsiteX8" fmla="*/ 8884 w 2202120"/>
              <a:gd name="connsiteY8" fmla="*/ 235975 h 594531"/>
              <a:gd name="connsiteX9" fmla="*/ 13665 w 2202120"/>
              <a:gd name="connsiteY9" fmla="*/ 26000 h 594531"/>
              <a:gd name="connsiteX0" fmla="*/ 13665 w 2202036"/>
              <a:gd name="connsiteY0" fmla="*/ 26000 h 594531"/>
              <a:gd name="connsiteX1" fmla="*/ 90567 w 2202036"/>
              <a:gd name="connsiteY1" fmla="*/ 0 h 594531"/>
              <a:gd name="connsiteX2" fmla="*/ 2165244 w 2202036"/>
              <a:gd name="connsiteY2" fmla="*/ 12386 h 594531"/>
              <a:gd name="connsiteX3" fmla="*/ 2182570 w 2202036"/>
              <a:gd name="connsiteY3" fmla="*/ 108912 h 594531"/>
              <a:gd name="connsiteX4" fmla="*/ 2191645 w 2202036"/>
              <a:gd name="connsiteY4" fmla="*/ 422031 h 594531"/>
              <a:gd name="connsiteX5" fmla="*/ 2192471 w 2202036"/>
              <a:gd name="connsiteY5" fmla="*/ 583886 h 594531"/>
              <a:gd name="connsiteX6" fmla="*/ 2073658 w 2202036"/>
              <a:gd name="connsiteY6" fmla="*/ 594474 h 594531"/>
              <a:gd name="connsiteX7" fmla="*/ 22741 w 2202036"/>
              <a:gd name="connsiteY7" fmla="*/ 583886 h 594531"/>
              <a:gd name="connsiteX8" fmla="*/ 17960 w 2202036"/>
              <a:gd name="connsiteY8" fmla="*/ 403879 h 594531"/>
              <a:gd name="connsiteX9" fmla="*/ 8884 w 2202036"/>
              <a:gd name="connsiteY9" fmla="*/ 235975 h 594531"/>
              <a:gd name="connsiteX10" fmla="*/ 13665 w 2202036"/>
              <a:gd name="connsiteY10" fmla="*/ 26000 h 594531"/>
              <a:gd name="connsiteX0" fmla="*/ 142254 w 2330625"/>
              <a:gd name="connsiteY0" fmla="*/ 26000 h 594531"/>
              <a:gd name="connsiteX1" fmla="*/ 219156 w 2330625"/>
              <a:gd name="connsiteY1" fmla="*/ 0 h 594531"/>
              <a:gd name="connsiteX2" fmla="*/ 2293833 w 2330625"/>
              <a:gd name="connsiteY2" fmla="*/ 12386 h 594531"/>
              <a:gd name="connsiteX3" fmla="*/ 2311159 w 2330625"/>
              <a:gd name="connsiteY3" fmla="*/ 108912 h 594531"/>
              <a:gd name="connsiteX4" fmla="*/ 2320234 w 2330625"/>
              <a:gd name="connsiteY4" fmla="*/ 422031 h 594531"/>
              <a:gd name="connsiteX5" fmla="*/ 2321060 w 2330625"/>
              <a:gd name="connsiteY5" fmla="*/ 583886 h 594531"/>
              <a:gd name="connsiteX6" fmla="*/ 2202247 w 2330625"/>
              <a:gd name="connsiteY6" fmla="*/ 594474 h 594531"/>
              <a:gd name="connsiteX7" fmla="*/ 151330 w 2330625"/>
              <a:gd name="connsiteY7" fmla="*/ 583886 h 594531"/>
              <a:gd name="connsiteX8" fmla="*/ 155624 w 2330625"/>
              <a:gd name="connsiteY8" fmla="*/ 512790 h 594531"/>
              <a:gd name="connsiteX9" fmla="*/ 146549 w 2330625"/>
              <a:gd name="connsiteY9" fmla="*/ 403879 h 594531"/>
              <a:gd name="connsiteX10" fmla="*/ 137473 w 2330625"/>
              <a:gd name="connsiteY10" fmla="*/ 235975 h 594531"/>
              <a:gd name="connsiteX11" fmla="*/ 142254 w 2330625"/>
              <a:gd name="connsiteY11" fmla="*/ 26000 h 594531"/>
              <a:gd name="connsiteX0" fmla="*/ 13413 w 2201784"/>
              <a:gd name="connsiteY0" fmla="*/ 26000 h 594531"/>
              <a:gd name="connsiteX1" fmla="*/ 90315 w 2201784"/>
              <a:gd name="connsiteY1" fmla="*/ 0 h 594531"/>
              <a:gd name="connsiteX2" fmla="*/ 2164992 w 2201784"/>
              <a:gd name="connsiteY2" fmla="*/ 12386 h 594531"/>
              <a:gd name="connsiteX3" fmla="*/ 2182318 w 2201784"/>
              <a:gd name="connsiteY3" fmla="*/ 108912 h 594531"/>
              <a:gd name="connsiteX4" fmla="*/ 2191393 w 2201784"/>
              <a:gd name="connsiteY4" fmla="*/ 422031 h 594531"/>
              <a:gd name="connsiteX5" fmla="*/ 2192219 w 2201784"/>
              <a:gd name="connsiteY5" fmla="*/ 583886 h 594531"/>
              <a:gd name="connsiteX6" fmla="*/ 2073406 w 2201784"/>
              <a:gd name="connsiteY6" fmla="*/ 594474 h 594531"/>
              <a:gd name="connsiteX7" fmla="*/ 22489 w 2201784"/>
              <a:gd name="connsiteY7" fmla="*/ 583886 h 594531"/>
              <a:gd name="connsiteX8" fmla="*/ 26783 w 2201784"/>
              <a:gd name="connsiteY8" fmla="*/ 512790 h 594531"/>
              <a:gd name="connsiteX9" fmla="*/ 17708 w 2201784"/>
              <a:gd name="connsiteY9" fmla="*/ 403879 h 594531"/>
              <a:gd name="connsiteX10" fmla="*/ 8632 w 2201784"/>
              <a:gd name="connsiteY10" fmla="*/ 235975 h 594531"/>
              <a:gd name="connsiteX11" fmla="*/ 13413 w 2201784"/>
              <a:gd name="connsiteY11" fmla="*/ 26000 h 594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1784" h="594531">
                <a:moveTo>
                  <a:pt x="13413" y="26000"/>
                </a:moveTo>
                <a:cubicBezTo>
                  <a:pt x="37534" y="24897"/>
                  <a:pt x="66194" y="1103"/>
                  <a:pt x="90315" y="0"/>
                </a:cubicBezTo>
                <a:lnTo>
                  <a:pt x="2164992" y="12386"/>
                </a:lnTo>
                <a:cubicBezTo>
                  <a:pt x="2164717" y="43049"/>
                  <a:pt x="2182593" y="78249"/>
                  <a:pt x="2182318" y="108912"/>
                </a:cubicBezTo>
                <a:cubicBezTo>
                  <a:pt x="2188231" y="177186"/>
                  <a:pt x="2189743" y="342869"/>
                  <a:pt x="2191393" y="422031"/>
                </a:cubicBezTo>
                <a:cubicBezTo>
                  <a:pt x="2193043" y="501193"/>
                  <a:pt x="2213396" y="555146"/>
                  <a:pt x="2192219" y="583886"/>
                </a:cubicBezTo>
                <a:cubicBezTo>
                  <a:pt x="2172279" y="582877"/>
                  <a:pt x="2093346" y="595483"/>
                  <a:pt x="2073406" y="594474"/>
                </a:cubicBezTo>
                <a:lnTo>
                  <a:pt x="22489" y="583886"/>
                </a:lnTo>
                <a:cubicBezTo>
                  <a:pt x="5849" y="592962"/>
                  <a:pt x="27580" y="542791"/>
                  <a:pt x="26783" y="512790"/>
                </a:cubicBezTo>
                <a:cubicBezTo>
                  <a:pt x="25986" y="482789"/>
                  <a:pt x="18464" y="450015"/>
                  <a:pt x="17708" y="403879"/>
                </a:cubicBezTo>
                <a:cubicBezTo>
                  <a:pt x="16952" y="357743"/>
                  <a:pt x="-14855" y="308787"/>
                  <a:pt x="8632" y="235975"/>
                </a:cubicBezTo>
                <a:cubicBezTo>
                  <a:pt x="7119" y="142994"/>
                  <a:pt x="-201" y="65329"/>
                  <a:pt x="13413" y="26000"/>
                </a:cubicBezTo>
                <a:close/>
              </a:path>
            </a:pathLst>
          </a:custGeom>
          <a:solidFill>
            <a:srgbClr val="D9D4D0">
              <a:alpha val="50000"/>
            </a:srgbClr>
          </a:solidFill>
          <a:ln>
            <a:noFill/>
          </a:ln>
          <a:effectLst>
            <a:softEdge rad="63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BBE7BA-B709-6F27-A4AE-8EFB87E02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n-US" sz="1000"/>
              <a:pPr>
                <a:spcAft>
                  <a:spcPts val="600"/>
                </a:spcAft>
              </a:pPr>
              <a:t>12</a:t>
            </a:fld>
            <a:endParaRPr lang="en-US" sz="1000"/>
          </a:p>
        </p:txBody>
      </p:sp>
      <p:graphicFrame>
        <p:nvGraphicFramePr>
          <p:cNvPr id="6" name="Diagrama 12">
            <a:extLst>
              <a:ext uri="{FF2B5EF4-FFF2-40B4-BE49-F238E27FC236}">
                <a16:creationId xmlns:a16="http://schemas.microsoft.com/office/drawing/2014/main" id="{89F17377-4B62-9ED6-4F0E-5025A83F43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1476996"/>
              </p:ext>
            </p:extLst>
          </p:nvPr>
        </p:nvGraphicFramePr>
        <p:xfrm>
          <a:off x="5059660" y="1983014"/>
          <a:ext cx="6358431" cy="3908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8757AC0-8B40-3833-87A3-27C1759B7D3E}"/>
              </a:ext>
            </a:extLst>
          </p:cNvPr>
          <p:cNvSpPr txBox="1"/>
          <p:nvPr/>
        </p:nvSpPr>
        <p:spPr>
          <a:xfrm>
            <a:off x="685243" y="6170951"/>
            <a:ext cx="9822038" cy="10002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marR="0" lvl="1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419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herramienta no predice cuando ocurrirá un brote. Sin embargo, identifica áreas que pueden propiciar la diseminación del virus en caso ocurra una importación.</a:t>
            </a:r>
          </a:p>
          <a:p>
            <a:pPr marL="742950" marR="0" lvl="1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s-419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C73F9F6-DD81-F7FC-3CE3-BFD2CF3728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4300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D66C099-E25B-0690-44EB-AF14E84B4C50}"/>
              </a:ext>
            </a:extLst>
          </p:cNvPr>
          <p:cNvSpPr txBox="1">
            <a:spLocks/>
          </p:cNvSpPr>
          <p:nvPr/>
        </p:nvSpPr>
        <p:spPr>
          <a:xfrm>
            <a:off x="11400103" y="6062087"/>
            <a:ext cx="668594" cy="329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P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98BB47A-8808-4EE8-B119-28EDB861CE66}" type="slidenum">
              <a:rPr lang="en-US" sz="1600" smtClean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pPr>
                <a:defRPr/>
              </a:pPr>
              <a:t>13</a:t>
            </a:fld>
            <a:endParaRPr lang="en-US" sz="1600">
              <a:solidFill>
                <a:prstClr val="white">
                  <a:lumMod val="50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3F4CE3C-246C-8D01-55AB-44C0C040B4CF}"/>
              </a:ext>
            </a:extLst>
          </p:cNvPr>
          <p:cNvSpPr txBox="1">
            <a:spLocks/>
          </p:cNvSpPr>
          <p:nvPr/>
        </p:nvSpPr>
        <p:spPr>
          <a:xfrm>
            <a:off x="2106895" y="275903"/>
            <a:ext cx="8148119" cy="4930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s-419" sz="3200">
                <a:effectLst/>
                <a:latin typeface="+mn-lt"/>
                <a:ea typeface="Verdana" panose="020B0604030504040204" pitchFamily="34" charset="0"/>
                <a:cs typeface="Ebrima" panose="02000000000000000000" pitchFamily="2" charset="0"/>
              </a:rPr>
              <a:t>Tres archivos para ejecutar la herramienta de riesgo</a:t>
            </a:r>
          </a:p>
        </p:txBody>
      </p:sp>
      <p:pic>
        <p:nvPicPr>
          <p:cNvPr id="26" name="Picture 2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491C5A99-DF88-777E-77C9-AA54EB7BCA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09AAD44-C1F1-CF2F-64FF-A46F1C887E0F}"/>
              </a:ext>
            </a:extLst>
          </p:cNvPr>
          <p:cNvSpPr txBox="1"/>
          <p:nvPr/>
        </p:nvSpPr>
        <p:spPr>
          <a:xfrm>
            <a:off x="1665550" y="5439109"/>
            <a:ext cx="8636830" cy="46166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419" sz="2400"/>
              <a:t>Estos tres archivos se usan para las dos versiones de la herramienta</a:t>
            </a:r>
          </a:p>
        </p:txBody>
      </p:sp>
      <p:pic>
        <p:nvPicPr>
          <p:cNvPr id="31" name="Picture 30" descr="A screenshot of a computer&#10;&#10;Description automatically generated">
            <a:extLst>
              <a:ext uri="{FF2B5EF4-FFF2-40B4-BE49-F238E27FC236}">
                <a16:creationId xmlns:a16="http://schemas.microsoft.com/office/drawing/2014/main" id="{AE29CF8F-ADD8-E647-742E-8987454C26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687" y="1620161"/>
            <a:ext cx="10476625" cy="3617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357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/>
                <a:cs typeface="Arial"/>
              </a:rPr>
              <a:t>2. Consideraciones para preparar los datos</a:t>
            </a:r>
            <a:endParaRPr lang="en-US" b="1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8472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8">
            <a:extLst>
              <a:ext uri="{FF2B5EF4-FFF2-40B4-BE49-F238E27FC236}">
                <a16:creationId xmlns:a16="http://schemas.microsoft.com/office/drawing/2014/main" id="{69D47016-023F-44BD-981C-50E7A10A66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457200"/>
            <a:ext cx="4571998" cy="192938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b="1"/>
              <a:t>1. Definir el nivel administrativo  </a:t>
            </a:r>
          </a:p>
        </p:txBody>
      </p:sp>
      <p:sp>
        <p:nvSpPr>
          <p:cNvPr id="26" name="sketchy line">
            <a:extLst>
              <a:ext uri="{FF2B5EF4-FFF2-40B4-BE49-F238E27FC236}">
                <a16:creationId xmlns:a16="http://schemas.microsoft.com/office/drawing/2014/main" id="{6D8B37B0-0682-433E-BC8D-498C04ABD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471415" y="1412748"/>
            <a:ext cx="1554480" cy="18288"/>
          </a:xfrm>
          <a:custGeom>
            <a:avLst/>
            <a:gdLst>
              <a:gd name="connsiteX0" fmla="*/ 0 w 1554480"/>
              <a:gd name="connsiteY0" fmla="*/ 0 h 18288"/>
              <a:gd name="connsiteX1" fmla="*/ 549250 w 1554480"/>
              <a:gd name="connsiteY1" fmla="*/ 0 h 18288"/>
              <a:gd name="connsiteX2" fmla="*/ 1082954 w 1554480"/>
              <a:gd name="connsiteY2" fmla="*/ 0 h 18288"/>
              <a:gd name="connsiteX3" fmla="*/ 1554480 w 1554480"/>
              <a:gd name="connsiteY3" fmla="*/ 0 h 18288"/>
              <a:gd name="connsiteX4" fmla="*/ 1554480 w 1554480"/>
              <a:gd name="connsiteY4" fmla="*/ 18288 h 18288"/>
              <a:gd name="connsiteX5" fmla="*/ 1067410 w 1554480"/>
              <a:gd name="connsiteY5" fmla="*/ 18288 h 18288"/>
              <a:gd name="connsiteX6" fmla="*/ 549250 w 1554480"/>
              <a:gd name="connsiteY6" fmla="*/ 18288 h 18288"/>
              <a:gd name="connsiteX7" fmla="*/ 0 w 1554480"/>
              <a:gd name="connsiteY7" fmla="*/ 18288 h 18288"/>
              <a:gd name="connsiteX8" fmla="*/ 0 w 1554480"/>
              <a:gd name="connsiteY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4480" h="18288" fill="none" extrusionOk="0">
                <a:moveTo>
                  <a:pt x="0" y="0"/>
                </a:moveTo>
                <a:cubicBezTo>
                  <a:pt x="114141" y="-19864"/>
                  <a:pt x="345055" y="-1657"/>
                  <a:pt x="549250" y="0"/>
                </a:cubicBezTo>
                <a:cubicBezTo>
                  <a:pt x="753445" y="1657"/>
                  <a:pt x="862292" y="-5674"/>
                  <a:pt x="1082954" y="0"/>
                </a:cubicBezTo>
                <a:cubicBezTo>
                  <a:pt x="1303616" y="5674"/>
                  <a:pt x="1363530" y="4537"/>
                  <a:pt x="1554480" y="0"/>
                </a:cubicBezTo>
                <a:cubicBezTo>
                  <a:pt x="1554963" y="7176"/>
                  <a:pt x="1553909" y="13682"/>
                  <a:pt x="1554480" y="18288"/>
                </a:cubicBezTo>
                <a:cubicBezTo>
                  <a:pt x="1338847" y="6127"/>
                  <a:pt x="1215066" y="37851"/>
                  <a:pt x="1067410" y="18288"/>
                </a:cubicBezTo>
                <a:cubicBezTo>
                  <a:pt x="919754" y="-1275"/>
                  <a:pt x="800465" y="3080"/>
                  <a:pt x="549250" y="18288"/>
                </a:cubicBezTo>
                <a:cubicBezTo>
                  <a:pt x="298035" y="33496"/>
                  <a:pt x="158868" y="22769"/>
                  <a:pt x="0" y="18288"/>
                </a:cubicBezTo>
                <a:cubicBezTo>
                  <a:pt x="-655" y="13237"/>
                  <a:pt x="709" y="4645"/>
                  <a:pt x="0" y="0"/>
                </a:cubicBezTo>
                <a:close/>
              </a:path>
              <a:path w="1554480" h="18288" stroke="0" extrusionOk="0">
                <a:moveTo>
                  <a:pt x="0" y="0"/>
                </a:moveTo>
                <a:cubicBezTo>
                  <a:pt x="249941" y="-58"/>
                  <a:pt x="367334" y="23448"/>
                  <a:pt x="502615" y="0"/>
                </a:cubicBezTo>
                <a:cubicBezTo>
                  <a:pt x="637897" y="-23448"/>
                  <a:pt x="813653" y="-20418"/>
                  <a:pt x="974141" y="0"/>
                </a:cubicBezTo>
                <a:cubicBezTo>
                  <a:pt x="1134629" y="20418"/>
                  <a:pt x="1268772" y="6288"/>
                  <a:pt x="1554480" y="0"/>
                </a:cubicBezTo>
                <a:cubicBezTo>
                  <a:pt x="1554917" y="7222"/>
                  <a:pt x="1555359" y="13299"/>
                  <a:pt x="1554480" y="18288"/>
                </a:cubicBezTo>
                <a:cubicBezTo>
                  <a:pt x="1336087" y="12172"/>
                  <a:pt x="1310024" y="19759"/>
                  <a:pt x="1067410" y="18288"/>
                </a:cubicBezTo>
                <a:cubicBezTo>
                  <a:pt x="824796" y="16818"/>
                  <a:pt x="787902" y="34647"/>
                  <a:pt x="518160" y="18288"/>
                </a:cubicBezTo>
                <a:cubicBezTo>
                  <a:pt x="248418" y="1930"/>
                  <a:pt x="133160" y="9205"/>
                  <a:pt x="0" y="18288"/>
                </a:cubicBezTo>
                <a:cubicBezTo>
                  <a:pt x="-643" y="9451"/>
                  <a:pt x="-340" y="711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074DD-8CF2-2B15-B89B-0526D30FCA8E}"/>
              </a:ext>
            </a:extLst>
          </p:cNvPr>
          <p:cNvSpPr txBox="1"/>
          <p:nvPr/>
        </p:nvSpPr>
        <p:spPr>
          <a:xfrm>
            <a:off x="5529596" y="399472"/>
            <a:ext cx="6007608" cy="1929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200"/>
              <a:t>División geopolítica del país contenida en los SHAPEFILES y la división administrativa de salud para monitoreo de metas que realiza el Ministerio de Salud / Programa Nacional de Inmunizaciones (PNI)</a:t>
            </a:r>
          </a:p>
        </p:txBody>
      </p:sp>
      <p:pic>
        <p:nvPicPr>
          <p:cNvPr id="7" name="Picture 6" descr="A green map with black lines&#10;&#10;Description automatically generated with low confidence">
            <a:extLst>
              <a:ext uri="{FF2B5EF4-FFF2-40B4-BE49-F238E27FC236}">
                <a16:creationId xmlns:a16="http://schemas.microsoft.com/office/drawing/2014/main" id="{C2987889-EB60-FAF1-FA04-A8527B659C5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679" r="19866" b="-2"/>
          <a:stretch/>
        </p:blipFill>
        <p:spPr>
          <a:xfrm>
            <a:off x="957598" y="2254610"/>
            <a:ext cx="3690076" cy="3678936"/>
          </a:xfrm>
          <a:prstGeom prst="rect">
            <a:avLst/>
          </a:prstGeom>
        </p:spPr>
      </p:pic>
      <p:pic>
        <p:nvPicPr>
          <p:cNvPr id="9" name="Picture 8" descr="A map of the dominican republic&#10;&#10;Description automatically generated with medium confidence">
            <a:extLst>
              <a:ext uri="{FF2B5EF4-FFF2-40B4-BE49-F238E27FC236}">
                <a16:creationId xmlns:a16="http://schemas.microsoft.com/office/drawing/2014/main" id="{0C2BDE72-1434-680B-165F-AC2268A126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4496" y="2547668"/>
            <a:ext cx="5468112" cy="345858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15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B89730-1B5B-AB35-A9FF-7B6BB01929D6}"/>
              </a:ext>
            </a:extLst>
          </p:cNvPr>
          <p:cNvSpPr txBox="1"/>
          <p:nvPr/>
        </p:nvSpPr>
        <p:spPr>
          <a:xfrm rot="16200000">
            <a:off x="-590192" y="3571941"/>
            <a:ext cx="215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b="1"/>
              <a:t>Rep. Dominican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AB4136-9AAC-3D74-8B12-7A51FED0888E}"/>
              </a:ext>
            </a:extLst>
          </p:cNvPr>
          <p:cNvSpPr txBox="1"/>
          <p:nvPr/>
        </p:nvSpPr>
        <p:spPr>
          <a:xfrm>
            <a:off x="763571" y="5750351"/>
            <a:ext cx="39969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40 DPS/DAS: </a:t>
            </a:r>
            <a:r>
              <a:rPr lang="es-ES" i="0">
                <a:solidFill>
                  <a:srgbClr val="242424"/>
                </a:solidFill>
                <a:effectLst/>
              </a:rPr>
              <a:t>provincias y las Áreas de Salud del Gran Santo Domingo y Santiago.</a:t>
            </a:r>
            <a:r>
              <a:rPr lang="en-US"/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321815-C4FE-25F5-3D50-5E48AEE7ED4B}"/>
              </a:ext>
            </a:extLst>
          </p:cNvPr>
          <p:cNvSpPr txBox="1"/>
          <p:nvPr/>
        </p:nvSpPr>
        <p:spPr>
          <a:xfrm>
            <a:off x="6826577" y="5935071"/>
            <a:ext cx="39969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/>
              <a:t>31 provincias y 158 municipios</a:t>
            </a:r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B45E132-E2EF-D44E-87F7-18716386343A}"/>
              </a:ext>
            </a:extLst>
          </p:cNvPr>
          <p:cNvSpPr txBox="1"/>
          <p:nvPr/>
        </p:nvSpPr>
        <p:spPr>
          <a:xfrm rot="16200000">
            <a:off x="4986216" y="3670191"/>
            <a:ext cx="2158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b="1"/>
              <a:t>Rep. Dominicana</a:t>
            </a:r>
          </a:p>
        </p:txBody>
      </p:sp>
    </p:spTree>
    <p:extLst>
      <p:ext uri="{BB962C8B-B14F-4D97-AF65-F5344CB8AC3E}">
        <p14:creationId xmlns:p14="http://schemas.microsoft.com/office/powerpoint/2010/main" val="2129968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8">
            <a:extLst>
              <a:ext uri="{FF2B5EF4-FFF2-40B4-BE49-F238E27FC236}">
                <a16:creationId xmlns:a16="http://schemas.microsoft.com/office/drawing/2014/main" id="{69D47016-023F-44BD-981C-50E7A10A66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722" y="399472"/>
            <a:ext cx="5146873" cy="249612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s-419" b="1"/>
              <a:t>2. Los códigos georreferenciales por nivel de administrativo no deben repetirse</a:t>
            </a:r>
          </a:p>
        </p:txBody>
      </p:sp>
      <p:sp>
        <p:nvSpPr>
          <p:cNvPr id="26" name="sketchy line">
            <a:extLst>
              <a:ext uri="{FF2B5EF4-FFF2-40B4-BE49-F238E27FC236}">
                <a16:creationId xmlns:a16="http://schemas.microsoft.com/office/drawing/2014/main" id="{6D8B37B0-0682-433E-BC8D-498C04ABD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471415" y="1412748"/>
            <a:ext cx="1554480" cy="18288"/>
          </a:xfrm>
          <a:custGeom>
            <a:avLst/>
            <a:gdLst>
              <a:gd name="connsiteX0" fmla="*/ 0 w 1554480"/>
              <a:gd name="connsiteY0" fmla="*/ 0 h 18288"/>
              <a:gd name="connsiteX1" fmla="*/ 549250 w 1554480"/>
              <a:gd name="connsiteY1" fmla="*/ 0 h 18288"/>
              <a:gd name="connsiteX2" fmla="*/ 1082954 w 1554480"/>
              <a:gd name="connsiteY2" fmla="*/ 0 h 18288"/>
              <a:gd name="connsiteX3" fmla="*/ 1554480 w 1554480"/>
              <a:gd name="connsiteY3" fmla="*/ 0 h 18288"/>
              <a:gd name="connsiteX4" fmla="*/ 1554480 w 1554480"/>
              <a:gd name="connsiteY4" fmla="*/ 18288 h 18288"/>
              <a:gd name="connsiteX5" fmla="*/ 1067410 w 1554480"/>
              <a:gd name="connsiteY5" fmla="*/ 18288 h 18288"/>
              <a:gd name="connsiteX6" fmla="*/ 549250 w 1554480"/>
              <a:gd name="connsiteY6" fmla="*/ 18288 h 18288"/>
              <a:gd name="connsiteX7" fmla="*/ 0 w 1554480"/>
              <a:gd name="connsiteY7" fmla="*/ 18288 h 18288"/>
              <a:gd name="connsiteX8" fmla="*/ 0 w 1554480"/>
              <a:gd name="connsiteY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4480" h="18288" fill="none" extrusionOk="0">
                <a:moveTo>
                  <a:pt x="0" y="0"/>
                </a:moveTo>
                <a:cubicBezTo>
                  <a:pt x="114141" y="-19864"/>
                  <a:pt x="345055" y="-1657"/>
                  <a:pt x="549250" y="0"/>
                </a:cubicBezTo>
                <a:cubicBezTo>
                  <a:pt x="753445" y="1657"/>
                  <a:pt x="862292" y="-5674"/>
                  <a:pt x="1082954" y="0"/>
                </a:cubicBezTo>
                <a:cubicBezTo>
                  <a:pt x="1303616" y="5674"/>
                  <a:pt x="1363530" y="4537"/>
                  <a:pt x="1554480" y="0"/>
                </a:cubicBezTo>
                <a:cubicBezTo>
                  <a:pt x="1554963" y="7176"/>
                  <a:pt x="1553909" y="13682"/>
                  <a:pt x="1554480" y="18288"/>
                </a:cubicBezTo>
                <a:cubicBezTo>
                  <a:pt x="1338847" y="6127"/>
                  <a:pt x="1215066" y="37851"/>
                  <a:pt x="1067410" y="18288"/>
                </a:cubicBezTo>
                <a:cubicBezTo>
                  <a:pt x="919754" y="-1275"/>
                  <a:pt x="800465" y="3080"/>
                  <a:pt x="549250" y="18288"/>
                </a:cubicBezTo>
                <a:cubicBezTo>
                  <a:pt x="298035" y="33496"/>
                  <a:pt x="158868" y="22769"/>
                  <a:pt x="0" y="18288"/>
                </a:cubicBezTo>
                <a:cubicBezTo>
                  <a:pt x="-655" y="13237"/>
                  <a:pt x="709" y="4645"/>
                  <a:pt x="0" y="0"/>
                </a:cubicBezTo>
                <a:close/>
              </a:path>
              <a:path w="1554480" h="18288" stroke="0" extrusionOk="0">
                <a:moveTo>
                  <a:pt x="0" y="0"/>
                </a:moveTo>
                <a:cubicBezTo>
                  <a:pt x="249941" y="-58"/>
                  <a:pt x="367334" y="23448"/>
                  <a:pt x="502615" y="0"/>
                </a:cubicBezTo>
                <a:cubicBezTo>
                  <a:pt x="637897" y="-23448"/>
                  <a:pt x="813653" y="-20418"/>
                  <a:pt x="974141" y="0"/>
                </a:cubicBezTo>
                <a:cubicBezTo>
                  <a:pt x="1134629" y="20418"/>
                  <a:pt x="1268772" y="6288"/>
                  <a:pt x="1554480" y="0"/>
                </a:cubicBezTo>
                <a:cubicBezTo>
                  <a:pt x="1554917" y="7222"/>
                  <a:pt x="1555359" y="13299"/>
                  <a:pt x="1554480" y="18288"/>
                </a:cubicBezTo>
                <a:cubicBezTo>
                  <a:pt x="1336087" y="12172"/>
                  <a:pt x="1310024" y="19759"/>
                  <a:pt x="1067410" y="18288"/>
                </a:cubicBezTo>
                <a:cubicBezTo>
                  <a:pt x="824796" y="16818"/>
                  <a:pt x="787902" y="34647"/>
                  <a:pt x="518160" y="18288"/>
                </a:cubicBezTo>
                <a:cubicBezTo>
                  <a:pt x="248418" y="1930"/>
                  <a:pt x="133160" y="9205"/>
                  <a:pt x="0" y="18288"/>
                </a:cubicBezTo>
                <a:cubicBezTo>
                  <a:pt x="-643" y="9451"/>
                  <a:pt x="-340" y="711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074DD-8CF2-2B15-B89B-0526D30FCA8E}"/>
              </a:ext>
            </a:extLst>
          </p:cNvPr>
          <p:cNvSpPr txBox="1"/>
          <p:nvPr/>
        </p:nvSpPr>
        <p:spPr>
          <a:xfrm>
            <a:off x="5529596" y="399472"/>
            <a:ext cx="6007608" cy="1929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200"/>
              <a:t>Identificar que cada ADMIN1 y ADMIN2 tengan su propio código de georreferenciación.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16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Picture 7" descr="A black background with orange dots&#10;&#10;Description automatically generated">
            <a:extLst>
              <a:ext uri="{FF2B5EF4-FFF2-40B4-BE49-F238E27FC236}">
                <a16:creationId xmlns:a16="http://schemas.microsoft.com/office/drawing/2014/main" id="{C9EC5BFD-7F4B-CDDA-31F4-C0F16213FD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7837" y="3295072"/>
            <a:ext cx="8472311" cy="275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781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2" name="Rectangle 1041">
            <a:extLst>
              <a:ext uri="{FF2B5EF4-FFF2-40B4-BE49-F238E27FC236}">
                <a16:creationId xmlns:a16="http://schemas.microsoft.com/office/drawing/2014/main" id="{F0087D53-9295-4463-AAE4-D5C626046E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55D2AA-6BF0-1A48-85C3-DE358933F051}"/>
              </a:ext>
            </a:extLst>
          </p:cNvPr>
          <p:cNvSpPr txBox="1"/>
          <p:nvPr/>
        </p:nvSpPr>
        <p:spPr>
          <a:xfrm>
            <a:off x="638881" y="4501453"/>
            <a:ext cx="10909640" cy="1065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err="1">
                <a:latin typeface="Calibri"/>
                <a:ea typeface="Calibri"/>
                <a:cs typeface="Calibri"/>
              </a:rPr>
              <a:t>Siempre</a:t>
            </a:r>
            <a:r>
              <a:rPr lang="en-US" sz="3200" b="1">
                <a:latin typeface="Calibri"/>
                <a:ea typeface="Calibri"/>
                <a:cs typeface="Calibri"/>
              </a:rPr>
              <a:t> </a:t>
            </a:r>
            <a:r>
              <a:rPr lang="en-US" sz="3200" b="1" err="1">
                <a:latin typeface="Calibri"/>
                <a:ea typeface="Calibri"/>
                <a:cs typeface="Calibri"/>
              </a:rPr>
              <a:t>debe</a:t>
            </a:r>
            <a:r>
              <a:rPr lang="en-US" sz="3200" b="1">
                <a:latin typeface="Calibri"/>
                <a:ea typeface="Calibri"/>
                <a:cs typeface="Calibri"/>
              </a:rPr>
              <a:t> </a:t>
            </a:r>
            <a:r>
              <a:rPr lang="en-US" sz="3200" b="1" err="1">
                <a:latin typeface="Calibri"/>
                <a:ea typeface="Calibri"/>
                <a:cs typeface="Calibri"/>
              </a:rPr>
              <a:t>coincidir</a:t>
            </a:r>
            <a:r>
              <a:rPr lang="en-US" sz="3200" b="1">
                <a:latin typeface="Calibri"/>
                <a:ea typeface="Calibri"/>
                <a:cs typeface="Calibri"/>
              </a:rPr>
              <a:t> </a:t>
            </a:r>
            <a:r>
              <a:rPr lang="en-US" sz="3200" b="1" err="1">
                <a:latin typeface="Calibri"/>
                <a:ea typeface="Calibri"/>
                <a:cs typeface="Calibri"/>
              </a:rPr>
              <a:t>los</a:t>
            </a:r>
            <a:r>
              <a:rPr lang="en-US" sz="3200" b="1">
                <a:latin typeface="Calibri"/>
                <a:ea typeface="Calibri"/>
                <a:cs typeface="Calibri"/>
              </a:rPr>
              <a:t> </a:t>
            </a:r>
            <a:r>
              <a:rPr lang="en-US" sz="3600" b="1" err="1">
                <a:latin typeface="Calibri"/>
                <a:ea typeface="Calibri"/>
                <a:cs typeface="Calibri"/>
              </a:rPr>
              <a:t>datos</a:t>
            </a:r>
            <a:r>
              <a:rPr lang="en-US" sz="3200" b="1">
                <a:latin typeface="Calibri"/>
                <a:ea typeface="Calibri"/>
                <a:cs typeface="Calibri"/>
              </a:rPr>
              <a:t> de la </a:t>
            </a:r>
            <a:r>
              <a:rPr lang="en-US" sz="3200" b="1" err="1">
                <a:latin typeface="Calibri"/>
                <a:ea typeface="Calibri"/>
                <a:cs typeface="Calibri"/>
              </a:rPr>
              <a:t>plantilla</a:t>
            </a:r>
            <a:r>
              <a:rPr lang="en-US" sz="3200" b="1">
                <a:latin typeface="Calibri"/>
                <a:ea typeface="Calibri"/>
                <a:cs typeface="Calibri"/>
              </a:rPr>
              <a:t> de Excel y </a:t>
            </a:r>
            <a:r>
              <a:rPr lang="en-US" sz="3200" b="1" err="1">
                <a:latin typeface="Calibri"/>
                <a:ea typeface="Calibri"/>
                <a:cs typeface="Calibri"/>
              </a:rPr>
              <a:t>el</a:t>
            </a:r>
            <a:r>
              <a:rPr lang="en-US" sz="3200" b="1">
                <a:latin typeface="Calibri"/>
                <a:ea typeface="Calibri"/>
                <a:cs typeface="Calibri"/>
              </a:rPr>
              <a:t> SHAPEFIL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BAB979E-BB30-C72D-EB23-348E58507D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44884" y="320040"/>
            <a:ext cx="3964727" cy="389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3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5594358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B29AAE-8491-0A7F-AF5C-D2E8EA031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n-US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pic>
        <p:nvPicPr>
          <p:cNvPr id="9" name="Picture 8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320E555-0320-84C6-4433-D7F8EC04C7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83C1020-EFB6-0386-016C-0EB68DF8C2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9611" y="1147768"/>
            <a:ext cx="5203471" cy="22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4845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13605-C632-5E8E-F05F-F0B822B19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237" y="84121"/>
            <a:ext cx="10515600" cy="1325563"/>
          </a:xfrm>
        </p:spPr>
        <p:txBody>
          <a:bodyPr/>
          <a:lstStyle/>
          <a:p>
            <a:r>
              <a:rPr lang="es-419" b="1"/>
              <a:t>Garantizar el formato de los dato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DCB09-8624-28D6-B871-E7E484579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18</a:t>
            </a:fld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E4158A5-77E3-060E-2E74-4A14AADA4CC4}"/>
              </a:ext>
            </a:extLst>
          </p:cNvPr>
          <p:cNvSpPr txBox="1">
            <a:spLocks/>
          </p:cNvSpPr>
          <p:nvPr/>
        </p:nvSpPr>
        <p:spPr>
          <a:xfrm>
            <a:off x="278638" y="1276269"/>
            <a:ext cx="5141471" cy="43054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os requeridos (nivel Admin2):
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les globales
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blación total del país</a:t>
            </a: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 área por KM2
Inmunidad de la población
Desempeño del programa 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pos vulnerables
Respuesta rápida
Vigilancia caso a caso 
Archivo de forma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263E2B-6527-8B3F-9E29-3919BB0E5B53}"/>
              </a:ext>
            </a:extLst>
          </p:cNvPr>
          <p:cNvSpPr txBox="1"/>
          <p:nvPr/>
        </p:nvSpPr>
        <p:spPr>
          <a:xfrm>
            <a:off x="1547749" y="5945049"/>
            <a:ext cx="7318665" cy="40011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revisión y limpieza de los datos se realizará en la plantilla de Excel </a:t>
            </a:r>
          </a:p>
        </p:txBody>
      </p:sp>
      <p:pic>
        <p:nvPicPr>
          <p:cNvPr id="8" name="Graphic 7" descr="Warning with solid fill">
            <a:extLst>
              <a:ext uri="{FF2B5EF4-FFF2-40B4-BE49-F238E27FC236}">
                <a16:creationId xmlns:a16="http://schemas.microsoft.com/office/drawing/2014/main" id="{5E985F63-7B77-9B04-5C04-AE2FA27C9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0891" y="5837206"/>
            <a:ext cx="585018" cy="585018"/>
          </a:xfrm>
          <a:prstGeom prst="rect">
            <a:avLst/>
          </a:prstGeom>
        </p:spPr>
      </p:pic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6DCE39BB-2604-408D-C2D2-AC1D55FE22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0695512"/>
              </p:ext>
            </p:extLst>
          </p:nvPr>
        </p:nvGraphicFramePr>
        <p:xfrm>
          <a:off x="5420109" y="974875"/>
          <a:ext cx="6556588" cy="44907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0" name="Picture 9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84459BBB-685B-C0F7-31E3-8996FBA3A2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301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32AEEBC8-9D30-42EF-95F2-386C2653F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313605-C632-5E8E-F05F-F0B822B19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502920"/>
            <a:ext cx="3419856" cy="146304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419" sz="4000" b="1" kern="1200">
                <a:latin typeface="+mj-lt"/>
                <a:ea typeface="+mj-ea"/>
                <a:cs typeface="+mj-cs"/>
              </a:rPr>
              <a:t>Garantizar la completitud de los datos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2E92FA66-67D7-4CB4-94D3-E643A9AD4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566159" y="1225296"/>
            <a:ext cx="1554480" cy="18288"/>
          </a:xfrm>
          <a:custGeom>
            <a:avLst/>
            <a:gdLst>
              <a:gd name="connsiteX0" fmla="*/ 0 w 1554480"/>
              <a:gd name="connsiteY0" fmla="*/ 0 h 18288"/>
              <a:gd name="connsiteX1" fmla="*/ 549250 w 1554480"/>
              <a:gd name="connsiteY1" fmla="*/ 0 h 18288"/>
              <a:gd name="connsiteX2" fmla="*/ 1082954 w 1554480"/>
              <a:gd name="connsiteY2" fmla="*/ 0 h 18288"/>
              <a:gd name="connsiteX3" fmla="*/ 1554480 w 1554480"/>
              <a:gd name="connsiteY3" fmla="*/ 0 h 18288"/>
              <a:gd name="connsiteX4" fmla="*/ 1554480 w 1554480"/>
              <a:gd name="connsiteY4" fmla="*/ 18288 h 18288"/>
              <a:gd name="connsiteX5" fmla="*/ 1067410 w 1554480"/>
              <a:gd name="connsiteY5" fmla="*/ 18288 h 18288"/>
              <a:gd name="connsiteX6" fmla="*/ 549250 w 1554480"/>
              <a:gd name="connsiteY6" fmla="*/ 18288 h 18288"/>
              <a:gd name="connsiteX7" fmla="*/ 0 w 1554480"/>
              <a:gd name="connsiteY7" fmla="*/ 18288 h 18288"/>
              <a:gd name="connsiteX8" fmla="*/ 0 w 1554480"/>
              <a:gd name="connsiteY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4480" h="18288" fill="none" extrusionOk="0">
                <a:moveTo>
                  <a:pt x="0" y="0"/>
                </a:moveTo>
                <a:cubicBezTo>
                  <a:pt x="114141" y="-19864"/>
                  <a:pt x="345055" y="-1657"/>
                  <a:pt x="549250" y="0"/>
                </a:cubicBezTo>
                <a:cubicBezTo>
                  <a:pt x="753445" y="1657"/>
                  <a:pt x="862292" y="-5674"/>
                  <a:pt x="1082954" y="0"/>
                </a:cubicBezTo>
                <a:cubicBezTo>
                  <a:pt x="1303616" y="5674"/>
                  <a:pt x="1363530" y="4537"/>
                  <a:pt x="1554480" y="0"/>
                </a:cubicBezTo>
                <a:cubicBezTo>
                  <a:pt x="1554963" y="7176"/>
                  <a:pt x="1553909" y="13682"/>
                  <a:pt x="1554480" y="18288"/>
                </a:cubicBezTo>
                <a:cubicBezTo>
                  <a:pt x="1338847" y="6127"/>
                  <a:pt x="1215066" y="37851"/>
                  <a:pt x="1067410" y="18288"/>
                </a:cubicBezTo>
                <a:cubicBezTo>
                  <a:pt x="919754" y="-1275"/>
                  <a:pt x="800465" y="3080"/>
                  <a:pt x="549250" y="18288"/>
                </a:cubicBezTo>
                <a:cubicBezTo>
                  <a:pt x="298035" y="33496"/>
                  <a:pt x="158868" y="22769"/>
                  <a:pt x="0" y="18288"/>
                </a:cubicBezTo>
                <a:cubicBezTo>
                  <a:pt x="-655" y="13237"/>
                  <a:pt x="709" y="4645"/>
                  <a:pt x="0" y="0"/>
                </a:cubicBezTo>
                <a:close/>
              </a:path>
              <a:path w="1554480" h="18288" stroke="0" extrusionOk="0">
                <a:moveTo>
                  <a:pt x="0" y="0"/>
                </a:moveTo>
                <a:cubicBezTo>
                  <a:pt x="249941" y="-58"/>
                  <a:pt x="367334" y="23448"/>
                  <a:pt x="502615" y="0"/>
                </a:cubicBezTo>
                <a:cubicBezTo>
                  <a:pt x="637897" y="-23448"/>
                  <a:pt x="813653" y="-20418"/>
                  <a:pt x="974141" y="0"/>
                </a:cubicBezTo>
                <a:cubicBezTo>
                  <a:pt x="1134629" y="20418"/>
                  <a:pt x="1268772" y="6288"/>
                  <a:pt x="1554480" y="0"/>
                </a:cubicBezTo>
                <a:cubicBezTo>
                  <a:pt x="1554917" y="7222"/>
                  <a:pt x="1555359" y="13299"/>
                  <a:pt x="1554480" y="18288"/>
                </a:cubicBezTo>
                <a:cubicBezTo>
                  <a:pt x="1336087" y="12172"/>
                  <a:pt x="1310024" y="19759"/>
                  <a:pt x="1067410" y="18288"/>
                </a:cubicBezTo>
                <a:cubicBezTo>
                  <a:pt x="824796" y="16818"/>
                  <a:pt x="787902" y="34647"/>
                  <a:pt x="518160" y="18288"/>
                </a:cubicBezTo>
                <a:cubicBezTo>
                  <a:pt x="248418" y="1930"/>
                  <a:pt x="133160" y="9205"/>
                  <a:pt x="0" y="18288"/>
                </a:cubicBezTo>
                <a:cubicBezTo>
                  <a:pt x="-643" y="9451"/>
                  <a:pt x="-340" y="711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D7393F-6E12-84E7-5931-30E07003DD0F}"/>
              </a:ext>
            </a:extLst>
          </p:cNvPr>
          <p:cNvSpPr txBox="1"/>
          <p:nvPr/>
        </p:nvSpPr>
        <p:spPr>
          <a:xfrm>
            <a:off x="4636006" y="434027"/>
            <a:ext cx="6894576" cy="1463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1700"/>
              <a:t>Las celdas subnacionales no deben estar fusionadas.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1700"/>
              <a:t>El nombre del nivel subnacional debe estar presente en todas las filas y pestañas del Exc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29B861-8A95-E06B-4FC1-9702BE967C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9935" y="2220264"/>
            <a:ext cx="7390264" cy="395935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DCB09-8624-28D6-B871-E7E484579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pic>
        <p:nvPicPr>
          <p:cNvPr id="10" name="Picture 9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84459BBB-685B-C0F7-31E3-8996FBA3A2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Graphic 9" descr="Checkmark with solid fill">
            <a:extLst>
              <a:ext uri="{FF2B5EF4-FFF2-40B4-BE49-F238E27FC236}">
                <a16:creationId xmlns:a16="http://schemas.microsoft.com/office/drawing/2014/main" id="{38C34DE3-99E5-233E-EC38-8333628C40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7161" y="3994231"/>
            <a:ext cx="669807" cy="669807"/>
          </a:xfrm>
          <a:prstGeom prst="rect">
            <a:avLst/>
          </a:prstGeom>
        </p:spPr>
      </p:pic>
      <p:pic>
        <p:nvPicPr>
          <p:cNvPr id="5" name="Graphic 10" descr="Warning with solid fill">
            <a:extLst>
              <a:ext uri="{FF2B5EF4-FFF2-40B4-BE49-F238E27FC236}">
                <a16:creationId xmlns:a16="http://schemas.microsoft.com/office/drawing/2014/main" id="{C05C2D2D-1EC6-1CD3-D19F-908CFC4625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88942" y="4003638"/>
            <a:ext cx="650993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175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19">
            <a:extLst>
              <a:ext uri="{FF2B5EF4-FFF2-40B4-BE49-F238E27FC236}">
                <a16:creationId xmlns:a16="http://schemas.microsoft.com/office/drawing/2014/main" id="{2C61293E-6EBE-43EF-A52C-9BEBFD767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742C5E3-C8A3-4FAF-A882-3386E2076F6C}"/>
              </a:ext>
            </a:extLst>
          </p:cNvPr>
          <p:cNvSpPr txBox="1"/>
          <p:nvPr/>
        </p:nvSpPr>
        <p:spPr>
          <a:xfrm>
            <a:off x="5297762" y="329184"/>
            <a:ext cx="6251110" cy="178308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5400" b="1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genda</a:t>
            </a: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06306C33-85A6-58B3-9D72-A58967320EF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13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2" name="sketchy line">
            <a:extLst>
              <a:ext uri="{FF2B5EF4-FFF2-40B4-BE49-F238E27FC236}">
                <a16:creationId xmlns:a16="http://schemas.microsoft.com/office/drawing/2014/main" id="{21540236-BFD5-4A9D-8840-4703E7F768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7762" y="237494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AB449122-A551-461A-AF15-39C4CE394FA2}"/>
              </a:ext>
            </a:extLst>
          </p:cNvPr>
          <p:cNvSpPr txBox="1">
            <a:spLocks/>
          </p:cNvSpPr>
          <p:nvPr/>
        </p:nvSpPr>
        <p:spPr>
          <a:xfrm>
            <a:off x="5297762" y="2706624"/>
            <a:ext cx="6251110" cy="34838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indent="-457200" algn="l">
              <a:buFont typeface="+mj-lt"/>
              <a:buAutoNum type="arabicPeriod"/>
            </a:pPr>
            <a:r>
              <a:rPr lang="es-419" sz="2200"/>
              <a:t>Panorama general de la herramienta</a:t>
            </a:r>
          </a:p>
          <a:p>
            <a:pPr marL="914400" indent="-457200" algn="l">
              <a:buAutoNum type="arabicPeriod"/>
            </a:pPr>
            <a:r>
              <a:rPr lang="es-419" sz="2200"/>
              <a:t>Consideraciones para preparar los datos</a:t>
            </a:r>
            <a:endParaRPr lang="es-419"/>
          </a:p>
          <a:p>
            <a:pPr marL="914400" indent="-457200" algn="l">
              <a:buFont typeface="+mj-lt"/>
              <a:buAutoNum type="arabicPeriod"/>
            </a:pPr>
            <a:r>
              <a:rPr lang="es-419" sz="2200"/>
              <a:t>Pasos para ejecutar la herramienta de riesgo </a:t>
            </a:r>
          </a:p>
        </p:txBody>
      </p:sp>
      <p:pic>
        <p:nvPicPr>
          <p:cNvPr id="2" name="Picture 1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16B1F69A-9AE7-F175-15AD-721F81A010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5171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23">
            <a:extLst>
              <a:ext uri="{FF2B5EF4-FFF2-40B4-BE49-F238E27FC236}">
                <a16:creationId xmlns:a16="http://schemas.microsoft.com/office/drawing/2014/main" id="{743AA782-23D1-4521-8CAD-47662984A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313605-C632-5E8E-F05F-F0B822B19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40080"/>
            <a:ext cx="4818888" cy="1481328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s-419" sz="4600" b="1" kern="1200">
                <a:latin typeface="+mj-lt"/>
                <a:ea typeface="+mj-ea"/>
                <a:cs typeface="+mj-cs"/>
              </a:rPr>
              <a:t>Garantizar la calidad de los datos</a:t>
            </a:r>
          </a:p>
        </p:txBody>
      </p:sp>
      <p:sp>
        <p:nvSpPr>
          <p:cNvPr id="32" name="sketch line">
            <a:extLst>
              <a:ext uri="{FF2B5EF4-FFF2-40B4-BE49-F238E27FC236}">
                <a16:creationId xmlns:a16="http://schemas.microsoft.com/office/drawing/2014/main" id="{650D18FE-0824-4A46-B22C-A86B52E578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2372868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D7393F-6E12-84E7-5931-30E07003DD0F}"/>
              </a:ext>
            </a:extLst>
          </p:cNvPr>
          <p:cNvSpPr txBox="1"/>
          <p:nvPr/>
        </p:nvSpPr>
        <p:spPr>
          <a:xfrm>
            <a:off x="630936" y="2660904"/>
            <a:ext cx="4818888" cy="35478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200"/>
              <a:t>La revisión automática de la calidad de los datos no debe reemplazar el análisis crítico de los mismos ANTES de correr el análisis de riesgo.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200"/>
              <a:t>Por ejemplo, la herramienta no asignará ningún punto de riesgo si la cobertura notificada es &gt;100%; sin embargo, debe hacerse un análisis de las posibles caus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DCB09-8624-28D6-B871-E7E484579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s-419" smtClean="0"/>
              <a:pPr>
                <a:spcAft>
                  <a:spcPts val="600"/>
                </a:spcAft>
              </a:pPr>
              <a:t>20</a:t>
            </a:fld>
            <a:endParaRPr lang="es-419"/>
          </a:p>
        </p:txBody>
      </p:sp>
      <p:pic>
        <p:nvPicPr>
          <p:cNvPr id="10" name="Picture 9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84459BBB-685B-C0F7-31E3-8996FBA3A2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5" name="Picture 4" descr="A black background with a black square&#10;&#10;Description automatically generated">
            <a:extLst>
              <a:ext uri="{FF2B5EF4-FFF2-40B4-BE49-F238E27FC236}">
                <a16:creationId xmlns:a16="http://schemas.microsoft.com/office/drawing/2014/main" id="{DFCF3BEA-4149-FBD1-90E0-17D5BC7B92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4619" y="2391156"/>
            <a:ext cx="3952168" cy="1833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832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Pasos para ejecutar la herramienta de riesgo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1784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DCC231C8-C761-4B31-9B1C-C6D19248C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12385-E265-9857-9BFF-2D03305FF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7189"/>
            <a:ext cx="3958336" cy="5555191"/>
          </a:xfrm>
        </p:spPr>
        <p:txBody>
          <a:bodyPr>
            <a:normAutofit/>
          </a:bodyPr>
          <a:lstStyle/>
          <a:p>
            <a:r>
              <a:rPr lang="es-419" sz="5200" b="1"/>
              <a:t>Flujograma para ejecutar el </a:t>
            </a:r>
            <a:r>
              <a:rPr lang="es-419" sz="5200" b="1" u="sng">
                <a:solidFill>
                  <a:schemeClr val="accent2"/>
                </a:solidFill>
              </a:rPr>
              <a:t>análisis de riesgo en lín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57BCAC-0BF3-98EF-4FF2-CE2A596B4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n-US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pic>
        <p:nvPicPr>
          <p:cNvPr id="6" name="Picture 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063C05E-F91C-18B6-FA78-08BE57697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46" name="Picture 46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13A93A18-EFC2-36B7-306E-3ACF0ABC95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9368" y="556403"/>
            <a:ext cx="6319682" cy="4970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6948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rgbClr val="2F5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D66238-0C79-8352-4641-ABE653AF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162"/>
            <a:ext cx="2840182" cy="2371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2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Organización y contenido de carpetas</a:t>
            </a:r>
            <a:endParaRPr lang="es-419" sz="3200" kern="1200">
              <a:solidFill>
                <a:srgbClr val="FFFFFF"/>
              </a:solidFill>
              <a:latin typeface="+mj-l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25D76D-EF11-8A6D-9D31-051447DEE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6476" y="6356350"/>
            <a:ext cx="625443" cy="365125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fld id="{51864FEA-1DA4-48A5-8C27-3E4FD55277C5}" type="slidenum">
              <a:rPr lang="en-US" smtClean="0"/>
              <a:pPr algn="l">
                <a:spcAft>
                  <a:spcPts val="600"/>
                </a:spcAft>
              </a:pPr>
              <a:t>23</a:t>
            </a:fld>
            <a:endParaRPr lang="en-US"/>
          </a:p>
        </p:txBody>
      </p:sp>
      <p:pic>
        <p:nvPicPr>
          <p:cNvPr id="7" name="Picture 6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7E461AE-EE96-3352-5647-98F0FBC084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8" name="Picture 5" descr="A yellow folder with text&#10;&#10;Description automatically generated">
            <a:extLst>
              <a:ext uri="{FF2B5EF4-FFF2-40B4-BE49-F238E27FC236}">
                <a16:creationId xmlns:a16="http://schemas.microsoft.com/office/drawing/2014/main" id="{EF9E5299-E454-5EB2-A6FB-447050980C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57" b="14155"/>
          <a:stretch/>
        </p:blipFill>
        <p:spPr>
          <a:xfrm>
            <a:off x="1166150" y="3516145"/>
            <a:ext cx="1542688" cy="13347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8CB9CD4-F952-43AC-B92A-3AC52CB25AE1}"/>
              </a:ext>
            </a:extLst>
          </p:cNvPr>
          <p:cNvSpPr txBox="1"/>
          <p:nvPr/>
        </p:nvSpPr>
        <p:spPr>
          <a:xfrm>
            <a:off x="1170002" y="4955445"/>
            <a:ext cx="163707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419">
                <a:cs typeface="Calibri"/>
              </a:rPr>
              <a:t>Riesgo SR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69FDD94-0F25-0D8A-68DE-6C34E2F369C1}"/>
              </a:ext>
            </a:extLst>
          </p:cNvPr>
          <p:cNvSpPr txBox="1">
            <a:spLocks/>
          </p:cNvSpPr>
          <p:nvPr/>
        </p:nvSpPr>
        <p:spPr>
          <a:xfrm>
            <a:off x="711482" y="5222345"/>
            <a:ext cx="2625637" cy="9394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419" sz="1600" b="1">
                <a:solidFill>
                  <a:schemeClr val="bg2">
                    <a:lumMod val="25000"/>
                  </a:schemeClr>
                </a:solidFill>
                <a:cs typeface="Calibri Light"/>
              </a:rPr>
              <a:t>Crear folder de trabajo</a:t>
            </a:r>
            <a:br>
              <a:rPr lang="es-419" sz="1600" b="1">
                <a:solidFill>
                  <a:schemeClr val="bg2">
                    <a:lumMod val="25000"/>
                  </a:schemeClr>
                </a:solidFill>
                <a:cs typeface="Calibri Light"/>
              </a:rPr>
            </a:br>
            <a:r>
              <a:rPr lang="es-419" sz="1600" b="1">
                <a:solidFill>
                  <a:schemeClr val="bg2">
                    <a:lumMod val="25000"/>
                  </a:schemeClr>
                </a:solidFill>
                <a:cs typeface="Calibri Light"/>
              </a:rPr>
              <a:t>(Sugerencia: en escritorio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53186-38C7-2C8E-41B6-FA30088A60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6200" y="224666"/>
            <a:ext cx="8116725" cy="6004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39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o 1: Preparar y configurar herramienta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511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cs typeface="Calibri Light"/>
              </a:rPr>
              <a:t>Instalar R y R Studi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2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074DD-8CF2-2B15-B89B-0526D30FCA8E}"/>
              </a:ext>
            </a:extLst>
          </p:cNvPr>
          <p:cNvSpPr txBox="1"/>
          <p:nvPr/>
        </p:nvSpPr>
        <p:spPr>
          <a:xfrm>
            <a:off x="4450921" y="2131290"/>
            <a:ext cx="6759713" cy="1622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7150">
              <a:lnSpc>
                <a:spcPct val="90000"/>
              </a:lnSpc>
              <a:spcAft>
                <a:spcPts val="600"/>
              </a:spcAft>
            </a:pPr>
            <a:r>
              <a:rPr lang="es-419" sz="2800" b="1">
                <a:solidFill>
                  <a:srgbClr val="0070C0"/>
                </a:solidFill>
                <a:ea typeface="+mn-lt"/>
                <a:cs typeface="+mn-lt"/>
              </a:rPr>
              <a:t>https://cran.rstudio.com/</a:t>
            </a:r>
            <a:endParaRPr lang="en-US" sz="2800" b="1">
              <a:solidFill>
                <a:srgbClr val="0070C0"/>
              </a:solidFill>
              <a:cs typeface="Calibri"/>
            </a:endParaRPr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A0C4038-5C04-1A3E-6278-E8F53F4C02C3}"/>
              </a:ext>
            </a:extLst>
          </p:cNvPr>
          <p:cNvSpPr txBox="1"/>
          <p:nvPr/>
        </p:nvSpPr>
        <p:spPr>
          <a:xfrm>
            <a:off x="4450921" y="3675082"/>
            <a:ext cx="8788415" cy="1622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7150">
              <a:lnSpc>
                <a:spcPct val="90000"/>
              </a:lnSpc>
              <a:spcAft>
                <a:spcPts val="600"/>
              </a:spcAft>
            </a:pPr>
            <a:r>
              <a:rPr lang="es-419" sz="2800" b="1">
                <a:solidFill>
                  <a:srgbClr val="0070C0"/>
                </a:solidFill>
              </a:rPr>
              <a:t>https://posit.co/download/rstudio-desktop/</a:t>
            </a:r>
            <a:endParaRPr lang="en-US" sz="2800"/>
          </a:p>
        </p:txBody>
      </p:sp>
      <p:pic>
        <p:nvPicPr>
          <p:cNvPr id="6" name="Picture 7" descr="A blue and grey logo&#10;&#10;Description automatically generated">
            <a:extLst>
              <a:ext uri="{FF2B5EF4-FFF2-40B4-BE49-F238E27FC236}">
                <a16:creationId xmlns:a16="http://schemas.microsoft.com/office/drawing/2014/main" id="{E12FDDD5-852C-0ED4-B85E-0E632031F3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9925" y="2347479"/>
            <a:ext cx="1241344" cy="955717"/>
          </a:xfrm>
          <a:prstGeom prst="rect">
            <a:avLst/>
          </a:prstGeom>
        </p:spPr>
      </p:pic>
      <p:pic>
        <p:nvPicPr>
          <p:cNvPr id="8" name="Picture 11" descr="A blue globe with a black background&#10;&#10;Description automatically generated">
            <a:extLst>
              <a:ext uri="{FF2B5EF4-FFF2-40B4-BE49-F238E27FC236}">
                <a16:creationId xmlns:a16="http://schemas.microsoft.com/office/drawing/2014/main" id="{D0EE27CB-17F6-8E79-8662-1918D1BE64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9309" y="3956752"/>
            <a:ext cx="2743200" cy="96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6702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10" y="266803"/>
            <a:ext cx="10896600" cy="83394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cs typeface="Calibri Light"/>
              </a:rPr>
              <a:t>Configuración R Studi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26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8" name="Picture 11" descr="A blue globe with a black background&#10;&#10;Description automatically generated">
            <a:extLst>
              <a:ext uri="{FF2B5EF4-FFF2-40B4-BE49-F238E27FC236}">
                <a16:creationId xmlns:a16="http://schemas.microsoft.com/office/drawing/2014/main" id="{D0EE27CB-17F6-8E79-8662-1918D1BE64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7567" y="367978"/>
            <a:ext cx="1796845" cy="63146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45BEB0-8D9C-3814-7F82-FC97A7275D3A}"/>
              </a:ext>
            </a:extLst>
          </p:cNvPr>
          <p:cNvSpPr txBox="1"/>
          <p:nvPr/>
        </p:nvSpPr>
        <p:spPr>
          <a:xfrm>
            <a:off x="528483" y="1093838"/>
            <a:ext cx="7017773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2000">
                <a:cs typeface="Calibri" panose="020F0502020204030204"/>
              </a:rPr>
              <a:t>Una vez instalado R Studio ir a:</a:t>
            </a:r>
          </a:p>
          <a:p>
            <a:pPr marL="285750" indent="-285750">
              <a:buFont typeface="Wingdings"/>
              <a:buChar char="Ø"/>
            </a:pPr>
            <a:r>
              <a:rPr lang="es-419" sz="2000">
                <a:cs typeface="Calibri" panose="020F0502020204030204"/>
              </a:rPr>
              <a:t>Tools (herramientas)</a:t>
            </a:r>
          </a:p>
          <a:p>
            <a:pPr marL="742950" lvl="1" indent="-285750">
              <a:buFont typeface="Wingdings"/>
              <a:buChar char="Ø"/>
            </a:pPr>
            <a:r>
              <a:rPr lang="es-419" sz="2000">
                <a:cs typeface="Calibri" panose="020F0502020204030204"/>
              </a:rPr>
              <a:t>Global </a:t>
            </a:r>
            <a:r>
              <a:rPr lang="es-419" sz="2000" err="1">
                <a:cs typeface="Calibri" panose="020F0502020204030204"/>
              </a:rPr>
              <a:t>options</a:t>
            </a:r>
            <a:r>
              <a:rPr lang="es-419" sz="2000">
                <a:cs typeface="Calibri" panose="020F0502020204030204"/>
              </a:rPr>
              <a:t> (Opciones globales)</a:t>
            </a:r>
            <a:endParaRPr lang="es-419" sz="2000" b="1">
              <a:solidFill>
                <a:srgbClr val="C00000"/>
              </a:solidFill>
              <a:cs typeface="Calibri" panose="020F0502020204030204"/>
            </a:endParaRPr>
          </a:p>
        </p:txBody>
      </p:sp>
      <p:pic>
        <p:nvPicPr>
          <p:cNvPr id="10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B5E5D9C0-7BB3-97D5-9B64-924B4C738EA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27" r="-450" b="325"/>
          <a:stretch/>
        </p:blipFill>
        <p:spPr>
          <a:xfrm>
            <a:off x="8536858" y="1274354"/>
            <a:ext cx="2681459" cy="3768538"/>
          </a:xfrm>
          <a:prstGeom prst="rect">
            <a:avLst/>
          </a:prstGeom>
        </p:spPr>
      </p:pic>
      <p:pic>
        <p:nvPicPr>
          <p:cNvPr id="13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7E6922AC-00A1-CE34-715D-30C40481C0D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74" r="-206" b="38843"/>
          <a:stretch/>
        </p:blipFill>
        <p:spPr>
          <a:xfrm>
            <a:off x="730045" y="2519515"/>
            <a:ext cx="7524140" cy="3411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851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10" y="266803"/>
            <a:ext cx="10896600" cy="83394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cs typeface="Calibri Light"/>
              </a:rPr>
              <a:t>Configuración R Studi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27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8" name="Picture 11" descr="A blue globe with a black background&#10;&#10;Description automatically generated">
            <a:extLst>
              <a:ext uri="{FF2B5EF4-FFF2-40B4-BE49-F238E27FC236}">
                <a16:creationId xmlns:a16="http://schemas.microsoft.com/office/drawing/2014/main" id="{D0EE27CB-17F6-8E79-8662-1918D1BE64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7567" y="367978"/>
            <a:ext cx="1796845" cy="63146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45BEB0-8D9C-3814-7F82-FC97A7275D3A}"/>
              </a:ext>
            </a:extLst>
          </p:cNvPr>
          <p:cNvSpPr txBox="1"/>
          <p:nvPr/>
        </p:nvSpPr>
        <p:spPr>
          <a:xfrm>
            <a:off x="7005483" y="1241321"/>
            <a:ext cx="4658032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>
                <a:cs typeface="Calibri" panose="020F0502020204030204"/>
              </a:rPr>
              <a:t>Una vez instalado R Studio ir a:</a:t>
            </a:r>
          </a:p>
          <a:p>
            <a:pPr marL="285750" indent="-285750">
              <a:buFont typeface="Wingdings"/>
              <a:buChar char="Ø"/>
            </a:pPr>
            <a:r>
              <a:rPr lang="es-419">
                <a:cs typeface="Calibri" panose="020F0502020204030204"/>
              </a:rPr>
              <a:t>Tools (herramientas)</a:t>
            </a:r>
          </a:p>
          <a:p>
            <a:pPr marL="742950" lvl="1" indent="-285750">
              <a:buFont typeface="Wingdings"/>
              <a:buChar char="Ø"/>
            </a:pPr>
            <a:r>
              <a:rPr lang="es-419">
                <a:cs typeface="Calibri" panose="020F0502020204030204"/>
              </a:rPr>
              <a:t>Global </a:t>
            </a:r>
            <a:r>
              <a:rPr lang="es-419" err="1">
                <a:cs typeface="Calibri" panose="020F0502020204030204"/>
              </a:rPr>
              <a:t>options</a:t>
            </a:r>
            <a:r>
              <a:rPr lang="es-419">
                <a:cs typeface="Calibri" panose="020F0502020204030204"/>
              </a:rPr>
              <a:t> (Opciones globales)</a:t>
            </a:r>
          </a:p>
          <a:p>
            <a:pPr marL="1200150" lvl="2" indent="-285750">
              <a:buFont typeface="Wingdings"/>
              <a:buChar char="Ø"/>
            </a:pPr>
            <a:r>
              <a:rPr lang="es-419" err="1">
                <a:cs typeface="Calibri" panose="020F0502020204030204"/>
              </a:rPr>
              <a:t>Code</a:t>
            </a:r>
            <a:r>
              <a:rPr lang="es-419">
                <a:cs typeface="Calibri" panose="020F0502020204030204"/>
              </a:rPr>
              <a:t> (Código)</a:t>
            </a:r>
          </a:p>
          <a:p>
            <a:pPr marL="1657350" lvl="3" indent="-285750">
              <a:buFont typeface="Wingdings"/>
              <a:buChar char="Ø"/>
            </a:pPr>
            <a:r>
              <a:rPr lang="es-419" err="1">
                <a:cs typeface="Calibri" panose="020F0502020204030204"/>
              </a:rPr>
              <a:t>Saving</a:t>
            </a:r>
            <a:r>
              <a:rPr lang="es-419">
                <a:cs typeface="Calibri" panose="020F0502020204030204"/>
              </a:rPr>
              <a:t> (Guardado)</a:t>
            </a:r>
          </a:p>
          <a:p>
            <a:pPr marL="2114550" lvl="4" indent="-285750">
              <a:buFont typeface="Wingdings"/>
              <a:buChar char="Ø"/>
            </a:pPr>
            <a:r>
              <a:rPr lang="es-419">
                <a:cs typeface="Calibri" panose="020F0502020204030204"/>
              </a:rPr>
              <a:t>Default </a:t>
            </a:r>
            <a:r>
              <a:rPr lang="es-419" err="1">
                <a:cs typeface="Calibri" panose="020F0502020204030204"/>
              </a:rPr>
              <a:t>text</a:t>
            </a:r>
            <a:r>
              <a:rPr lang="es-419">
                <a:cs typeface="Calibri" panose="020F0502020204030204"/>
              </a:rPr>
              <a:t> </a:t>
            </a:r>
            <a:r>
              <a:rPr lang="es-419" err="1">
                <a:cs typeface="Calibri" panose="020F0502020204030204"/>
              </a:rPr>
              <a:t>encoding</a:t>
            </a:r>
            <a:r>
              <a:rPr lang="es-419">
                <a:cs typeface="Calibri" panose="020F0502020204030204"/>
              </a:rPr>
              <a:t>:</a:t>
            </a:r>
          </a:p>
          <a:p>
            <a:pPr marL="2571750" lvl="5" indent="-285750">
              <a:buFont typeface="Wingdings"/>
              <a:buChar char="Ø"/>
            </a:pPr>
            <a:r>
              <a:rPr lang="es-419" b="1">
                <a:solidFill>
                  <a:srgbClr val="C00000"/>
                </a:solidFill>
                <a:cs typeface="Calibri" panose="020F0502020204030204"/>
              </a:rPr>
              <a:t>Cambiar a UTF-8</a:t>
            </a:r>
          </a:p>
          <a:p>
            <a:pPr marL="2571750" lvl="5" indent="-285750">
              <a:buFont typeface="Wingdings"/>
              <a:buChar char="Ø"/>
            </a:pPr>
            <a:r>
              <a:rPr lang="es-419" b="1">
                <a:solidFill>
                  <a:srgbClr val="C00000"/>
                </a:solidFill>
                <a:cs typeface="Calibri" panose="020F0502020204030204"/>
              </a:rPr>
              <a:t>Aplicar</a:t>
            </a:r>
          </a:p>
        </p:txBody>
      </p:sp>
      <p:pic>
        <p:nvPicPr>
          <p:cNvPr id="11" name="Picture 11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71BA5689-2047-F6BD-306A-C7815640F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367" y="1436289"/>
            <a:ext cx="4586748" cy="4735131"/>
          </a:xfrm>
          <a:prstGeom prst="rect">
            <a:avLst/>
          </a:prstGeom>
        </p:spPr>
      </p:pic>
      <p:pic>
        <p:nvPicPr>
          <p:cNvPr id="12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E0C66C23-3826-E707-DD5E-C00E64A9BD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16015" y="3377887"/>
            <a:ext cx="3480618" cy="3150225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9AB0DB8-F5A7-C4CA-65FD-02E6B7F4D73E}"/>
              </a:ext>
            </a:extLst>
          </p:cNvPr>
          <p:cNvCxnSpPr/>
          <p:nvPr/>
        </p:nvCxnSpPr>
        <p:spPr>
          <a:xfrm>
            <a:off x="4427487" y="3512856"/>
            <a:ext cx="705866" cy="7401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4F253B7-6484-18AB-5955-6229D25ADE59}"/>
              </a:ext>
            </a:extLst>
          </p:cNvPr>
          <p:cNvCxnSpPr>
            <a:cxnSpLocks/>
          </p:cNvCxnSpPr>
          <p:nvPr/>
        </p:nvCxnSpPr>
        <p:spPr>
          <a:xfrm flipV="1">
            <a:off x="1404067" y="1922514"/>
            <a:ext cx="1406414" cy="115502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3B1B61D-9640-0752-073D-C8C7566286B9}"/>
              </a:ext>
            </a:extLst>
          </p:cNvPr>
          <p:cNvCxnSpPr>
            <a:cxnSpLocks/>
          </p:cNvCxnSpPr>
          <p:nvPr/>
        </p:nvCxnSpPr>
        <p:spPr>
          <a:xfrm>
            <a:off x="3223035" y="1915113"/>
            <a:ext cx="632124" cy="1494530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0070C52-BCA3-1D8D-C3AF-5F52FE470F85}"/>
              </a:ext>
            </a:extLst>
          </p:cNvPr>
          <p:cNvCxnSpPr>
            <a:cxnSpLocks/>
          </p:cNvCxnSpPr>
          <p:nvPr/>
        </p:nvCxnSpPr>
        <p:spPr>
          <a:xfrm>
            <a:off x="6602873" y="3979886"/>
            <a:ext cx="730446" cy="2170497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8E908A5-0CB9-AD18-31A0-F3ABE8E6F0B1}"/>
              </a:ext>
            </a:extLst>
          </p:cNvPr>
          <p:cNvCxnSpPr>
            <a:cxnSpLocks/>
          </p:cNvCxnSpPr>
          <p:nvPr/>
        </p:nvCxnSpPr>
        <p:spPr>
          <a:xfrm flipH="1" flipV="1">
            <a:off x="4899834" y="6064350"/>
            <a:ext cx="2133199" cy="250695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0766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cs typeface="Calibri Light"/>
              </a:rPr>
              <a:t>Verificar acceso a GitHu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2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074DD-8CF2-2B15-B89B-0526D30FCA8E}"/>
              </a:ext>
            </a:extLst>
          </p:cNvPr>
          <p:cNvSpPr txBox="1"/>
          <p:nvPr/>
        </p:nvSpPr>
        <p:spPr>
          <a:xfrm>
            <a:off x="2719103" y="1626589"/>
            <a:ext cx="6759713" cy="85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7150" algn="ctr">
              <a:lnSpc>
                <a:spcPct val="90000"/>
              </a:lnSpc>
              <a:spcAft>
                <a:spcPts val="600"/>
              </a:spcAft>
            </a:pPr>
            <a:r>
              <a:rPr lang="es-419" sz="2800" b="1" dirty="0">
                <a:solidFill>
                  <a:srgbClr val="0070C0"/>
                </a:solidFill>
                <a:ea typeface="+mn-lt"/>
                <a:cs typeface="+mn-lt"/>
              </a:rPr>
              <a:t>https://github.com</a:t>
            </a:r>
            <a:endParaRPr lang="en-US" sz="2800" b="1" dirty="0">
              <a:solidFill>
                <a:srgbClr val="0070C0"/>
              </a:solidFill>
              <a:cs typeface="Calibri"/>
            </a:endParaRPr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70D3C54D-033C-0175-8D91-7C5CCBF1E9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4218" y="2368259"/>
            <a:ext cx="8413667" cy="4209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1052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solidFill>
                  <a:srgbClr val="000000"/>
                </a:solidFill>
              </a:rPr>
              <a:t>Descargar herramien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2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074DD-8CF2-2B15-B89B-0526D30FCA8E}"/>
              </a:ext>
            </a:extLst>
          </p:cNvPr>
          <p:cNvSpPr txBox="1"/>
          <p:nvPr/>
        </p:nvSpPr>
        <p:spPr>
          <a:xfrm>
            <a:off x="3764662" y="2653805"/>
            <a:ext cx="5652656" cy="1622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7150">
              <a:lnSpc>
                <a:spcPct val="90000"/>
              </a:lnSpc>
              <a:spcAft>
                <a:spcPts val="600"/>
              </a:spcAft>
            </a:pPr>
            <a:r>
              <a:rPr lang="es-419" sz="2000" b="1" dirty="0">
                <a:solidFill>
                  <a:srgbClr val="0070C0"/>
                </a:solidFill>
                <a:cs typeface="Calibri"/>
              </a:rPr>
              <a:t>https://drive.google.com/drive/folders/1IZD8T8tNRf_l95vvEFbzymiKp662R2Tg?usp=sharing</a:t>
            </a:r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Graphic 8" descr="Download with solid fill">
            <a:extLst>
              <a:ext uri="{FF2B5EF4-FFF2-40B4-BE49-F238E27FC236}">
                <a16:creationId xmlns:a16="http://schemas.microsoft.com/office/drawing/2014/main" id="{865095FD-662C-3D19-EDCB-3A9CAC3B34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97169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0511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Panorama general de la herramienta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2078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813" y="217641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solidFill>
                  <a:srgbClr val="000000"/>
                </a:solidFill>
              </a:rPr>
              <a:t>Folder</a:t>
            </a:r>
            <a:r>
              <a:rPr lang="es-419" b="1"/>
              <a:t> de trabajo</a:t>
            </a:r>
            <a:endParaRPr lang="es-419" b="1">
              <a:ea typeface="Calibri Light" panose="020F0302020204030204"/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0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Picture 5" descr="A yellow folder with a zipper&#10;&#10;Description automatically generated">
            <a:extLst>
              <a:ext uri="{FF2B5EF4-FFF2-40B4-BE49-F238E27FC236}">
                <a16:creationId xmlns:a16="http://schemas.microsoft.com/office/drawing/2014/main" id="{7403A528-E2EA-6646-C84D-2CD01BDC5D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0005" y="2718048"/>
            <a:ext cx="750852" cy="75085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81E2CA3-79FC-9397-5B7F-4742BCA58D84}"/>
              </a:ext>
            </a:extLst>
          </p:cNvPr>
          <p:cNvSpPr txBox="1"/>
          <p:nvPr/>
        </p:nvSpPr>
        <p:spPr>
          <a:xfrm>
            <a:off x="467032" y="1659193"/>
            <a:ext cx="4707193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AutoNum type="arabicPeriod"/>
            </a:pPr>
            <a:r>
              <a:rPr lang="es-419">
                <a:cs typeface="Calibri" panose="020F0502020204030204"/>
              </a:rPr>
              <a:t>Colocar archivos del drive en folder de trabajo "Riesgo SR".</a:t>
            </a:r>
          </a:p>
          <a:p>
            <a:pPr marL="342900" indent="-342900">
              <a:buAutoNum type="arabicPeriod"/>
            </a:pPr>
            <a:r>
              <a:rPr lang="es-419">
                <a:cs typeface="Calibri" panose="020F0502020204030204"/>
              </a:rPr>
              <a:t>Descomprimir OMRAT_Ejecutable</a:t>
            </a:r>
          </a:p>
          <a:p>
            <a:pPr marL="342900" indent="-342900">
              <a:buAutoNum type="arabicPeriod"/>
            </a:pPr>
            <a:endParaRPr lang="es-419">
              <a:cs typeface="Calibri" panose="020F0502020204030204"/>
            </a:endParaRPr>
          </a:p>
          <a:p>
            <a:pPr marL="342900" indent="-342900">
              <a:buAutoNum type="arabicPeriod"/>
            </a:pPr>
            <a:endParaRPr lang="es-419">
              <a:cs typeface="Calibri" panose="020F0502020204030204"/>
            </a:endParaRPr>
          </a:p>
          <a:p>
            <a:pPr marL="342900" indent="-342900">
              <a:buAutoNum type="arabicPeriod"/>
            </a:pPr>
            <a:endParaRPr lang="es-419">
              <a:cs typeface="Calibri" panose="020F0502020204030204"/>
            </a:endParaRPr>
          </a:p>
          <a:p>
            <a:pPr marL="342900" indent="-342900">
              <a:buAutoNum type="arabicPeriod"/>
            </a:pPr>
            <a:endParaRPr lang="es-419">
              <a:cs typeface="Calibri" panose="020F0502020204030204"/>
            </a:endParaRPr>
          </a:p>
          <a:p>
            <a:pPr marL="342900" indent="-342900">
              <a:buAutoNum type="arabicPeriod"/>
            </a:pPr>
            <a:endParaRPr lang="es-419">
              <a:cs typeface="Calibri" panose="020F0502020204030204"/>
            </a:endParaRPr>
          </a:p>
          <a:p>
            <a:pPr marL="342900" indent="-342900">
              <a:buAutoNum type="arabicPeriod"/>
            </a:pPr>
            <a:r>
              <a:rPr lang="es-419">
                <a:cs typeface="Calibri" panose="020F0502020204030204"/>
              </a:rPr>
              <a:t>Contenidos de "Riesgo SR":</a:t>
            </a:r>
          </a:p>
          <a:p>
            <a:pPr marL="742950" lvl="1" indent="-285750">
              <a:buFont typeface="Arial,Sans-Serif"/>
              <a:buChar char="•"/>
            </a:pPr>
            <a:r>
              <a:rPr lang="en-US" err="1">
                <a:latin typeface="Arial"/>
                <a:cs typeface="Arial"/>
              </a:rPr>
              <a:t>municipios.json</a:t>
            </a:r>
            <a:endParaRPr lang="en-US">
              <a:latin typeface="Arial"/>
              <a:cs typeface="Arial"/>
            </a:endParaRPr>
          </a:p>
          <a:p>
            <a:pPr marL="742950" lvl="1" indent="-285750">
              <a:buFont typeface="Arial,Sans-Serif"/>
              <a:buChar char="•"/>
            </a:pPr>
            <a:r>
              <a:rPr lang="en-US" err="1">
                <a:latin typeface="Arial"/>
                <a:cs typeface="Arial"/>
              </a:rPr>
              <a:t>country_data.xlsx</a:t>
            </a:r>
            <a:endParaRPr lang="en-US">
              <a:latin typeface="Arial"/>
              <a:cs typeface="Arial"/>
            </a:endParaRPr>
          </a:p>
          <a:p>
            <a:pPr marL="742950" lvl="1" indent="-285750">
              <a:buFont typeface="Arial,Sans-Serif"/>
              <a:buChar char="•"/>
            </a:pPr>
            <a:r>
              <a:rPr lang="en-US" err="1">
                <a:latin typeface="Arial"/>
                <a:cs typeface="Arial"/>
              </a:rPr>
              <a:t>country_flag.png</a:t>
            </a:r>
            <a:endParaRPr lang="en-US">
              <a:latin typeface="Arial"/>
              <a:cs typeface="Arial"/>
            </a:endParaRPr>
          </a:p>
          <a:p>
            <a:pPr marL="742950" lvl="1" indent="-285750">
              <a:buFont typeface="Arial,Sans-Serif"/>
              <a:buChar char="•"/>
            </a:pPr>
            <a:r>
              <a:rPr lang="en-US" err="1">
                <a:latin typeface="Arial"/>
                <a:cs typeface="Arial"/>
              </a:rPr>
              <a:t>OMRAT_Ejecutable</a:t>
            </a:r>
            <a:endParaRPr lang="en-US">
              <a:latin typeface="Arial"/>
              <a:cs typeface="Arial"/>
            </a:endParaRPr>
          </a:p>
          <a:p>
            <a:pPr lvl="1"/>
            <a:endParaRPr lang="es-419">
              <a:cs typeface="Calibri" panose="020F0502020204030204"/>
            </a:endParaRPr>
          </a:p>
          <a:p>
            <a:pPr marL="342900" indent="-342900">
              <a:buAutoNum type="arabicPeriod"/>
            </a:pPr>
            <a:endParaRPr lang="es-419">
              <a:cs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B7C35E-3F6E-21CC-D1A2-2E395FCD11CA}"/>
              </a:ext>
            </a:extLst>
          </p:cNvPr>
          <p:cNvSpPr txBox="1"/>
          <p:nvPr/>
        </p:nvSpPr>
        <p:spPr>
          <a:xfrm>
            <a:off x="6980902" y="1474838"/>
            <a:ext cx="326922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>
                <a:cs typeface="Calibri"/>
              </a:rPr>
              <a:t>Ejemplo de folder de trabajo: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7791CE14-5EC0-6D63-871D-DF1B941723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324" y="1653363"/>
            <a:ext cx="6157038" cy="4569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827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67475" cy="82469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Colocar </a:t>
            </a:r>
            <a:r>
              <a:rPr lang="es-419" sz="3200" b="1">
                <a:solidFill>
                  <a:srgbClr val="000000"/>
                </a:solidFill>
                <a:ea typeface="+mj-lt"/>
                <a:cs typeface="+mj-lt"/>
              </a:rPr>
              <a:t>country_data.xlsx </a:t>
            </a:r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y </a:t>
            </a:r>
            <a:r>
              <a:rPr lang="es-419" sz="3200" b="1">
                <a:solidFill>
                  <a:srgbClr val="000000"/>
                </a:solidFill>
                <a:ea typeface="+mj-lt"/>
                <a:cs typeface="+mj-lt"/>
              </a:rPr>
              <a:t>country_flag.png</a:t>
            </a:r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 en /Data/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1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595A33FF-D12A-0A73-781B-2381EC41A5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45718" y="916946"/>
            <a:ext cx="6305668" cy="3166693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E8A2116-9286-2FD0-584E-00208FA7B2CC}"/>
              </a:ext>
            </a:extLst>
          </p:cNvPr>
          <p:cNvSpPr/>
          <p:nvPr/>
        </p:nvSpPr>
        <p:spPr>
          <a:xfrm>
            <a:off x="8718755" y="4550580"/>
            <a:ext cx="1589314" cy="979714"/>
          </a:xfrm>
          <a:prstGeom prst="roundRect">
            <a:avLst/>
          </a:prstGeom>
          <a:solidFill>
            <a:srgbClr val="ED7D3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000" b="1">
                <a:ea typeface="Calibri"/>
                <a:cs typeface="Calibri"/>
              </a:rPr>
              <a:t>2/3</a:t>
            </a:r>
          </a:p>
        </p:txBody>
      </p:sp>
      <p:pic>
        <p:nvPicPr>
          <p:cNvPr id="3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7809477C-4688-7C98-7924-9BC963BEE6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2885" y="4548913"/>
            <a:ext cx="6725264" cy="1865141"/>
          </a:xfrm>
          <a:prstGeom prst="rect">
            <a:avLst/>
          </a:prstGeom>
        </p:spPr>
      </p:pic>
      <p:pic>
        <p:nvPicPr>
          <p:cNvPr id="5" name="Graphic 13" descr="Checkmark with solid fill">
            <a:extLst>
              <a:ext uri="{FF2B5EF4-FFF2-40B4-BE49-F238E27FC236}">
                <a16:creationId xmlns:a16="http://schemas.microsoft.com/office/drawing/2014/main" id="{1375D122-B4A8-D9B1-8357-6F2B96F19F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1984" y="5103644"/>
            <a:ext cx="545691" cy="545691"/>
          </a:xfrm>
          <a:prstGeom prst="rect">
            <a:avLst/>
          </a:prstGeom>
        </p:spPr>
      </p:pic>
      <p:pic>
        <p:nvPicPr>
          <p:cNvPr id="6" name="Graphic 13" descr="Checkmark with solid fill">
            <a:extLst>
              <a:ext uri="{FF2B5EF4-FFF2-40B4-BE49-F238E27FC236}">
                <a16:creationId xmlns:a16="http://schemas.microsoft.com/office/drawing/2014/main" id="{0344CD64-2DFD-4976-6ADA-AF061F3EB9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1983" y="5656708"/>
            <a:ext cx="545691" cy="5456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59B001A-B9D9-2314-313E-348D83B0FE0E}"/>
              </a:ext>
            </a:extLst>
          </p:cNvPr>
          <p:cNvSpPr txBox="1"/>
          <p:nvPr/>
        </p:nvSpPr>
        <p:spPr>
          <a:xfrm>
            <a:off x="437840" y="1805265"/>
            <a:ext cx="1837720" cy="341632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2400" b="1">
                <a:ea typeface="+mn-lt"/>
                <a:cs typeface="+mn-lt"/>
              </a:rPr>
              <a:t>Importante: La</a:t>
            </a:r>
            <a:r>
              <a:rPr lang="es-419" sz="2400" b="1">
                <a:ea typeface="Calibri"/>
                <a:cs typeface="Calibri"/>
              </a:rPr>
              <a:t> bandera del país siempre debe guardarse en </a:t>
            </a:r>
            <a:r>
              <a:rPr lang="es-419" sz="2400" b="1" u="sng">
                <a:ea typeface="Calibri"/>
                <a:cs typeface="Calibri"/>
              </a:rPr>
              <a:t>PNG,</a:t>
            </a:r>
            <a:r>
              <a:rPr lang="es-419" sz="2400" b="1">
                <a:ea typeface="Calibri"/>
                <a:cs typeface="Calibri"/>
              </a:rPr>
              <a:t> no en JPG u otra extensión. </a:t>
            </a:r>
          </a:p>
        </p:txBody>
      </p:sp>
    </p:spTree>
    <p:extLst>
      <p:ext uri="{BB962C8B-B14F-4D97-AF65-F5344CB8AC3E}">
        <p14:creationId xmlns:p14="http://schemas.microsoft.com/office/powerpoint/2010/main" val="4297833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691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b="1">
                <a:solidFill>
                  <a:srgbClr val="000000"/>
                </a:solidFill>
              </a:rPr>
              <a:t>Configurar paquetes de R – </a:t>
            </a:r>
            <a:r>
              <a:rPr lang="es-419" b="1" err="1">
                <a:solidFill>
                  <a:srgbClr val="000000"/>
                </a:solidFill>
              </a:rPr>
              <a:t>config.R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2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6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E99594FB-10F1-2A2C-DF84-E6DAD43DE1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467" y="2074198"/>
            <a:ext cx="4511616" cy="2986952"/>
          </a:xfrm>
          <a:prstGeom prst="rect">
            <a:avLst/>
          </a:prstGeom>
        </p:spPr>
      </p:pic>
      <p:pic>
        <p:nvPicPr>
          <p:cNvPr id="8" name="Picture 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A557D098-194A-1B9D-3BB5-04F820C3F9A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9481"/>
          <a:stretch/>
        </p:blipFill>
        <p:spPr>
          <a:xfrm>
            <a:off x="4872580" y="1067114"/>
            <a:ext cx="6682595" cy="2032221"/>
          </a:xfrm>
          <a:prstGeom prst="rect">
            <a:avLst/>
          </a:prstGeom>
        </p:spPr>
      </p:pic>
      <p:pic>
        <p:nvPicPr>
          <p:cNvPr id="3" name="Picture 4" descr="A blue and black square with a black background&#10;&#10;Description automatically generated">
            <a:extLst>
              <a:ext uri="{FF2B5EF4-FFF2-40B4-BE49-F238E27FC236}">
                <a16:creationId xmlns:a16="http://schemas.microsoft.com/office/drawing/2014/main" id="{6197D457-84AB-43D5-C5B7-F3DECDAC64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9381" y="4977823"/>
            <a:ext cx="1982429" cy="944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DB7A65-9B84-6F9B-51BD-E048F284BA41}"/>
              </a:ext>
            </a:extLst>
          </p:cNvPr>
          <p:cNvSpPr txBox="1"/>
          <p:nvPr/>
        </p:nvSpPr>
        <p:spPr>
          <a:xfrm>
            <a:off x="589280" y="1706880"/>
            <a:ext cx="308864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err="1">
                <a:cs typeface="Calibri"/>
              </a:rPr>
              <a:t>Abrir</a:t>
            </a:r>
            <a:r>
              <a:rPr lang="en-GB">
                <a:cs typeface="Calibri"/>
              </a:rPr>
              <a:t> </a:t>
            </a:r>
            <a:r>
              <a:rPr lang="en-GB" b="1" err="1">
                <a:cs typeface="Calibri"/>
              </a:rPr>
              <a:t>config.R</a:t>
            </a:r>
            <a:r>
              <a:rPr lang="en-GB">
                <a:cs typeface="Calibri"/>
              </a:rPr>
              <a:t> </a:t>
            </a:r>
            <a:r>
              <a:rPr lang="en-GB" err="1">
                <a:cs typeface="Calibri"/>
              </a:rPr>
              <a:t>en</a:t>
            </a:r>
            <a:r>
              <a:rPr lang="en-GB">
                <a:cs typeface="Calibri"/>
              </a:rPr>
              <a:t> R Studio</a:t>
            </a:r>
            <a:endParaRPr lang="en-GB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C55440C-454B-E92D-F519-FAC1BC6863AA}"/>
              </a:ext>
            </a:extLst>
          </p:cNvPr>
          <p:cNvCxnSpPr/>
          <p:nvPr/>
        </p:nvCxnSpPr>
        <p:spPr>
          <a:xfrm flipV="1">
            <a:off x="2949570" y="1419261"/>
            <a:ext cx="2131026" cy="1181178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8" name="Graphic 7" descr="Cursor with solid fill">
            <a:extLst>
              <a:ext uri="{FF2B5EF4-FFF2-40B4-BE49-F238E27FC236}">
                <a16:creationId xmlns:a16="http://schemas.microsoft.com/office/drawing/2014/main" id="{46B1CFAB-89AD-A4EC-E1BA-EDEAA07CD4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05663" y="5342467"/>
            <a:ext cx="914400" cy="914400"/>
          </a:xfrm>
          <a:prstGeom prst="rect">
            <a:avLst/>
          </a:prstGeo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DA35E545-668B-9C11-E17D-F8841BA7D8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818" y="3663903"/>
            <a:ext cx="5554980" cy="3188406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95CFB36-36F9-A03F-3D8F-B789CC019A09}"/>
              </a:ext>
            </a:extLst>
          </p:cNvPr>
          <p:cNvCxnSpPr>
            <a:cxnSpLocks/>
          </p:cNvCxnSpPr>
          <p:nvPr/>
        </p:nvCxnSpPr>
        <p:spPr>
          <a:xfrm>
            <a:off x="7924227" y="3131461"/>
            <a:ext cx="0" cy="627205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1096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/>
                <a:cs typeface="Arial"/>
              </a:rPr>
              <a:t>Paso 2: Preparar </a:t>
            </a:r>
            <a:r>
              <a:rPr lang="es-419" b="1" i="1" err="1">
                <a:solidFill>
                  <a:schemeClr val="bg1"/>
                </a:solidFill>
                <a:latin typeface="Arial"/>
                <a:cs typeface="Arial"/>
              </a:rPr>
              <a:t>shapefiles</a:t>
            </a:r>
            <a:endParaRPr lang="en-US" b="1" i="1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170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4" name="Rectangle 53">
            <a:extLst>
              <a:ext uri="{FF2B5EF4-FFF2-40B4-BE49-F238E27FC236}">
                <a16:creationId xmlns:a16="http://schemas.microsoft.com/office/drawing/2014/main" id="{D75A5B51-0925-4835-8511-A0DD17EAA9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365125"/>
            <a:ext cx="5295015" cy="206380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s-AR" sz="5400"/>
              <a:t>Qué son los </a:t>
            </a:r>
            <a:r>
              <a:rPr lang="es-AR" sz="5400" i="1" err="1"/>
              <a:t>shapefiles</a:t>
            </a:r>
            <a:endParaRPr lang="es-AR" sz="5400" b="1" i="1" err="1">
              <a:cs typeface="Calibri Light"/>
            </a:endParaRPr>
          </a:p>
        </p:txBody>
      </p:sp>
      <p:sp>
        <p:nvSpPr>
          <p:cNvPr id="56" name="Sketch line">
            <a:extLst>
              <a:ext uri="{FF2B5EF4-FFF2-40B4-BE49-F238E27FC236}">
                <a16:creationId xmlns:a16="http://schemas.microsoft.com/office/drawing/2014/main" id="{5CDFD20D-8E4F-4E3A-AF87-93F23E0D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2650181"/>
            <a:ext cx="4343400" cy="18288"/>
          </a:xfrm>
          <a:custGeom>
            <a:avLst/>
            <a:gdLst>
              <a:gd name="connsiteX0" fmla="*/ 0 w 4343400"/>
              <a:gd name="connsiteY0" fmla="*/ 0 h 18288"/>
              <a:gd name="connsiteX1" fmla="*/ 577052 w 4343400"/>
              <a:gd name="connsiteY1" fmla="*/ 0 h 18288"/>
              <a:gd name="connsiteX2" fmla="*/ 1067235 w 4343400"/>
              <a:gd name="connsiteY2" fmla="*/ 0 h 18288"/>
              <a:gd name="connsiteX3" fmla="*/ 1600853 w 4343400"/>
              <a:gd name="connsiteY3" fmla="*/ 0 h 18288"/>
              <a:gd name="connsiteX4" fmla="*/ 2264773 w 4343400"/>
              <a:gd name="connsiteY4" fmla="*/ 0 h 18288"/>
              <a:gd name="connsiteX5" fmla="*/ 2841825 w 4343400"/>
              <a:gd name="connsiteY5" fmla="*/ 0 h 18288"/>
              <a:gd name="connsiteX6" fmla="*/ 3375442 w 4343400"/>
              <a:gd name="connsiteY6" fmla="*/ 0 h 18288"/>
              <a:gd name="connsiteX7" fmla="*/ 4343400 w 4343400"/>
              <a:gd name="connsiteY7" fmla="*/ 0 h 18288"/>
              <a:gd name="connsiteX8" fmla="*/ 4343400 w 4343400"/>
              <a:gd name="connsiteY8" fmla="*/ 18288 h 18288"/>
              <a:gd name="connsiteX9" fmla="*/ 3722914 w 4343400"/>
              <a:gd name="connsiteY9" fmla="*/ 18288 h 18288"/>
              <a:gd name="connsiteX10" fmla="*/ 3189297 w 4343400"/>
              <a:gd name="connsiteY10" fmla="*/ 18288 h 18288"/>
              <a:gd name="connsiteX11" fmla="*/ 2481943 w 4343400"/>
              <a:gd name="connsiteY11" fmla="*/ 18288 h 18288"/>
              <a:gd name="connsiteX12" fmla="*/ 1904891 w 4343400"/>
              <a:gd name="connsiteY12" fmla="*/ 18288 h 18288"/>
              <a:gd name="connsiteX13" fmla="*/ 1414707 w 4343400"/>
              <a:gd name="connsiteY13" fmla="*/ 18288 h 18288"/>
              <a:gd name="connsiteX14" fmla="*/ 750788 w 4343400"/>
              <a:gd name="connsiteY14" fmla="*/ 18288 h 18288"/>
              <a:gd name="connsiteX15" fmla="*/ 0 w 4343400"/>
              <a:gd name="connsiteY15" fmla="*/ 18288 h 18288"/>
              <a:gd name="connsiteX16" fmla="*/ 0 w 434340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43400" h="18288" fill="none" extrusionOk="0">
                <a:moveTo>
                  <a:pt x="0" y="0"/>
                </a:moveTo>
                <a:cubicBezTo>
                  <a:pt x="233209" y="-19550"/>
                  <a:pt x="330816" y="19068"/>
                  <a:pt x="577052" y="0"/>
                </a:cubicBezTo>
                <a:cubicBezTo>
                  <a:pt x="823288" y="-19068"/>
                  <a:pt x="875077" y="10360"/>
                  <a:pt x="1067235" y="0"/>
                </a:cubicBezTo>
                <a:cubicBezTo>
                  <a:pt x="1259393" y="-10360"/>
                  <a:pt x="1410699" y="2939"/>
                  <a:pt x="1600853" y="0"/>
                </a:cubicBezTo>
                <a:cubicBezTo>
                  <a:pt x="1791007" y="-2939"/>
                  <a:pt x="2101644" y="-26225"/>
                  <a:pt x="2264773" y="0"/>
                </a:cubicBezTo>
                <a:cubicBezTo>
                  <a:pt x="2427902" y="26225"/>
                  <a:pt x="2690426" y="-27726"/>
                  <a:pt x="2841825" y="0"/>
                </a:cubicBezTo>
                <a:cubicBezTo>
                  <a:pt x="2993224" y="27726"/>
                  <a:pt x="3172320" y="-18569"/>
                  <a:pt x="3375442" y="0"/>
                </a:cubicBezTo>
                <a:cubicBezTo>
                  <a:pt x="3578564" y="18569"/>
                  <a:pt x="4003119" y="21909"/>
                  <a:pt x="4343400" y="0"/>
                </a:cubicBezTo>
                <a:cubicBezTo>
                  <a:pt x="4343798" y="7429"/>
                  <a:pt x="4343380" y="10822"/>
                  <a:pt x="4343400" y="18288"/>
                </a:cubicBezTo>
                <a:cubicBezTo>
                  <a:pt x="4109047" y="14709"/>
                  <a:pt x="3996986" y="7919"/>
                  <a:pt x="3722914" y="18288"/>
                </a:cubicBezTo>
                <a:cubicBezTo>
                  <a:pt x="3448842" y="28657"/>
                  <a:pt x="3340973" y="29252"/>
                  <a:pt x="3189297" y="18288"/>
                </a:cubicBezTo>
                <a:cubicBezTo>
                  <a:pt x="3037621" y="7324"/>
                  <a:pt x="2636891" y="-9539"/>
                  <a:pt x="2481943" y="18288"/>
                </a:cubicBezTo>
                <a:cubicBezTo>
                  <a:pt x="2326995" y="46115"/>
                  <a:pt x="2131632" y="740"/>
                  <a:pt x="1904891" y="18288"/>
                </a:cubicBezTo>
                <a:cubicBezTo>
                  <a:pt x="1678150" y="35836"/>
                  <a:pt x="1575362" y="-3381"/>
                  <a:pt x="1414707" y="18288"/>
                </a:cubicBezTo>
                <a:cubicBezTo>
                  <a:pt x="1254052" y="39957"/>
                  <a:pt x="1051093" y="-335"/>
                  <a:pt x="750788" y="18288"/>
                </a:cubicBezTo>
                <a:cubicBezTo>
                  <a:pt x="450483" y="36911"/>
                  <a:pt x="293781" y="22900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343400" h="18288" stroke="0" extrusionOk="0">
                <a:moveTo>
                  <a:pt x="0" y="0"/>
                </a:moveTo>
                <a:cubicBezTo>
                  <a:pt x="212719" y="-28531"/>
                  <a:pt x="340561" y="-1164"/>
                  <a:pt x="577052" y="0"/>
                </a:cubicBezTo>
                <a:cubicBezTo>
                  <a:pt x="813543" y="1164"/>
                  <a:pt x="866967" y="-9376"/>
                  <a:pt x="1067235" y="0"/>
                </a:cubicBezTo>
                <a:cubicBezTo>
                  <a:pt x="1267503" y="9376"/>
                  <a:pt x="1485778" y="-20470"/>
                  <a:pt x="1774589" y="0"/>
                </a:cubicBezTo>
                <a:cubicBezTo>
                  <a:pt x="2063400" y="20470"/>
                  <a:pt x="2090152" y="-14502"/>
                  <a:pt x="2351641" y="0"/>
                </a:cubicBezTo>
                <a:cubicBezTo>
                  <a:pt x="2613130" y="14502"/>
                  <a:pt x="2802864" y="19125"/>
                  <a:pt x="2928693" y="0"/>
                </a:cubicBezTo>
                <a:cubicBezTo>
                  <a:pt x="3054522" y="-19125"/>
                  <a:pt x="3482611" y="-2038"/>
                  <a:pt x="3636046" y="0"/>
                </a:cubicBezTo>
                <a:cubicBezTo>
                  <a:pt x="3789481" y="2038"/>
                  <a:pt x="4012363" y="973"/>
                  <a:pt x="4343400" y="0"/>
                </a:cubicBezTo>
                <a:cubicBezTo>
                  <a:pt x="4342514" y="5429"/>
                  <a:pt x="4344221" y="14046"/>
                  <a:pt x="4343400" y="18288"/>
                </a:cubicBezTo>
                <a:cubicBezTo>
                  <a:pt x="4078870" y="-6138"/>
                  <a:pt x="4015967" y="29658"/>
                  <a:pt x="3809782" y="18288"/>
                </a:cubicBezTo>
                <a:cubicBezTo>
                  <a:pt x="3603597" y="6918"/>
                  <a:pt x="3495552" y="24439"/>
                  <a:pt x="3189297" y="18288"/>
                </a:cubicBezTo>
                <a:cubicBezTo>
                  <a:pt x="2883042" y="12137"/>
                  <a:pt x="2850610" y="32583"/>
                  <a:pt x="2568811" y="18288"/>
                </a:cubicBezTo>
                <a:cubicBezTo>
                  <a:pt x="2287012" y="3993"/>
                  <a:pt x="2279820" y="23580"/>
                  <a:pt x="1991759" y="18288"/>
                </a:cubicBezTo>
                <a:cubicBezTo>
                  <a:pt x="1703698" y="12996"/>
                  <a:pt x="1616455" y="23157"/>
                  <a:pt x="1284405" y="18288"/>
                </a:cubicBezTo>
                <a:cubicBezTo>
                  <a:pt x="952355" y="13419"/>
                  <a:pt x="783530" y="16053"/>
                  <a:pt x="577052" y="18288"/>
                </a:cubicBezTo>
                <a:cubicBezTo>
                  <a:pt x="370574" y="20523"/>
                  <a:pt x="173929" y="519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D66B4D-5779-3D25-31E9-8E5DCC0A7FB6}"/>
              </a:ext>
            </a:extLst>
          </p:cNvPr>
          <p:cNvSpPr txBox="1"/>
          <p:nvPr/>
        </p:nvSpPr>
        <p:spPr>
          <a:xfrm>
            <a:off x="612648" y="2908005"/>
            <a:ext cx="5295015" cy="3268957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AR" sz="2200"/>
              <a:t>Formato común de datos vectoriales geoespaciales </a:t>
            </a:r>
            <a:endParaRPr lang="es-AR" sz="2200">
              <a:cs typeface="Calibri"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AR" sz="2200"/>
              <a:t>GIS</a:t>
            </a:r>
            <a:endParaRPr lang="es-AR" sz="2200">
              <a:cs typeface="Calibri"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AR" sz="2200"/>
              <a:t>Puntos, líneas y polígonos</a:t>
            </a:r>
            <a:endParaRPr lang="es-AR" sz="2200">
              <a:cs typeface="Calibri"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AR" sz="2200"/>
              <a:t>Ampliamente compatibles</a:t>
            </a:r>
            <a:endParaRPr lang="es-AR" sz="2200">
              <a:cs typeface="Calibri"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AR" sz="2200"/>
              <a:t>Cartografía, análisis espacial, modelado y planificación</a:t>
            </a:r>
            <a:endParaRPr lang="es-AR" sz="2200">
              <a:cs typeface="Calibri"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AR" sz="2200">
              <a:cs typeface="Calibri"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AR" sz="2200">
              <a:cs typeface="Calibri"/>
            </a:endParaRPr>
          </a:p>
        </p:txBody>
      </p:sp>
      <p:pic>
        <p:nvPicPr>
          <p:cNvPr id="11" name="Picture 11" descr="A close-up of a file&#10;&#10;Description automatically generated">
            <a:extLst>
              <a:ext uri="{FF2B5EF4-FFF2-40B4-BE49-F238E27FC236}">
                <a16:creationId xmlns:a16="http://schemas.microsoft.com/office/drawing/2014/main" id="{135128D6-BB21-84DC-0958-60892AE7DC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3" b="-3"/>
          <a:stretch/>
        </p:blipFill>
        <p:spPr>
          <a:xfrm>
            <a:off x="6396397" y="502825"/>
            <a:ext cx="2603605" cy="2603605"/>
          </a:xfrm>
          <a:prstGeom prst="rect">
            <a:avLst/>
          </a:prstGeom>
        </p:spPr>
      </p:pic>
      <p:pic>
        <p:nvPicPr>
          <p:cNvPr id="10" name="Picture 10" descr="A close-up of a logo&#10;&#10;Description automatically generated">
            <a:extLst>
              <a:ext uri="{FF2B5EF4-FFF2-40B4-BE49-F238E27FC236}">
                <a16:creationId xmlns:a16="http://schemas.microsoft.com/office/drawing/2014/main" id="{034B2490-0589-8105-76D0-5A82A04622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0788" b="-9651"/>
          <a:stretch/>
        </p:blipFill>
        <p:spPr>
          <a:xfrm>
            <a:off x="9224328" y="297588"/>
            <a:ext cx="2603708" cy="3135863"/>
          </a:xfrm>
          <a:prstGeom prst="rect">
            <a:avLst/>
          </a:prstGeom>
        </p:spPr>
      </p:pic>
      <p:pic>
        <p:nvPicPr>
          <p:cNvPr id="7" name="Picture 7" descr="A close-up of a map&#10;&#10;Description automatically generated">
            <a:extLst>
              <a:ext uri="{FF2B5EF4-FFF2-40B4-BE49-F238E27FC236}">
                <a16:creationId xmlns:a16="http://schemas.microsoft.com/office/drawing/2014/main" id="{687969A1-A8DA-ADD5-4297-91EAEAAA0C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6397" y="3572725"/>
            <a:ext cx="5431536" cy="245777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4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7398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15" y="5691"/>
            <a:ext cx="11277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solidFill>
                  <a:srgbClr val="000000"/>
                </a:solidFill>
              </a:rPr>
              <a:t>Colocar </a:t>
            </a:r>
            <a:r>
              <a:rPr lang="es-419" sz="3600" i="1">
                <a:solidFill>
                  <a:srgbClr val="000000"/>
                </a:solidFill>
              </a:rPr>
              <a:t>shapefiles </a:t>
            </a:r>
            <a:r>
              <a:rPr lang="es-419" sz="3600">
                <a:solidFill>
                  <a:srgbClr val="000000"/>
                </a:solidFill>
              </a:rPr>
              <a:t>o GeoJSON en carpeta </a:t>
            </a:r>
            <a:r>
              <a:rPr lang="es-419" sz="3600" b="1">
                <a:solidFill>
                  <a:srgbClr val="000000"/>
                </a:solidFill>
              </a:rPr>
              <a:t>Shapefile_prep</a:t>
            </a:r>
            <a:endParaRPr lang="es-419" sz="4000" b="1"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5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Picture 5">
            <a:extLst>
              <a:ext uri="{FF2B5EF4-FFF2-40B4-BE49-F238E27FC236}">
                <a16:creationId xmlns:a16="http://schemas.microsoft.com/office/drawing/2014/main" id="{12F5B014-D089-7081-6E67-913042AABF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27507" y="1585558"/>
            <a:ext cx="7339780" cy="1363257"/>
          </a:xfrm>
          <a:prstGeom prst="rect">
            <a:avLst/>
          </a:prstGeom>
        </p:spPr>
      </p:pic>
      <p:pic>
        <p:nvPicPr>
          <p:cNvPr id="10" name="Picture 10" descr="A close-up of a logo&#10;&#10;Description automatically generated">
            <a:extLst>
              <a:ext uri="{FF2B5EF4-FFF2-40B4-BE49-F238E27FC236}">
                <a16:creationId xmlns:a16="http://schemas.microsoft.com/office/drawing/2014/main" id="{034B2490-0589-8105-76D0-5A82A04622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3385" y="4327142"/>
            <a:ext cx="1425678" cy="1425678"/>
          </a:xfrm>
          <a:prstGeom prst="rect">
            <a:avLst/>
          </a:prstGeom>
        </p:spPr>
      </p:pic>
      <p:pic>
        <p:nvPicPr>
          <p:cNvPr id="11" name="Picture 11" descr="A close-up of a file&#10;&#10;Description automatically generated">
            <a:extLst>
              <a:ext uri="{FF2B5EF4-FFF2-40B4-BE49-F238E27FC236}">
                <a16:creationId xmlns:a16="http://schemas.microsoft.com/office/drawing/2014/main" id="{135128D6-BB21-84DC-0958-60892AE7DC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67707" y="4327142"/>
            <a:ext cx="1425678" cy="1425678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5288CA2-41CE-08D8-B9F0-266F49689FD6}"/>
              </a:ext>
            </a:extLst>
          </p:cNvPr>
          <p:cNvCxnSpPr>
            <a:cxnSpLocks/>
          </p:cNvCxnSpPr>
          <p:nvPr/>
        </p:nvCxnSpPr>
        <p:spPr>
          <a:xfrm flipV="1">
            <a:off x="4312661" y="2524916"/>
            <a:ext cx="0" cy="1505292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65362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CBF2D708-9230-AF1B-F188-9E6C669122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987" y="1721900"/>
            <a:ext cx="7119797" cy="34401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15" y="5691"/>
            <a:ext cx="11277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 dirty="0">
                <a:solidFill>
                  <a:srgbClr val="000000"/>
                </a:solidFill>
              </a:rPr>
              <a:t>Subir </a:t>
            </a:r>
            <a:r>
              <a:rPr lang="es-419" sz="3600" i="1" dirty="0">
                <a:solidFill>
                  <a:srgbClr val="000000"/>
                </a:solidFill>
              </a:rPr>
              <a:t>shapefiles </a:t>
            </a:r>
            <a:r>
              <a:rPr lang="es-419" sz="3600" dirty="0">
                <a:solidFill>
                  <a:srgbClr val="000000"/>
                </a:solidFill>
              </a:rPr>
              <a:t>a </a:t>
            </a:r>
            <a:r>
              <a:rPr lang="es-419" sz="3600" b="1" dirty="0">
                <a:solidFill>
                  <a:srgbClr val="0070C0"/>
                </a:solidFill>
              </a:rPr>
              <a:t>mapshaper.org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6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F991B0FA-C21A-8257-1515-2F29271B7B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6426" y="2180987"/>
            <a:ext cx="4810027" cy="3550884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7854A20-E499-5F84-7C74-08042E377C98}"/>
              </a:ext>
            </a:extLst>
          </p:cNvPr>
          <p:cNvCxnSpPr>
            <a:cxnSpLocks/>
          </p:cNvCxnSpPr>
          <p:nvPr/>
        </p:nvCxnSpPr>
        <p:spPr>
          <a:xfrm>
            <a:off x="6497053" y="2406316"/>
            <a:ext cx="1448663" cy="2264145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6" name="Picture 10" descr="A close-up of a logo&#10;&#10;Description automatically generated">
            <a:extLst>
              <a:ext uri="{FF2B5EF4-FFF2-40B4-BE49-F238E27FC236}">
                <a16:creationId xmlns:a16="http://schemas.microsoft.com/office/drawing/2014/main" id="{F469FD71-B90A-74FE-A741-DDE4981CBC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7332" y="4646151"/>
            <a:ext cx="498578" cy="49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9486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15" y="5691"/>
            <a:ext cx="11277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solidFill>
                  <a:srgbClr val="000000"/>
                </a:solidFill>
              </a:rPr>
              <a:t>Cargar y explorar atributos de los </a:t>
            </a:r>
            <a:r>
              <a:rPr lang="es-419" sz="3600" i="1" err="1">
                <a:solidFill>
                  <a:srgbClr val="000000"/>
                </a:solidFill>
              </a:rPr>
              <a:t>shapefiles</a:t>
            </a:r>
            <a:endParaRPr lang="en-US" i="1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7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C42D83D9-A0DA-753C-6DCF-3D1999D93C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4691" y="1031217"/>
            <a:ext cx="7524135" cy="51151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359FCBE-D060-9E68-B5E4-C202F1546111}"/>
              </a:ext>
            </a:extLst>
          </p:cNvPr>
          <p:cNvSpPr txBox="1"/>
          <p:nvPr/>
        </p:nvSpPr>
        <p:spPr>
          <a:xfrm>
            <a:off x="540774" y="2163096"/>
            <a:ext cx="3158613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s-419" sz="2400">
                <a:ea typeface="Calibri"/>
                <a:cs typeface="Calibri"/>
              </a:rPr>
              <a:t>Identificar</a:t>
            </a:r>
          </a:p>
          <a:p>
            <a:pPr marL="285750" indent="-285750">
              <a:buFont typeface="Arial"/>
              <a:buChar char="•"/>
            </a:pPr>
            <a:r>
              <a:rPr lang="es-419" sz="2400" err="1">
                <a:ea typeface="Calibri"/>
                <a:cs typeface="Calibri"/>
              </a:rPr>
              <a:t>Geocódigo</a:t>
            </a:r>
            <a:r>
              <a:rPr lang="es-419" sz="2400">
                <a:ea typeface="Calibri"/>
                <a:cs typeface="Calibri"/>
              </a:rPr>
              <a:t> ADMIN1</a:t>
            </a:r>
          </a:p>
          <a:p>
            <a:pPr marL="285750" indent="-285750">
              <a:buFont typeface="Arial"/>
              <a:buChar char="•"/>
            </a:pPr>
            <a:r>
              <a:rPr lang="es-419" sz="2400">
                <a:ea typeface="Calibri"/>
                <a:cs typeface="Calibri"/>
              </a:rPr>
              <a:t>Nombre ADMIN1</a:t>
            </a:r>
          </a:p>
          <a:p>
            <a:pPr marL="285750" indent="-285750">
              <a:buFont typeface="Arial"/>
              <a:buChar char="•"/>
            </a:pPr>
            <a:r>
              <a:rPr lang="es-419" sz="2400" err="1">
                <a:ea typeface="Calibri"/>
                <a:cs typeface="Calibri"/>
              </a:rPr>
              <a:t>Geocódigo</a:t>
            </a:r>
            <a:r>
              <a:rPr lang="es-419" sz="2400">
                <a:ea typeface="Calibri"/>
                <a:cs typeface="Calibri"/>
              </a:rPr>
              <a:t> ADMIN2</a:t>
            </a:r>
          </a:p>
          <a:p>
            <a:pPr marL="285750" indent="-285750">
              <a:buFont typeface="Arial"/>
              <a:buChar char="•"/>
            </a:pPr>
            <a:r>
              <a:rPr lang="es-419" sz="2400">
                <a:ea typeface="Calibri"/>
                <a:cs typeface="Calibri"/>
              </a:rPr>
              <a:t>Nombre ADMNI2</a:t>
            </a:r>
          </a:p>
        </p:txBody>
      </p:sp>
      <p:pic>
        <p:nvPicPr>
          <p:cNvPr id="8" name="Graphic 7" descr="Cursor with solid fill">
            <a:extLst>
              <a:ext uri="{FF2B5EF4-FFF2-40B4-BE49-F238E27FC236}">
                <a16:creationId xmlns:a16="http://schemas.microsoft.com/office/drawing/2014/main" id="{42DCF04A-FEC6-DD77-F450-15B90E64B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34107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6831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15" y="5691"/>
            <a:ext cx="11277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solidFill>
                  <a:srgbClr val="000000"/>
                </a:solidFill>
              </a:rPr>
              <a:t>Abrir </a:t>
            </a:r>
            <a:r>
              <a:rPr lang="es-419" sz="3600" err="1">
                <a:solidFill>
                  <a:srgbClr val="000000"/>
                </a:solidFill>
              </a:rPr>
              <a:t>excel</a:t>
            </a:r>
            <a:r>
              <a:rPr lang="es-419" sz="3600">
                <a:solidFill>
                  <a:srgbClr val="000000"/>
                </a:solidFill>
              </a:rPr>
              <a:t> </a:t>
            </a:r>
            <a:r>
              <a:rPr lang="es-419" sz="3600" b="1" err="1">
                <a:solidFill>
                  <a:srgbClr val="000000"/>
                </a:solidFill>
                <a:ea typeface="+mj-lt"/>
                <a:cs typeface="+mj-lt"/>
              </a:rPr>
              <a:t>shapefile_settings</a:t>
            </a:r>
            <a:br>
              <a:rPr lang="es-419" sz="3600" b="1"/>
            </a:br>
            <a:r>
              <a:rPr lang="es-419" sz="2400">
                <a:solidFill>
                  <a:srgbClr val="000000"/>
                </a:solidFill>
              </a:rPr>
              <a:t>/</a:t>
            </a:r>
            <a:r>
              <a:rPr lang="es-419" sz="2400" err="1">
                <a:solidFill>
                  <a:srgbClr val="000000"/>
                </a:solidFill>
              </a:rPr>
              <a:t>Shapefile_prep</a:t>
            </a:r>
            <a:r>
              <a:rPr lang="es-419" sz="2400">
                <a:solidFill>
                  <a:srgbClr val="000000"/>
                </a:solidFill>
              </a:rPr>
              <a:t>/shapefile_settings.xlsx</a:t>
            </a:r>
            <a:endParaRPr lang="en-US" sz="2400"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8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AF61EBD0-2F5D-F337-919C-39052BFCDE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1626" y="1666809"/>
            <a:ext cx="4697361" cy="3770191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257C8D3-D99E-63A1-6961-4BECEDD1B028}"/>
              </a:ext>
            </a:extLst>
          </p:cNvPr>
          <p:cNvCxnSpPr>
            <a:cxnSpLocks/>
          </p:cNvCxnSpPr>
          <p:nvPr/>
        </p:nvCxnSpPr>
        <p:spPr>
          <a:xfrm flipV="1">
            <a:off x="5958348" y="3456037"/>
            <a:ext cx="1369140" cy="19664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>
            <a:extLst>
              <a:ext uri="{FF2B5EF4-FFF2-40B4-BE49-F238E27FC236}">
                <a16:creationId xmlns:a16="http://schemas.microsoft.com/office/drawing/2014/main" id="{B77986FC-C517-2161-36C8-044FD59793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9865" y="3149323"/>
            <a:ext cx="6061975" cy="1125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6796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15" y="5691"/>
            <a:ext cx="11277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Identificar atributos y llenar </a:t>
            </a:r>
            <a:r>
              <a:rPr lang="es-419" sz="3600" b="1" err="1">
                <a:ea typeface="Calibri Light"/>
                <a:cs typeface="Calibri Light"/>
              </a:rPr>
              <a:t>shapefile_settings</a:t>
            </a:r>
            <a:endParaRPr lang="es-419" sz="3600" err="1"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39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6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41AC1695-F69D-1535-C4B7-9FA2AD47EF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593" y="1048753"/>
            <a:ext cx="6651522" cy="4826576"/>
          </a:xfrm>
          <a:prstGeom prst="rect">
            <a:avLst/>
          </a:prstGeom>
        </p:spPr>
      </p:pic>
      <p:pic>
        <p:nvPicPr>
          <p:cNvPr id="9" name="Picture 9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6DE09552-20A3-4935-66FF-F4E3FC98F80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2750" b="27211"/>
          <a:stretch/>
        </p:blipFill>
        <p:spPr>
          <a:xfrm>
            <a:off x="6838336" y="1034525"/>
            <a:ext cx="4623060" cy="480577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596C429-814A-067B-1ED1-1D36882EBFBF}"/>
              </a:ext>
            </a:extLst>
          </p:cNvPr>
          <p:cNvCxnSpPr>
            <a:cxnSpLocks/>
          </p:cNvCxnSpPr>
          <p:nvPr/>
        </p:nvCxnSpPr>
        <p:spPr>
          <a:xfrm flipV="1">
            <a:off x="3263491" y="2078558"/>
            <a:ext cx="5290981" cy="26835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FD850A7-AD67-7A8E-4989-3EA3EEB01DBA}"/>
              </a:ext>
            </a:extLst>
          </p:cNvPr>
          <p:cNvCxnSpPr>
            <a:cxnSpLocks/>
          </p:cNvCxnSpPr>
          <p:nvPr/>
        </p:nvCxnSpPr>
        <p:spPr>
          <a:xfrm flipV="1">
            <a:off x="6142703" y="2517407"/>
            <a:ext cx="1319977" cy="851099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C2C7018-F15A-A49B-A0DC-5B48916437CF}"/>
              </a:ext>
            </a:extLst>
          </p:cNvPr>
          <p:cNvCxnSpPr>
            <a:cxnSpLocks/>
          </p:cNvCxnSpPr>
          <p:nvPr/>
        </p:nvCxnSpPr>
        <p:spPr>
          <a:xfrm flipV="1">
            <a:off x="6098252" y="2746126"/>
            <a:ext cx="1364427" cy="947789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84F4448-FF14-1769-D1A5-0F7549B64792}"/>
              </a:ext>
            </a:extLst>
          </p:cNvPr>
          <p:cNvCxnSpPr>
            <a:cxnSpLocks/>
          </p:cNvCxnSpPr>
          <p:nvPr/>
        </p:nvCxnSpPr>
        <p:spPr>
          <a:xfrm flipV="1">
            <a:off x="6147479" y="2943145"/>
            <a:ext cx="1315199" cy="1054580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1E38345-F4FB-ECA5-6C03-59189DFB2317}"/>
              </a:ext>
            </a:extLst>
          </p:cNvPr>
          <p:cNvCxnSpPr>
            <a:cxnSpLocks/>
          </p:cNvCxnSpPr>
          <p:nvPr/>
        </p:nvCxnSpPr>
        <p:spPr>
          <a:xfrm flipV="1">
            <a:off x="6151061" y="3166386"/>
            <a:ext cx="1305676" cy="1134262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3B658C-B1B7-AED7-D0EB-FAF19DB8F943}"/>
              </a:ext>
            </a:extLst>
          </p:cNvPr>
          <p:cNvCxnSpPr/>
          <p:nvPr/>
        </p:nvCxnSpPr>
        <p:spPr>
          <a:xfrm flipV="1">
            <a:off x="3166254" y="3372557"/>
            <a:ext cx="3000723" cy="3791"/>
          </a:xfrm>
          <a:prstGeom prst="straightConnector1">
            <a:avLst/>
          </a:prstGeom>
          <a:ln w="57150">
            <a:solidFill>
              <a:srgbClr val="5DC7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8C740BC-F348-EF8E-3765-DBDDB76AFD2C}"/>
              </a:ext>
            </a:extLst>
          </p:cNvPr>
          <p:cNvCxnSpPr>
            <a:cxnSpLocks/>
          </p:cNvCxnSpPr>
          <p:nvPr/>
        </p:nvCxnSpPr>
        <p:spPr>
          <a:xfrm flipH="1" flipV="1">
            <a:off x="3294009" y="2102934"/>
            <a:ext cx="11882" cy="864624"/>
          </a:xfrm>
          <a:prstGeom prst="straightConnector1">
            <a:avLst/>
          </a:prstGeom>
          <a:ln w="57150">
            <a:solidFill>
              <a:srgbClr val="5DC7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8ABE43F-33A5-3A56-A458-82246C741567}"/>
              </a:ext>
            </a:extLst>
          </p:cNvPr>
          <p:cNvCxnSpPr>
            <a:cxnSpLocks/>
          </p:cNvCxnSpPr>
          <p:nvPr/>
        </p:nvCxnSpPr>
        <p:spPr>
          <a:xfrm flipV="1">
            <a:off x="3166254" y="3681884"/>
            <a:ext cx="3000723" cy="3791"/>
          </a:xfrm>
          <a:prstGeom prst="straightConnector1">
            <a:avLst/>
          </a:prstGeom>
          <a:ln w="57150">
            <a:solidFill>
              <a:srgbClr val="5DC7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B37714E-219C-782C-5738-DAA82FCD6DF6}"/>
              </a:ext>
            </a:extLst>
          </p:cNvPr>
          <p:cNvCxnSpPr>
            <a:cxnSpLocks/>
          </p:cNvCxnSpPr>
          <p:nvPr/>
        </p:nvCxnSpPr>
        <p:spPr>
          <a:xfrm flipV="1">
            <a:off x="3166253" y="3998755"/>
            <a:ext cx="3000723" cy="3791"/>
          </a:xfrm>
          <a:prstGeom prst="straightConnector1">
            <a:avLst/>
          </a:prstGeom>
          <a:ln w="57150">
            <a:solidFill>
              <a:srgbClr val="5DC7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AFE7100-0C52-BD83-7C8B-FFBC01D7CB5C}"/>
              </a:ext>
            </a:extLst>
          </p:cNvPr>
          <p:cNvCxnSpPr>
            <a:cxnSpLocks/>
          </p:cNvCxnSpPr>
          <p:nvPr/>
        </p:nvCxnSpPr>
        <p:spPr>
          <a:xfrm flipV="1">
            <a:off x="3166252" y="4308081"/>
            <a:ext cx="3000723" cy="3791"/>
          </a:xfrm>
          <a:prstGeom prst="straightConnector1">
            <a:avLst/>
          </a:prstGeom>
          <a:ln w="57150">
            <a:solidFill>
              <a:srgbClr val="5DC7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9581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E696836C-64C1-0BF6-9AF1-D8836CE0F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32" y="119855"/>
            <a:ext cx="9077325" cy="1105673"/>
          </a:xfrm>
          <a:noFill/>
          <a:ln>
            <a:noFill/>
          </a:ln>
          <a:effectLst/>
        </p:spPr>
        <p:txBody>
          <a:bodyPr lIns="41148" tIns="20574" rIns="41148" bIns="20574">
            <a:normAutofit/>
          </a:bodyPr>
          <a:lstStyle/>
          <a:p>
            <a:pPr defTabSz="621884">
              <a:spcBef>
                <a:spcPts val="1800"/>
              </a:spcBef>
            </a:pPr>
            <a:r>
              <a:rPr lang="es-419" sz="3600" b="1">
                <a:latin typeface="+mn-lt"/>
                <a:ea typeface="ＭＳ Ｐゴシック" pitchFamily="34" charset="-128"/>
                <a:cs typeface="+mn-cs"/>
              </a:rPr>
              <a:t>Tres preguntas claves en el análisis de riesgo para sarampión y rubeola </a:t>
            </a:r>
          </a:p>
        </p:txBody>
      </p:sp>
      <p:grpSp>
        <p:nvGrpSpPr>
          <p:cNvPr id="4" name="shp_Map_OVERALL_RISK">
            <a:extLst>
              <a:ext uri="{FF2B5EF4-FFF2-40B4-BE49-F238E27FC236}">
                <a16:creationId xmlns:a16="http://schemas.microsoft.com/office/drawing/2014/main" id="{00000000-0008-0000-0C00-00001BBF0100}"/>
              </a:ext>
            </a:extLst>
          </p:cNvPr>
          <p:cNvGrpSpPr/>
          <p:nvPr/>
        </p:nvGrpSpPr>
        <p:grpSpPr>
          <a:xfrm>
            <a:off x="9080180" y="1129791"/>
            <a:ext cx="3000823" cy="4588152"/>
            <a:chOff x="0" y="0"/>
            <a:chExt cx="3806900" cy="6094731"/>
          </a:xfrm>
        </p:grpSpPr>
        <p:grpSp>
          <p:nvGrpSpPr>
            <p:cNvPr id="5" name="shp_Region_Belize" descr="Admin1_Id=&quot;BLZ&quot;&#10;Admin1_Label=&quot;Belize&quot;&#10;Admin2_Id=&quot;BLZ.1_1&quot;&#10;Admin2_Label=&quot;Belize&quot;&#10;" title="Belize">
              <a:extLst>
                <a:ext uri="{FF2B5EF4-FFF2-40B4-BE49-F238E27FC236}">
                  <a16:creationId xmlns:a16="http://schemas.microsoft.com/office/drawing/2014/main" id="{00000000-0008-0000-0C00-00001CBF0100}"/>
                </a:ext>
              </a:extLst>
            </p:cNvPr>
            <p:cNvGrpSpPr/>
            <p:nvPr/>
          </p:nvGrpSpPr>
          <p:grpSpPr>
            <a:xfrm>
              <a:off x="1319320" y="1189729"/>
              <a:ext cx="2487580" cy="3465968"/>
              <a:chOff x="1319320" y="1189729"/>
              <a:chExt cx="2650234" cy="3466690"/>
            </a:xfrm>
            <a:solidFill>
              <a:srgbClr val="FFC000"/>
            </a:solidFill>
          </p:grpSpPr>
          <p:sp>
            <p:nvSpPr>
              <p:cNvPr id="63" name="shp_Region_Belize_$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0BF0100}"/>
                  </a:ext>
                </a:extLst>
              </p:cNvPr>
              <p:cNvSpPr/>
              <p:nvPr/>
            </p:nvSpPr>
            <p:spPr>
              <a:xfrm>
                <a:off x="1319320" y="1189729"/>
                <a:ext cx="1107495" cy="2041606"/>
              </a:xfrm>
              <a:custGeom>
                <a:avLst/>
                <a:gdLst/>
                <a:ahLst/>
                <a:cxnLst/>
                <a:rect l="0" t="0" r="0" b="0"/>
                <a:pathLst>
                  <a:path w="1107495" h="2041606">
                    <a:moveTo>
                      <a:pt x="747960" y="1986639"/>
                    </a:moveTo>
                    <a:lnTo>
                      <a:pt x="747317" y="1959056"/>
                    </a:lnTo>
                    <a:lnTo>
                      <a:pt x="745370" y="1933053"/>
                    </a:lnTo>
                    <a:lnTo>
                      <a:pt x="745370" y="1894046"/>
                    </a:lnTo>
                    <a:lnTo>
                      <a:pt x="747317" y="1873239"/>
                    </a:lnTo>
                    <a:lnTo>
                      <a:pt x="746674" y="1827737"/>
                    </a:lnTo>
                    <a:lnTo>
                      <a:pt x="747960" y="1819929"/>
                    </a:lnTo>
                    <a:lnTo>
                      <a:pt x="747960" y="1789373"/>
                    </a:lnTo>
                    <a:lnTo>
                      <a:pt x="749924" y="1780922"/>
                    </a:lnTo>
                    <a:lnTo>
                      <a:pt x="747960" y="1749067"/>
                    </a:lnTo>
                    <a:lnTo>
                      <a:pt x="757066" y="1685356"/>
                    </a:lnTo>
                    <a:lnTo>
                      <a:pt x="761620" y="1669750"/>
                    </a:lnTo>
                    <a:lnTo>
                      <a:pt x="764869" y="1641144"/>
                    </a:lnTo>
                    <a:lnTo>
                      <a:pt x="771369" y="1618391"/>
                    </a:lnTo>
                    <a:lnTo>
                      <a:pt x="773976" y="1603441"/>
                    </a:lnTo>
                    <a:lnTo>
                      <a:pt x="782422" y="1580678"/>
                    </a:lnTo>
                    <a:lnTo>
                      <a:pt x="784368" y="1567679"/>
                    </a:lnTo>
                    <a:lnTo>
                      <a:pt x="788922" y="1558581"/>
                    </a:lnTo>
                    <a:lnTo>
                      <a:pt x="791529" y="1546225"/>
                    </a:lnTo>
                    <a:lnTo>
                      <a:pt x="814278" y="1470814"/>
                    </a:lnTo>
                    <a:lnTo>
                      <a:pt x="816885" y="1449360"/>
                    </a:lnTo>
                    <a:lnTo>
                      <a:pt x="820777" y="1439606"/>
                    </a:lnTo>
                    <a:lnTo>
                      <a:pt x="822081" y="1423357"/>
                    </a:lnTo>
                    <a:lnTo>
                      <a:pt x="828580" y="1392148"/>
                    </a:lnTo>
                    <a:lnTo>
                      <a:pt x="840294" y="1364846"/>
                    </a:lnTo>
                    <a:lnTo>
                      <a:pt x="840294" y="1355735"/>
                    </a:lnTo>
                    <a:lnTo>
                      <a:pt x="848079" y="1333638"/>
                    </a:lnTo>
                    <a:lnTo>
                      <a:pt x="850686" y="1321282"/>
                    </a:lnTo>
                    <a:lnTo>
                      <a:pt x="852633" y="1289426"/>
                    </a:lnTo>
                    <a:lnTo>
                      <a:pt x="857186" y="1273177"/>
                    </a:lnTo>
                    <a:lnTo>
                      <a:pt x="859132" y="1254973"/>
                    </a:lnTo>
                    <a:lnTo>
                      <a:pt x="866293" y="1238067"/>
                    </a:lnTo>
                    <a:lnTo>
                      <a:pt x="870846" y="1222461"/>
                    </a:lnTo>
                    <a:lnTo>
                      <a:pt x="879935" y="1202962"/>
                    </a:lnTo>
                    <a:lnTo>
                      <a:pt x="887095" y="1197110"/>
                    </a:lnTo>
                    <a:lnTo>
                      <a:pt x="899451" y="1180856"/>
                    </a:lnTo>
                    <a:lnTo>
                      <a:pt x="900094" y="1176959"/>
                    </a:lnTo>
                    <a:lnTo>
                      <a:pt x="910504" y="1173700"/>
                    </a:lnTo>
                    <a:lnTo>
                      <a:pt x="917004" y="1167857"/>
                    </a:lnTo>
                    <a:lnTo>
                      <a:pt x="930003" y="1167857"/>
                    </a:lnTo>
                    <a:lnTo>
                      <a:pt x="941056" y="1175656"/>
                    </a:lnTo>
                    <a:lnTo>
                      <a:pt x="952109" y="1180209"/>
                    </a:lnTo>
                    <a:lnTo>
                      <a:pt x="957306" y="1186708"/>
                    </a:lnTo>
                    <a:lnTo>
                      <a:pt x="993071" y="1189958"/>
                    </a:lnTo>
                    <a:lnTo>
                      <a:pt x="998910" y="1182807"/>
                    </a:lnTo>
                    <a:lnTo>
                      <a:pt x="1009963" y="1175656"/>
                    </a:lnTo>
                    <a:lnTo>
                      <a:pt x="1023623" y="1174356"/>
                    </a:lnTo>
                    <a:lnTo>
                      <a:pt x="1025570" y="1160054"/>
                    </a:lnTo>
                    <a:lnTo>
                      <a:pt x="1032069" y="1163299"/>
                    </a:lnTo>
                    <a:lnTo>
                      <a:pt x="1036623" y="1157455"/>
                    </a:lnTo>
                    <a:lnTo>
                      <a:pt x="1032730" y="1146402"/>
                    </a:lnTo>
                    <a:lnTo>
                      <a:pt x="1021016" y="1137948"/>
                    </a:lnTo>
                    <a:lnTo>
                      <a:pt x="1019713" y="1130149"/>
                    </a:lnTo>
                    <a:lnTo>
                      <a:pt x="1022963" y="1117797"/>
                    </a:lnTo>
                    <a:lnTo>
                      <a:pt x="1017124" y="1115195"/>
                    </a:lnTo>
                    <a:lnTo>
                      <a:pt x="993714" y="1096343"/>
                    </a:lnTo>
                    <a:lnTo>
                      <a:pt x="985268" y="1103494"/>
                    </a:lnTo>
                    <a:lnTo>
                      <a:pt x="976162" y="1104789"/>
                    </a:lnTo>
                    <a:lnTo>
                      <a:pt x="963162" y="1111293"/>
                    </a:lnTo>
                    <a:lnTo>
                      <a:pt x="940414" y="1103494"/>
                    </a:lnTo>
                    <a:lnTo>
                      <a:pt x="932610" y="1103494"/>
                    </a:lnTo>
                    <a:lnTo>
                      <a:pt x="918950" y="1098294"/>
                    </a:lnTo>
                    <a:lnTo>
                      <a:pt x="912451" y="1089839"/>
                    </a:lnTo>
                    <a:lnTo>
                      <a:pt x="912451" y="1084638"/>
                    </a:lnTo>
                    <a:lnTo>
                      <a:pt x="902701" y="1075540"/>
                    </a:lnTo>
                    <a:lnTo>
                      <a:pt x="904648" y="1064487"/>
                    </a:lnTo>
                    <a:lnTo>
                      <a:pt x="910504" y="1059287"/>
                    </a:lnTo>
                    <a:lnTo>
                      <a:pt x="897505" y="1046930"/>
                    </a:lnTo>
                    <a:lnTo>
                      <a:pt x="894898" y="1051483"/>
                    </a:lnTo>
                    <a:lnTo>
                      <a:pt x="885792" y="1052135"/>
                    </a:lnTo>
                    <a:lnTo>
                      <a:pt x="870846" y="1039779"/>
                    </a:lnTo>
                    <a:lnTo>
                      <a:pt x="833134" y="1030681"/>
                    </a:lnTo>
                    <a:lnTo>
                      <a:pt x="811028" y="1013124"/>
                    </a:lnTo>
                    <a:lnTo>
                      <a:pt x="803225" y="998174"/>
                    </a:lnTo>
                    <a:lnTo>
                      <a:pt x="784368" y="994272"/>
                    </a:lnTo>
                    <a:lnTo>
                      <a:pt x="781119" y="983219"/>
                    </a:lnTo>
                    <a:lnTo>
                      <a:pt x="781119" y="964368"/>
                    </a:lnTo>
                    <a:lnTo>
                      <a:pt x="777869" y="953315"/>
                    </a:lnTo>
                    <a:lnTo>
                      <a:pt x="777226" y="929258"/>
                    </a:lnTo>
                    <a:lnTo>
                      <a:pt x="779833" y="905206"/>
                    </a:lnTo>
                    <a:lnTo>
                      <a:pt x="775922" y="901304"/>
                    </a:lnTo>
                    <a:lnTo>
                      <a:pt x="774619" y="881149"/>
                    </a:lnTo>
                    <a:lnTo>
                      <a:pt x="774619" y="855798"/>
                    </a:lnTo>
                    <a:lnTo>
                      <a:pt x="778529" y="845392"/>
                    </a:lnTo>
                    <a:lnTo>
                      <a:pt x="779172" y="826540"/>
                    </a:lnTo>
                    <a:lnTo>
                      <a:pt x="782422" y="818737"/>
                    </a:lnTo>
                    <a:lnTo>
                      <a:pt x="800635" y="814188"/>
                    </a:lnTo>
                    <a:lnTo>
                      <a:pt x="810385" y="805086"/>
                    </a:lnTo>
                    <a:lnTo>
                      <a:pt x="825331" y="805086"/>
                    </a:lnTo>
                    <a:lnTo>
                      <a:pt x="828580" y="802488"/>
                    </a:lnTo>
                    <a:lnTo>
                      <a:pt x="836383" y="773882"/>
                    </a:lnTo>
                    <a:lnTo>
                      <a:pt x="841580" y="762173"/>
                    </a:lnTo>
                    <a:lnTo>
                      <a:pt x="814278" y="756973"/>
                    </a:lnTo>
                    <a:lnTo>
                      <a:pt x="818831" y="762173"/>
                    </a:lnTo>
                    <a:lnTo>
                      <a:pt x="817527" y="772579"/>
                    </a:lnTo>
                    <a:lnTo>
                      <a:pt x="809724" y="774530"/>
                    </a:lnTo>
                    <a:lnTo>
                      <a:pt x="794136" y="772579"/>
                    </a:lnTo>
                    <a:lnTo>
                      <a:pt x="784368" y="773882"/>
                    </a:lnTo>
                    <a:lnTo>
                      <a:pt x="782422" y="763477"/>
                    </a:lnTo>
                    <a:lnTo>
                      <a:pt x="786975" y="758276"/>
                    </a:lnTo>
                    <a:lnTo>
                      <a:pt x="799332" y="756325"/>
                    </a:lnTo>
                    <a:lnTo>
                      <a:pt x="798671" y="736179"/>
                    </a:lnTo>
                    <a:lnTo>
                      <a:pt x="805171" y="730318"/>
                    </a:lnTo>
                    <a:lnTo>
                      <a:pt x="811028" y="730978"/>
                    </a:lnTo>
                    <a:lnTo>
                      <a:pt x="827937" y="742674"/>
                    </a:lnTo>
                    <a:lnTo>
                      <a:pt x="843544" y="749174"/>
                    </a:lnTo>
                    <a:lnTo>
                      <a:pt x="854597" y="730978"/>
                    </a:lnTo>
                    <a:lnTo>
                      <a:pt x="872149" y="727068"/>
                    </a:lnTo>
                    <a:lnTo>
                      <a:pt x="870846" y="710819"/>
                    </a:lnTo>
                    <a:lnTo>
                      <a:pt x="874739" y="699766"/>
                    </a:lnTo>
                    <a:lnTo>
                      <a:pt x="880595" y="697810"/>
                    </a:lnTo>
                    <a:lnTo>
                      <a:pt x="889702" y="688066"/>
                    </a:lnTo>
                    <a:lnTo>
                      <a:pt x="894898" y="676361"/>
                    </a:lnTo>
                    <a:lnTo>
                      <a:pt x="901398" y="670508"/>
                    </a:lnTo>
                    <a:lnTo>
                      <a:pt x="905951" y="658156"/>
                    </a:lnTo>
                    <a:lnTo>
                      <a:pt x="915058" y="644505"/>
                    </a:lnTo>
                    <a:lnTo>
                      <a:pt x="919593" y="634100"/>
                    </a:lnTo>
                    <a:lnTo>
                      <a:pt x="930003" y="589245"/>
                    </a:lnTo>
                    <a:lnTo>
                      <a:pt x="932610" y="567139"/>
                    </a:lnTo>
                    <a:lnTo>
                      <a:pt x="935200" y="561938"/>
                    </a:lnTo>
                    <a:lnTo>
                      <a:pt x="937807" y="532685"/>
                    </a:lnTo>
                    <a:lnTo>
                      <a:pt x="939753" y="528132"/>
                    </a:lnTo>
                    <a:lnTo>
                      <a:pt x="943663" y="474180"/>
                    </a:lnTo>
                    <a:lnTo>
                      <a:pt x="949502" y="419562"/>
                    </a:lnTo>
                    <a:lnTo>
                      <a:pt x="952752" y="402661"/>
                    </a:lnTo>
                    <a:lnTo>
                      <a:pt x="953413" y="387055"/>
                    </a:lnTo>
                    <a:lnTo>
                      <a:pt x="958609" y="369502"/>
                    </a:lnTo>
                    <a:lnTo>
                      <a:pt x="960555" y="352601"/>
                    </a:lnTo>
                    <a:lnTo>
                      <a:pt x="963805" y="341548"/>
                    </a:lnTo>
                    <a:lnTo>
                      <a:pt x="963805" y="325946"/>
                    </a:lnTo>
                    <a:lnTo>
                      <a:pt x="961216" y="317492"/>
                    </a:lnTo>
                    <a:lnTo>
                      <a:pt x="966412" y="314242"/>
                    </a:lnTo>
                    <a:lnTo>
                      <a:pt x="970305" y="279788"/>
                    </a:lnTo>
                    <a:lnTo>
                      <a:pt x="973555" y="271333"/>
                    </a:lnTo>
                    <a:lnTo>
                      <a:pt x="982661" y="219974"/>
                    </a:lnTo>
                    <a:lnTo>
                      <a:pt x="997607" y="179669"/>
                    </a:lnTo>
                    <a:lnTo>
                      <a:pt x="998910" y="172517"/>
                    </a:lnTo>
                    <a:lnTo>
                      <a:pt x="1011910" y="149759"/>
                    </a:lnTo>
                    <a:lnTo>
                      <a:pt x="1022320" y="141965"/>
                    </a:lnTo>
                    <a:lnTo>
                      <a:pt x="1026213" y="129609"/>
                    </a:lnTo>
                    <a:lnTo>
                      <a:pt x="1032730" y="123756"/>
                    </a:lnTo>
                    <a:lnTo>
                      <a:pt x="1039872" y="122457"/>
                    </a:lnTo>
                    <a:lnTo>
                      <a:pt x="1042479" y="106851"/>
                    </a:lnTo>
                    <a:lnTo>
                      <a:pt x="1047676" y="91249"/>
                    </a:lnTo>
                    <a:lnTo>
                      <a:pt x="1054175" y="80201"/>
                    </a:lnTo>
                    <a:lnTo>
                      <a:pt x="1065871" y="71746"/>
                    </a:lnTo>
                    <a:lnTo>
                      <a:pt x="1081478" y="65246"/>
                    </a:lnTo>
                    <a:lnTo>
                      <a:pt x="1089281" y="59394"/>
                    </a:lnTo>
                    <a:lnTo>
                      <a:pt x="1099030" y="47042"/>
                    </a:lnTo>
                    <a:lnTo>
                      <a:pt x="1100334" y="37944"/>
                    </a:lnTo>
                    <a:lnTo>
                      <a:pt x="1107494" y="32739"/>
                    </a:lnTo>
                    <a:lnTo>
                      <a:pt x="1097084" y="23686"/>
                    </a:lnTo>
                    <a:lnTo>
                      <a:pt x="795850" y="4455"/>
                    </a:lnTo>
                    <a:lnTo>
                      <a:pt x="794868" y="2959"/>
                    </a:lnTo>
                    <a:lnTo>
                      <a:pt x="767244" y="0"/>
                    </a:lnTo>
                    <a:lnTo>
                      <a:pt x="615074" y="44953"/>
                    </a:lnTo>
                    <a:lnTo>
                      <a:pt x="350124" y="115926"/>
                    </a:lnTo>
                    <a:lnTo>
                      <a:pt x="170330" y="153777"/>
                    </a:lnTo>
                    <a:lnTo>
                      <a:pt x="184525" y="205823"/>
                    </a:lnTo>
                    <a:lnTo>
                      <a:pt x="146670" y="224746"/>
                    </a:lnTo>
                    <a:lnTo>
                      <a:pt x="146670" y="617453"/>
                    </a:lnTo>
                    <a:lnTo>
                      <a:pt x="179793" y="650572"/>
                    </a:lnTo>
                    <a:lnTo>
                      <a:pt x="141938" y="683695"/>
                    </a:lnTo>
                    <a:lnTo>
                      <a:pt x="47318" y="712082"/>
                    </a:lnTo>
                    <a:lnTo>
                      <a:pt x="9463" y="764128"/>
                    </a:lnTo>
                    <a:lnTo>
                      <a:pt x="0" y="901335"/>
                    </a:lnTo>
                    <a:lnTo>
                      <a:pt x="10195" y="1115400"/>
                    </a:lnTo>
                    <a:lnTo>
                      <a:pt x="12945" y="1115444"/>
                    </a:lnTo>
                    <a:lnTo>
                      <a:pt x="9463" y="1185222"/>
                    </a:lnTo>
                    <a:lnTo>
                      <a:pt x="7285" y="1186369"/>
                    </a:lnTo>
                    <a:lnTo>
                      <a:pt x="80424" y="1208877"/>
                    </a:lnTo>
                    <a:lnTo>
                      <a:pt x="123011" y="1133176"/>
                    </a:lnTo>
                    <a:lnTo>
                      <a:pt x="146670" y="1450181"/>
                    </a:lnTo>
                    <a:lnTo>
                      <a:pt x="160866" y="1729331"/>
                    </a:lnTo>
                    <a:lnTo>
                      <a:pt x="188829" y="1807407"/>
                    </a:lnTo>
                    <a:lnTo>
                      <a:pt x="164616" y="1855485"/>
                    </a:lnTo>
                    <a:lnTo>
                      <a:pt x="164634" y="1888180"/>
                    </a:lnTo>
                    <a:lnTo>
                      <a:pt x="166991" y="1918549"/>
                    </a:lnTo>
                    <a:lnTo>
                      <a:pt x="176312" y="1951243"/>
                    </a:lnTo>
                    <a:lnTo>
                      <a:pt x="176329" y="1983943"/>
                    </a:lnTo>
                    <a:lnTo>
                      <a:pt x="169366" y="1995621"/>
                    </a:lnTo>
                    <a:lnTo>
                      <a:pt x="157723" y="2009651"/>
                    </a:lnTo>
                    <a:lnTo>
                      <a:pt x="136814" y="2028355"/>
                    </a:lnTo>
                    <a:lnTo>
                      <a:pt x="130332" y="2037471"/>
                    </a:lnTo>
                    <a:lnTo>
                      <a:pt x="137207" y="2036873"/>
                    </a:lnTo>
                    <a:lnTo>
                      <a:pt x="380890" y="2036873"/>
                    </a:lnTo>
                    <a:lnTo>
                      <a:pt x="379694" y="2037440"/>
                    </a:lnTo>
                    <a:lnTo>
                      <a:pt x="667125" y="2041605"/>
                    </a:lnTo>
                    <a:lnTo>
                      <a:pt x="747960" y="1986639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9524" tIns="204118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64" name="shp_Region_Belize_$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1BF0100}"/>
                  </a:ext>
                </a:extLst>
              </p:cNvPr>
              <p:cNvSpPr/>
              <p:nvPr/>
            </p:nvSpPr>
            <p:spPr>
              <a:xfrm>
                <a:off x="2688800" y="1640499"/>
                <a:ext cx="46820" cy="158631"/>
              </a:xfrm>
              <a:custGeom>
                <a:avLst/>
                <a:gdLst/>
                <a:ahLst/>
                <a:cxnLst/>
                <a:rect l="0" t="0" r="0" b="0"/>
                <a:pathLst>
                  <a:path w="46820" h="158631">
                    <a:moveTo>
                      <a:pt x="45515" y="0"/>
                    </a:moveTo>
                    <a:lnTo>
                      <a:pt x="40319" y="1951"/>
                    </a:lnTo>
                    <a:lnTo>
                      <a:pt x="39016" y="11700"/>
                    </a:lnTo>
                    <a:lnTo>
                      <a:pt x="29909" y="19504"/>
                    </a:lnTo>
                    <a:lnTo>
                      <a:pt x="29909" y="32503"/>
                    </a:lnTo>
                    <a:lnTo>
                      <a:pt x="20802" y="48109"/>
                    </a:lnTo>
                    <a:lnTo>
                      <a:pt x="21463" y="70211"/>
                    </a:lnTo>
                    <a:lnTo>
                      <a:pt x="15606" y="89067"/>
                    </a:lnTo>
                    <a:lnTo>
                      <a:pt x="29266" y="100120"/>
                    </a:lnTo>
                    <a:lnTo>
                      <a:pt x="31213" y="114427"/>
                    </a:lnTo>
                    <a:lnTo>
                      <a:pt x="26659" y="126775"/>
                    </a:lnTo>
                    <a:lnTo>
                      <a:pt x="21463" y="132627"/>
                    </a:lnTo>
                    <a:lnTo>
                      <a:pt x="13660" y="126775"/>
                    </a:lnTo>
                    <a:lnTo>
                      <a:pt x="7160" y="126775"/>
                    </a:lnTo>
                    <a:lnTo>
                      <a:pt x="1964" y="133274"/>
                    </a:lnTo>
                    <a:lnTo>
                      <a:pt x="0" y="158630"/>
                    </a:lnTo>
                    <a:lnTo>
                      <a:pt x="15606" y="157327"/>
                    </a:lnTo>
                    <a:lnTo>
                      <a:pt x="24713" y="150175"/>
                    </a:lnTo>
                    <a:lnTo>
                      <a:pt x="35105" y="126123"/>
                    </a:lnTo>
                    <a:lnTo>
                      <a:pt x="35105" y="108570"/>
                    </a:lnTo>
                    <a:lnTo>
                      <a:pt x="31213" y="86460"/>
                    </a:lnTo>
                    <a:lnTo>
                      <a:pt x="31213" y="55908"/>
                    </a:lnTo>
                    <a:lnTo>
                      <a:pt x="40319" y="22102"/>
                    </a:lnTo>
                    <a:lnTo>
                      <a:pt x="46819" y="8451"/>
                    </a:lnTo>
                    <a:lnTo>
                      <a:pt x="4551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3946" tIns="15859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65" name="shp_Region_Belize_$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2BF0100}"/>
                  </a:ext>
                </a:extLst>
              </p:cNvPr>
              <p:cNvSpPr/>
              <p:nvPr/>
            </p:nvSpPr>
            <p:spPr>
              <a:xfrm>
                <a:off x="2302624" y="1819931"/>
                <a:ext cx="250952" cy="185286"/>
              </a:xfrm>
              <a:custGeom>
                <a:avLst/>
                <a:gdLst/>
                <a:ahLst/>
                <a:cxnLst/>
                <a:rect l="0" t="0" r="0" b="0"/>
                <a:pathLst>
                  <a:path w="250952" h="185286">
                    <a:moveTo>
                      <a:pt x="141082" y="161233"/>
                    </a:moveTo>
                    <a:lnTo>
                      <a:pt x="145635" y="154729"/>
                    </a:lnTo>
                    <a:lnTo>
                      <a:pt x="136529" y="147577"/>
                    </a:lnTo>
                    <a:lnTo>
                      <a:pt x="125476" y="145631"/>
                    </a:lnTo>
                    <a:lnTo>
                      <a:pt x="136529" y="135230"/>
                    </a:lnTo>
                    <a:lnTo>
                      <a:pt x="143028" y="124824"/>
                    </a:lnTo>
                    <a:lnTo>
                      <a:pt x="144992" y="116374"/>
                    </a:lnTo>
                    <a:lnTo>
                      <a:pt x="156688" y="104669"/>
                    </a:lnTo>
                    <a:lnTo>
                      <a:pt x="172937" y="96866"/>
                    </a:lnTo>
                    <a:lnTo>
                      <a:pt x="182687" y="89067"/>
                    </a:lnTo>
                    <a:lnTo>
                      <a:pt x="189847" y="76068"/>
                    </a:lnTo>
                    <a:lnTo>
                      <a:pt x="200900" y="71514"/>
                    </a:lnTo>
                    <a:lnTo>
                      <a:pt x="213899" y="50060"/>
                    </a:lnTo>
                    <a:lnTo>
                      <a:pt x="230149" y="44860"/>
                    </a:lnTo>
                    <a:lnTo>
                      <a:pt x="237952" y="37056"/>
                    </a:lnTo>
                    <a:lnTo>
                      <a:pt x="249005" y="31856"/>
                    </a:lnTo>
                    <a:lnTo>
                      <a:pt x="250951" y="13004"/>
                    </a:lnTo>
                    <a:lnTo>
                      <a:pt x="249005" y="3898"/>
                    </a:lnTo>
                    <a:lnTo>
                      <a:pt x="242505" y="0"/>
                    </a:lnTo>
                    <a:lnTo>
                      <a:pt x="234059" y="5853"/>
                    </a:lnTo>
                    <a:lnTo>
                      <a:pt x="235363" y="14303"/>
                    </a:lnTo>
                    <a:lnTo>
                      <a:pt x="228845" y="25356"/>
                    </a:lnTo>
                    <a:lnTo>
                      <a:pt x="223649" y="27307"/>
                    </a:lnTo>
                    <a:lnTo>
                      <a:pt x="203489" y="56560"/>
                    </a:lnTo>
                    <a:lnTo>
                      <a:pt x="180741" y="68912"/>
                    </a:lnTo>
                    <a:lnTo>
                      <a:pt x="162545" y="75416"/>
                    </a:lnTo>
                    <a:lnTo>
                      <a:pt x="144992" y="77367"/>
                    </a:lnTo>
                    <a:lnTo>
                      <a:pt x="143689" y="94924"/>
                    </a:lnTo>
                    <a:lnTo>
                      <a:pt x="139778" y="99464"/>
                    </a:lnTo>
                    <a:lnTo>
                      <a:pt x="128083" y="100776"/>
                    </a:lnTo>
                    <a:lnTo>
                      <a:pt x="124833" y="96866"/>
                    </a:lnTo>
                    <a:lnTo>
                      <a:pt x="113137" y="92969"/>
                    </a:lnTo>
                    <a:lnTo>
                      <a:pt x="96227" y="102071"/>
                    </a:lnTo>
                    <a:lnTo>
                      <a:pt x="79978" y="128074"/>
                    </a:lnTo>
                    <a:lnTo>
                      <a:pt x="74121" y="139779"/>
                    </a:lnTo>
                    <a:lnTo>
                      <a:pt x="64372" y="153425"/>
                    </a:lnTo>
                    <a:lnTo>
                      <a:pt x="52676" y="162532"/>
                    </a:lnTo>
                    <a:lnTo>
                      <a:pt x="37070" y="170982"/>
                    </a:lnTo>
                    <a:lnTo>
                      <a:pt x="29266" y="165782"/>
                    </a:lnTo>
                    <a:lnTo>
                      <a:pt x="29266" y="149528"/>
                    </a:lnTo>
                    <a:lnTo>
                      <a:pt x="18856" y="148881"/>
                    </a:lnTo>
                    <a:lnTo>
                      <a:pt x="11714" y="163184"/>
                    </a:lnTo>
                    <a:lnTo>
                      <a:pt x="1304" y="168384"/>
                    </a:lnTo>
                    <a:lnTo>
                      <a:pt x="0" y="176835"/>
                    </a:lnTo>
                    <a:lnTo>
                      <a:pt x="8464" y="179437"/>
                    </a:lnTo>
                    <a:lnTo>
                      <a:pt x="9767" y="172286"/>
                    </a:lnTo>
                    <a:lnTo>
                      <a:pt x="22106" y="170335"/>
                    </a:lnTo>
                    <a:lnTo>
                      <a:pt x="24070" y="182687"/>
                    </a:lnTo>
                    <a:lnTo>
                      <a:pt x="37070" y="185285"/>
                    </a:lnTo>
                    <a:lnTo>
                      <a:pt x="38373" y="177486"/>
                    </a:lnTo>
                    <a:lnTo>
                      <a:pt x="49426" y="172933"/>
                    </a:lnTo>
                    <a:lnTo>
                      <a:pt x="68264" y="172286"/>
                    </a:lnTo>
                    <a:lnTo>
                      <a:pt x="77371" y="174884"/>
                    </a:lnTo>
                    <a:lnTo>
                      <a:pt x="83871" y="167733"/>
                    </a:lnTo>
                    <a:lnTo>
                      <a:pt x="77371" y="163826"/>
                    </a:lnTo>
                    <a:lnTo>
                      <a:pt x="72818" y="170335"/>
                    </a:lnTo>
                    <a:lnTo>
                      <a:pt x="62425" y="163184"/>
                    </a:lnTo>
                    <a:lnTo>
                      <a:pt x="66318" y="150827"/>
                    </a:lnTo>
                    <a:lnTo>
                      <a:pt x="72818" y="150180"/>
                    </a:lnTo>
                    <a:lnTo>
                      <a:pt x="80621" y="139127"/>
                    </a:lnTo>
                    <a:lnTo>
                      <a:pt x="89728" y="136529"/>
                    </a:lnTo>
                    <a:lnTo>
                      <a:pt x="97531" y="122873"/>
                    </a:lnTo>
                    <a:lnTo>
                      <a:pt x="98174" y="114423"/>
                    </a:lnTo>
                    <a:lnTo>
                      <a:pt x="110530" y="112472"/>
                    </a:lnTo>
                    <a:lnTo>
                      <a:pt x="113137" y="98174"/>
                    </a:lnTo>
                    <a:lnTo>
                      <a:pt x="118976" y="100776"/>
                    </a:lnTo>
                    <a:lnTo>
                      <a:pt x="126779" y="116374"/>
                    </a:lnTo>
                    <a:lnTo>
                      <a:pt x="137832" y="112472"/>
                    </a:lnTo>
                    <a:lnTo>
                      <a:pt x="141082" y="121570"/>
                    </a:lnTo>
                    <a:lnTo>
                      <a:pt x="134582" y="125476"/>
                    </a:lnTo>
                    <a:lnTo>
                      <a:pt x="131975" y="133275"/>
                    </a:lnTo>
                    <a:lnTo>
                      <a:pt x="118976" y="131324"/>
                    </a:lnTo>
                    <a:lnTo>
                      <a:pt x="113780" y="139127"/>
                    </a:lnTo>
                    <a:lnTo>
                      <a:pt x="103388" y="144328"/>
                    </a:lnTo>
                    <a:lnTo>
                      <a:pt x="102084" y="152778"/>
                    </a:lnTo>
                    <a:lnTo>
                      <a:pt x="118976" y="154082"/>
                    </a:lnTo>
                    <a:lnTo>
                      <a:pt x="128725" y="157983"/>
                    </a:lnTo>
                    <a:lnTo>
                      <a:pt x="134582" y="156680"/>
                    </a:lnTo>
                    <a:lnTo>
                      <a:pt x="141082" y="161233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35550" tIns="18524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66" name="shp_Region_Belize_$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3BF0100}"/>
                  </a:ext>
                </a:extLst>
              </p:cNvPr>
              <p:cNvSpPr/>
              <p:nvPr/>
            </p:nvSpPr>
            <p:spPr>
              <a:xfrm>
                <a:off x="2674497" y="1835533"/>
                <a:ext cx="11715" cy="57213"/>
              </a:xfrm>
              <a:custGeom>
                <a:avLst/>
                <a:gdLst/>
                <a:ahLst/>
                <a:cxnLst/>
                <a:rect l="0" t="0" r="0" b="0"/>
                <a:pathLst>
                  <a:path w="11715" h="57213">
                    <a:moveTo>
                      <a:pt x="11714" y="0"/>
                    </a:moveTo>
                    <a:lnTo>
                      <a:pt x="5857" y="15611"/>
                    </a:lnTo>
                    <a:lnTo>
                      <a:pt x="4553" y="26655"/>
                    </a:lnTo>
                    <a:lnTo>
                      <a:pt x="0" y="37708"/>
                    </a:lnTo>
                    <a:lnTo>
                      <a:pt x="1964" y="57212"/>
                    </a:lnTo>
                    <a:lnTo>
                      <a:pt x="9768" y="53962"/>
                    </a:lnTo>
                    <a:lnTo>
                      <a:pt x="11714" y="48761"/>
                    </a:lnTo>
                    <a:lnTo>
                      <a:pt x="1171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996" tIns="5720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67" name="shp_Region_Belize_$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4BF0100}"/>
                  </a:ext>
                </a:extLst>
              </p:cNvPr>
              <p:cNvSpPr/>
              <p:nvPr/>
            </p:nvSpPr>
            <p:spPr>
              <a:xfrm>
                <a:off x="2448259" y="1982463"/>
                <a:ext cx="11697" cy="110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1054">
                    <a:moveTo>
                      <a:pt x="5857" y="0"/>
                    </a:moveTo>
                    <a:lnTo>
                      <a:pt x="0" y="3901"/>
                    </a:lnTo>
                    <a:lnTo>
                      <a:pt x="5857" y="11053"/>
                    </a:lnTo>
                    <a:lnTo>
                      <a:pt x="11696" y="3250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979" tIns="110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68" name="shp_Region_Belize_$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5BF0100}"/>
                  </a:ext>
                </a:extLst>
              </p:cNvPr>
              <p:cNvSpPr/>
              <p:nvPr/>
            </p:nvSpPr>
            <p:spPr>
              <a:xfrm>
                <a:off x="2463866" y="1987664"/>
                <a:ext cx="55908" cy="43561"/>
              </a:xfrm>
              <a:custGeom>
                <a:avLst/>
                <a:gdLst/>
                <a:ahLst/>
                <a:cxnLst/>
                <a:rect l="0" t="0" r="0" b="0"/>
                <a:pathLst>
                  <a:path w="55908" h="43561">
                    <a:moveTo>
                      <a:pt x="3249" y="0"/>
                    </a:moveTo>
                    <a:lnTo>
                      <a:pt x="1303" y="4553"/>
                    </a:lnTo>
                    <a:lnTo>
                      <a:pt x="0" y="26659"/>
                    </a:lnTo>
                    <a:lnTo>
                      <a:pt x="16909" y="22748"/>
                    </a:lnTo>
                    <a:lnTo>
                      <a:pt x="31855" y="24704"/>
                    </a:lnTo>
                    <a:lnTo>
                      <a:pt x="42247" y="43560"/>
                    </a:lnTo>
                    <a:lnTo>
                      <a:pt x="55907" y="42908"/>
                    </a:lnTo>
                    <a:lnTo>
                      <a:pt x="44854" y="18204"/>
                    </a:lnTo>
                    <a:lnTo>
                      <a:pt x="41604" y="15601"/>
                    </a:lnTo>
                    <a:lnTo>
                      <a:pt x="29248" y="16253"/>
                    </a:lnTo>
                    <a:lnTo>
                      <a:pt x="14945" y="13651"/>
                    </a:lnTo>
                    <a:lnTo>
                      <a:pt x="8446" y="9102"/>
                    </a:lnTo>
                    <a:lnTo>
                      <a:pt x="324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2477" tIns="435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69" name="shp_Region_Belize_$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6BF0100}"/>
                  </a:ext>
                </a:extLst>
              </p:cNvPr>
              <p:cNvSpPr/>
              <p:nvPr/>
            </p:nvSpPr>
            <p:spPr>
              <a:xfrm>
                <a:off x="2610143" y="1996114"/>
                <a:ext cx="20804" cy="4876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48762">
                    <a:moveTo>
                      <a:pt x="16910" y="0"/>
                    </a:moveTo>
                    <a:lnTo>
                      <a:pt x="5857" y="5201"/>
                    </a:lnTo>
                    <a:lnTo>
                      <a:pt x="4554" y="18209"/>
                    </a:lnTo>
                    <a:lnTo>
                      <a:pt x="643" y="26655"/>
                    </a:lnTo>
                    <a:lnTo>
                      <a:pt x="0" y="44859"/>
                    </a:lnTo>
                    <a:lnTo>
                      <a:pt x="3893" y="48761"/>
                    </a:lnTo>
                    <a:lnTo>
                      <a:pt x="12357" y="42908"/>
                    </a:lnTo>
                    <a:lnTo>
                      <a:pt x="14946" y="20811"/>
                    </a:lnTo>
                    <a:lnTo>
                      <a:pt x="20803" y="15611"/>
                    </a:lnTo>
                    <a:lnTo>
                      <a:pt x="1691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9527" tIns="487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0" name="shp_Region_Belize_$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7BF0100}"/>
                  </a:ext>
                </a:extLst>
              </p:cNvPr>
              <p:cNvSpPr/>
              <p:nvPr/>
            </p:nvSpPr>
            <p:spPr>
              <a:xfrm>
                <a:off x="2530826" y="2033175"/>
                <a:ext cx="71515" cy="117021"/>
              </a:xfrm>
              <a:custGeom>
                <a:avLst/>
                <a:gdLst/>
                <a:ahLst/>
                <a:cxnLst/>
                <a:rect l="0" t="0" r="0" b="0"/>
                <a:pathLst>
                  <a:path w="71515" h="117021">
                    <a:moveTo>
                      <a:pt x="54604" y="112471"/>
                    </a:moveTo>
                    <a:lnTo>
                      <a:pt x="63068" y="117020"/>
                    </a:lnTo>
                    <a:lnTo>
                      <a:pt x="67622" y="113118"/>
                    </a:lnTo>
                    <a:lnTo>
                      <a:pt x="63711" y="106623"/>
                    </a:lnTo>
                    <a:lnTo>
                      <a:pt x="66318" y="96218"/>
                    </a:lnTo>
                    <a:lnTo>
                      <a:pt x="63068" y="89066"/>
                    </a:lnTo>
                    <a:lnTo>
                      <a:pt x="71514" y="81263"/>
                    </a:lnTo>
                    <a:lnTo>
                      <a:pt x="59158" y="62411"/>
                    </a:lnTo>
                    <a:lnTo>
                      <a:pt x="66961" y="50059"/>
                    </a:lnTo>
                    <a:lnTo>
                      <a:pt x="62408" y="44859"/>
                    </a:lnTo>
                    <a:lnTo>
                      <a:pt x="58515" y="19503"/>
                    </a:lnTo>
                    <a:lnTo>
                      <a:pt x="50712" y="15606"/>
                    </a:lnTo>
                    <a:lnTo>
                      <a:pt x="33159" y="1299"/>
                    </a:lnTo>
                    <a:lnTo>
                      <a:pt x="17553" y="3249"/>
                    </a:lnTo>
                    <a:lnTo>
                      <a:pt x="14303" y="0"/>
                    </a:lnTo>
                    <a:lnTo>
                      <a:pt x="1304" y="1299"/>
                    </a:lnTo>
                    <a:lnTo>
                      <a:pt x="0" y="5847"/>
                    </a:lnTo>
                    <a:lnTo>
                      <a:pt x="11053" y="11700"/>
                    </a:lnTo>
                    <a:lnTo>
                      <a:pt x="13660" y="17552"/>
                    </a:lnTo>
                    <a:lnTo>
                      <a:pt x="33802" y="39654"/>
                    </a:lnTo>
                    <a:lnTo>
                      <a:pt x="31213" y="50707"/>
                    </a:lnTo>
                    <a:lnTo>
                      <a:pt x="42266" y="62411"/>
                    </a:lnTo>
                    <a:lnTo>
                      <a:pt x="44212" y="72165"/>
                    </a:lnTo>
                    <a:lnTo>
                      <a:pt x="53319" y="71509"/>
                    </a:lnTo>
                    <a:lnTo>
                      <a:pt x="54604" y="76714"/>
                    </a:lnTo>
                    <a:lnTo>
                      <a:pt x="47462" y="86464"/>
                    </a:lnTo>
                    <a:lnTo>
                      <a:pt x="47462" y="93615"/>
                    </a:lnTo>
                    <a:lnTo>
                      <a:pt x="41605" y="100762"/>
                    </a:lnTo>
                    <a:lnTo>
                      <a:pt x="54604" y="112471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7126" tIns="1169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1" name="shp_Region_Belize_$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8BF0100}"/>
                  </a:ext>
                </a:extLst>
              </p:cNvPr>
              <p:cNvSpPr/>
              <p:nvPr/>
            </p:nvSpPr>
            <p:spPr>
              <a:xfrm>
                <a:off x="2123848" y="2052678"/>
                <a:ext cx="20804" cy="1365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3652">
                    <a:moveTo>
                      <a:pt x="6500" y="0"/>
                    </a:moveTo>
                    <a:lnTo>
                      <a:pt x="0" y="6500"/>
                    </a:lnTo>
                    <a:lnTo>
                      <a:pt x="8446" y="13651"/>
                    </a:lnTo>
                    <a:lnTo>
                      <a:pt x="17553" y="12352"/>
                    </a:lnTo>
                    <a:lnTo>
                      <a:pt x="20803" y="3902"/>
                    </a:lnTo>
                    <a:lnTo>
                      <a:pt x="6500" y="5848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9527" tIns="1364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2" name="shp_Region_Belize_$1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9BF0100}"/>
                  </a:ext>
                </a:extLst>
              </p:cNvPr>
              <p:cNvSpPr/>
              <p:nvPr/>
            </p:nvSpPr>
            <p:spPr>
              <a:xfrm>
                <a:off x="2111492" y="2074132"/>
                <a:ext cx="13000" cy="26656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26656">
                    <a:moveTo>
                      <a:pt x="9106" y="0"/>
                    </a:moveTo>
                    <a:lnTo>
                      <a:pt x="8463" y="12352"/>
                    </a:lnTo>
                    <a:lnTo>
                      <a:pt x="0" y="26003"/>
                    </a:lnTo>
                    <a:lnTo>
                      <a:pt x="12356" y="26655"/>
                    </a:lnTo>
                    <a:lnTo>
                      <a:pt x="12999" y="13651"/>
                    </a:lnTo>
                    <a:lnTo>
                      <a:pt x="91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202" tIns="266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3" name="shp_Region_Belize_$1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ABF0100}"/>
                  </a:ext>
                </a:extLst>
              </p:cNvPr>
              <p:cNvSpPr/>
              <p:nvPr/>
            </p:nvSpPr>
            <p:spPr>
              <a:xfrm>
                <a:off x="2291589" y="2149543"/>
                <a:ext cx="18839" cy="21451"/>
              </a:xfrm>
              <a:custGeom>
                <a:avLst/>
                <a:gdLst/>
                <a:ahLst/>
                <a:cxnLst/>
                <a:rect l="0" t="0" r="0" b="0"/>
                <a:pathLst>
                  <a:path w="18839" h="21451">
                    <a:moveTo>
                      <a:pt x="18195" y="0"/>
                    </a:moveTo>
                    <a:lnTo>
                      <a:pt x="5839" y="1304"/>
                    </a:lnTo>
                    <a:lnTo>
                      <a:pt x="5839" y="11049"/>
                    </a:lnTo>
                    <a:lnTo>
                      <a:pt x="0" y="14303"/>
                    </a:lnTo>
                    <a:lnTo>
                      <a:pt x="3893" y="21450"/>
                    </a:lnTo>
                    <a:lnTo>
                      <a:pt x="11035" y="14303"/>
                    </a:lnTo>
                    <a:lnTo>
                      <a:pt x="18838" y="12352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7683" tIns="2144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4" name="shp_Region_Belize_$1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BBF0100}"/>
                  </a:ext>
                </a:extLst>
              </p:cNvPr>
              <p:cNvSpPr/>
              <p:nvPr/>
            </p:nvSpPr>
            <p:spPr>
              <a:xfrm>
                <a:off x="2590644" y="2152798"/>
                <a:ext cx="24054" cy="24705"/>
              </a:xfrm>
              <a:custGeom>
                <a:avLst/>
                <a:gdLst/>
                <a:ahLst/>
                <a:cxnLst/>
                <a:rect l="0" t="0" r="0" b="0"/>
                <a:pathLst>
                  <a:path w="24054" h="24705">
                    <a:moveTo>
                      <a:pt x="15589" y="0"/>
                    </a:moveTo>
                    <a:lnTo>
                      <a:pt x="1286" y="647"/>
                    </a:lnTo>
                    <a:lnTo>
                      <a:pt x="0" y="16253"/>
                    </a:lnTo>
                    <a:lnTo>
                      <a:pt x="10393" y="16253"/>
                    </a:lnTo>
                    <a:lnTo>
                      <a:pt x="18196" y="24704"/>
                    </a:lnTo>
                    <a:lnTo>
                      <a:pt x="24053" y="12352"/>
                    </a:lnTo>
                    <a:lnTo>
                      <a:pt x="1558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2578" tIns="247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5" name="shp_Region_Belize_$1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CBF0100}"/>
                  </a:ext>
                </a:extLst>
              </p:cNvPr>
              <p:cNvSpPr/>
              <p:nvPr/>
            </p:nvSpPr>
            <p:spPr>
              <a:xfrm>
                <a:off x="2208361" y="2161895"/>
                <a:ext cx="21464" cy="21456"/>
              </a:xfrm>
              <a:custGeom>
                <a:avLst/>
                <a:gdLst/>
                <a:ahLst/>
                <a:cxnLst/>
                <a:rect l="0" t="0" r="0" b="0"/>
                <a:pathLst>
                  <a:path w="21464" h="21456">
                    <a:moveTo>
                      <a:pt x="21463" y="0"/>
                    </a:moveTo>
                    <a:lnTo>
                      <a:pt x="9107" y="2603"/>
                    </a:lnTo>
                    <a:lnTo>
                      <a:pt x="3250" y="9098"/>
                    </a:lnTo>
                    <a:lnTo>
                      <a:pt x="0" y="18205"/>
                    </a:lnTo>
                    <a:lnTo>
                      <a:pt x="9750" y="21455"/>
                    </a:lnTo>
                    <a:lnTo>
                      <a:pt x="11053" y="13004"/>
                    </a:lnTo>
                    <a:lnTo>
                      <a:pt x="20160" y="6500"/>
                    </a:lnTo>
                    <a:lnTo>
                      <a:pt x="2146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0147" tIns="214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6" name="shp_Region_Belize_$1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DBF0100}"/>
                  </a:ext>
                </a:extLst>
              </p:cNvPr>
              <p:cNvSpPr/>
              <p:nvPr/>
            </p:nvSpPr>
            <p:spPr>
              <a:xfrm>
                <a:off x="2363103" y="2171645"/>
                <a:ext cx="21446" cy="29263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3">
                    <a:moveTo>
                      <a:pt x="18195" y="0"/>
                    </a:moveTo>
                    <a:lnTo>
                      <a:pt x="9750" y="1303"/>
                    </a:lnTo>
                    <a:lnTo>
                      <a:pt x="6500" y="13008"/>
                    </a:lnTo>
                    <a:lnTo>
                      <a:pt x="0" y="18856"/>
                    </a:lnTo>
                    <a:lnTo>
                      <a:pt x="0" y="25360"/>
                    </a:lnTo>
                    <a:lnTo>
                      <a:pt x="5839" y="29262"/>
                    </a:lnTo>
                    <a:lnTo>
                      <a:pt x="11696" y="20807"/>
                    </a:lnTo>
                    <a:lnTo>
                      <a:pt x="21445" y="15606"/>
                    </a:lnTo>
                    <a:lnTo>
                      <a:pt x="21445" y="5205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0130" tIns="292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7" name="shp_Region_Belize_$1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EBF0100}"/>
                  </a:ext>
                </a:extLst>
              </p:cNvPr>
              <p:cNvSpPr/>
              <p:nvPr/>
            </p:nvSpPr>
            <p:spPr>
              <a:xfrm>
                <a:off x="2599090" y="2189202"/>
                <a:ext cx="16911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11706">
                    <a:moveTo>
                      <a:pt x="11053" y="0"/>
                    </a:moveTo>
                    <a:lnTo>
                      <a:pt x="0" y="5201"/>
                    </a:lnTo>
                    <a:lnTo>
                      <a:pt x="16910" y="11705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5873" tIns="117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8" name="shp_Region_Belize_$1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5FBF0100}"/>
                  </a:ext>
                </a:extLst>
              </p:cNvPr>
              <p:cNvSpPr/>
              <p:nvPr/>
            </p:nvSpPr>
            <p:spPr>
              <a:xfrm>
                <a:off x="2350746" y="2200255"/>
                <a:ext cx="11054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27303">
                    <a:moveTo>
                      <a:pt x="11053" y="0"/>
                    </a:moveTo>
                    <a:lnTo>
                      <a:pt x="7143" y="9107"/>
                    </a:lnTo>
                    <a:lnTo>
                      <a:pt x="0" y="14954"/>
                    </a:lnTo>
                    <a:lnTo>
                      <a:pt x="0" y="27302"/>
                    </a:lnTo>
                    <a:lnTo>
                      <a:pt x="9089" y="240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272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79" name="shp_Region_Belize_$1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0BF0100}"/>
                  </a:ext>
                </a:extLst>
              </p:cNvPr>
              <p:cNvSpPr/>
              <p:nvPr/>
            </p:nvSpPr>
            <p:spPr>
              <a:xfrm>
                <a:off x="2920895" y="2223008"/>
                <a:ext cx="416728" cy="598764"/>
              </a:xfrm>
              <a:custGeom>
                <a:avLst/>
                <a:gdLst/>
                <a:ahLst/>
                <a:cxnLst/>
                <a:rect l="0" t="0" r="0" b="0"/>
                <a:pathLst>
                  <a:path w="416728" h="598764">
                    <a:moveTo>
                      <a:pt x="298412" y="24704"/>
                    </a:moveTo>
                    <a:lnTo>
                      <a:pt x="295163" y="39663"/>
                    </a:lnTo>
                    <a:lnTo>
                      <a:pt x="288002" y="46810"/>
                    </a:lnTo>
                    <a:lnTo>
                      <a:pt x="278253" y="50712"/>
                    </a:lnTo>
                    <a:lnTo>
                      <a:pt x="269807" y="66309"/>
                    </a:lnTo>
                    <a:lnTo>
                      <a:pt x="268503" y="84518"/>
                    </a:lnTo>
                    <a:lnTo>
                      <a:pt x="260057" y="98165"/>
                    </a:lnTo>
                    <a:lnTo>
                      <a:pt x="278913" y="88420"/>
                    </a:lnTo>
                    <a:lnTo>
                      <a:pt x="278913" y="80616"/>
                    </a:lnTo>
                    <a:lnTo>
                      <a:pt x="282806" y="70215"/>
                    </a:lnTo>
                    <a:lnTo>
                      <a:pt x="284752" y="57211"/>
                    </a:lnTo>
                    <a:lnTo>
                      <a:pt x="295163" y="54613"/>
                    </a:lnTo>
                    <a:lnTo>
                      <a:pt x="294520" y="45516"/>
                    </a:lnTo>
                    <a:lnTo>
                      <a:pt x="299055" y="40958"/>
                    </a:lnTo>
                    <a:lnTo>
                      <a:pt x="306215" y="42909"/>
                    </a:lnTo>
                    <a:lnTo>
                      <a:pt x="311412" y="50712"/>
                    </a:lnTo>
                    <a:lnTo>
                      <a:pt x="328321" y="50060"/>
                    </a:lnTo>
                    <a:lnTo>
                      <a:pt x="331571" y="53310"/>
                    </a:lnTo>
                    <a:lnTo>
                      <a:pt x="331571" y="66309"/>
                    </a:lnTo>
                    <a:lnTo>
                      <a:pt x="324411" y="75416"/>
                    </a:lnTo>
                    <a:lnTo>
                      <a:pt x="325072" y="91018"/>
                    </a:lnTo>
                    <a:lnTo>
                      <a:pt x="345213" y="91018"/>
                    </a:lnTo>
                    <a:lnTo>
                      <a:pt x="345213" y="102071"/>
                    </a:lnTo>
                    <a:lnTo>
                      <a:pt x="348481" y="111173"/>
                    </a:lnTo>
                    <a:lnTo>
                      <a:pt x="330268" y="116373"/>
                    </a:lnTo>
                    <a:lnTo>
                      <a:pt x="315965" y="115074"/>
                    </a:lnTo>
                    <a:lnTo>
                      <a:pt x="312072" y="121574"/>
                    </a:lnTo>
                    <a:lnTo>
                      <a:pt x="302966" y="128725"/>
                    </a:lnTo>
                    <a:lnTo>
                      <a:pt x="288002" y="128074"/>
                    </a:lnTo>
                    <a:lnTo>
                      <a:pt x="284752" y="139778"/>
                    </a:lnTo>
                    <a:lnTo>
                      <a:pt x="274360" y="148881"/>
                    </a:lnTo>
                    <a:lnTo>
                      <a:pt x="280217" y="160581"/>
                    </a:lnTo>
                    <a:lnTo>
                      <a:pt x="286717" y="164482"/>
                    </a:lnTo>
                    <a:lnTo>
                      <a:pt x="284752" y="178133"/>
                    </a:lnTo>
                    <a:lnTo>
                      <a:pt x="278253" y="185937"/>
                    </a:lnTo>
                    <a:lnTo>
                      <a:pt x="270449" y="190485"/>
                    </a:lnTo>
                    <a:lnTo>
                      <a:pt x="258111" y="188535"/>
                    </a:lnTo>
                    <a:lnTo>
                      <a:pt x="241201" y="199583"/>
                    </a:lnTo>
                    <a:lnTo>
                      <a:pt x="230148" y="199583"/>
                    </a:lnTo>
                    <a:lnTo>
                      <a:pt x="228845" y="208043"/>
                    </a:lnTo>
                    <a:lnTo>
                      <a:pt x="209346" y="216493"/>
                    </a:lnTo>
                    <a:lnTo>
                      <a:pt x="167080" y="221042"/>
                    </a:lnTo>
                    <a:lnTo>
                      <a:pt x="157991" y="214542"/>
                    </a:lnTo>
                    <a:lnTo>
                      <a:pt x="170991" y="189182"/>
                    </a:lnTo>
                    <a:lnTo>
                      <a:pt x="200900" y="174232"/>
                    </a:lnTo>
                    <a:lnTo>
                      <a:pt x="196989" y="158630"/>
                    </a:lnTo>
                    <a:lnTo>
                      <a:pt x="208042" y="146278"/>
                    </a:lnTo>
                    <a:lnTo>
                      <a:pt x="200900" y="145631"/>
                    </a:lnTo>
                    <a:lnTo>
                      <a:pt x="191793" y="159282"/>
                    </a:lnTo>
                    <a:lnTo>
                      <a:pt x="182044" y="157331"/>
                    </a:lnTo>
                    <a:lnTo>
                      <a:pt x="175544" y="161233"/>
                    </a:lnTo>
                    <a:lnTo>
                      <a:pt x="168384" y="171634"/>
                    </a:lnTo>
                    <a:lnTo>
                      <a:pt x="162545" y="175535"/>
                    </a:lnTo>
                    <a:lnTo>
                      <a:pt x="157331" y="194383"/>
                    </a:lnTo>
                    <a:lnTo>
                      <a:pt x="146278" y="201538"/>
                    </a:lnTo>
                    <a:lnTo>
                      <a:pt x="137189" y="213243"/>
                    </a:lnTo>
                    <a:lnTo>
                      <a:pt x="137189" y="219743"/>
                    </a:lnTo>
                    <a:lnTo>
                      <a:pt x="124832" y="244447"/>
                    </a:lnTo>
                    <a:lnTo>
                      <a:pt x="107923" y="256799"/>
                    </a:lnTo>
                    <a:lnTo>
                      <a:pt x="107280" y="267852"/>
                    </a:lnTo>
                    <a:lnTo>
                      <a:pt x="100780" y="289306"/>
                    </a:lnTo>
                    <a:lnTo>
                      <a:pt x="92316" y="297757"/>
                    </a:lnTo>
                    <a:lnTo>
                      <a:pt x="87120" y="308158"/>
                    </a:lnTo>
                    <a:lnTo>
                      <a:pt x="81924" y="310760"/>
                    </a:lnTo>
                    <a:lnTo>
                      <a:pt x="64371" y="334813"/>
                    </a:lnTo>
                    <a:lnTo>
                      <a:pt x="59175" y="349763"/>
                    </a:lnTo>
                    <a:lnTo>
                      <a:pt x="46819" y="364070"/>
                    </a:lnTo>
                    <a:lnTo>
                      <a:pt x="46819" y="371873"/>
                    </a:lnTo>
                    <a:lnTo>
                      <a:pt x="37069" y="380975"/>
                    </a:lnTo>
                    <a:lnTo>
                      <a:pt x="36408" y="390725"/>
                    </a:lnTo>
                    <a:lnTo>
                      <a:pt x="43569" y="401126"/>
                    </a:lnTo>
                    <a:lnTo>
                      <a:pt x="34462" y="412831"/>
                    </a:lnTo>
                    <a:lnTo>
                      <a:pt x="40319" y="422585"/>
                    </a:lnTo>
                    <a:lnTo>
                      <a:pt x="40319" y="431682"/>
                    </a:lnTo>
                    <a:lnTo>
                      <a:pt x="44212" y="442084"/>
                    </a:lnTo>
                    <a:lnTo>
                      <a:pt x="57871" y="441436"/>
                    </a:lnTo>
                    <a:lnTo>
                      <a:pt x="55925" y="452485"/>
                    </a:lnTo>
                    <a:lnTo>
                      <a:pt x="70228" y="451842"/>
                    </a:lnTo>
                    <a:lnTo>
                      <a:pt x="75424" y="462239"/>
                    </a:lnTo>
                    <a:lnTo>
                      <a:pt x="72174" y="470689"/>
                    </a:lnTo>
                    <a:lnTo>
                      <a:pt x="59175" y="477836"/>
                    </a:lnTo>
                    <a:lnTo>
                      <a:pt x="51372" y="475238"/>
                    </a:lnTo>
                    <a:lnTo>
                      <a:pt x="50068" y="464190"/>
                    </a:lnTo>
                    <a:lnTo>
                      <a:pt x="44872" y="464841"/>
                    </a:lnTo>
                    <a:lnTo>
                      <a:pt x="44872" y="478497"/>
                    </a:lnTo>
                    <a:lnTo>
                      <a:pt x="50068" y="488242"/>
                    </a:lnTo>
                    <a:lnTo>
                      <a:pt x="42265" y="501246"/>
                    </a:lnTo>
                    <a:lnTo>
                      <a:pt x="43569" y="508397"/>
                    </a:lnTo>
                    <a:lnTo>
                      <a:pt x="34462" y="509696"/>
                    </a:lnTo>
                    <a:lnTo>
                      <a:pt x="28605" y="522700"/>
                    </a:lnTo>
                    <a:lnTo>
                      <a:pt x="28605" y="531798"/>
                    </a:lnTo>
                    <a:lnTo>
                      <a:pt x="20159" y="534400"/>
                    </a:lnTo>
                    <a:lnTo>
                      <a:pt x="21463" y="544154"/>
                    </a:lnTo>
                    <a:lnTo>
                      <a:pt x="12356" y="544154"/>
                    </a:lnTo>
                    <a:lnTo>
                      <a:pt x="6499" y="555207"/>
                    </a:lnTo>
                    <a:lnTo>
                      <a:pt x="12356" y="561707"/>
                    </a:lnTo>
                    <a:lnTo>
                      <a:pt x="12356" y="576010"/>
                    </a:lnTo>
                    <a:lnTo>
                      <a:pt x="660" y="579907"/>
                    </a:lnTo>
                    <a:lnTo>
                      <a:pt x="0" y="589665"/>
                    </a:lnTo>
                    <a:lnTo>
                      <a:pt x="4553" y="598763"/>
                    </a:lnTo>
                    <a:lnTo>
                      <a:pt x="11053" y="595513"/>
                    </a:lnTo>
                    <a:lnTo>
                      <a:pt x="21463" y="596165"/>
                    </a:lnTo>
                    <a:lnTo>
                      <a:pt x="24052" y="589013"/>
                    </a:lnTo>
                    <a:lnTo>
                      <a:pt x="41622" y="594214"/>
                    </a:lnTo>
                    <a:lnTo>
                      <a:pt x="50068" y="594214"/>
                    </a:lnTo>
                    <a:lnTo>
                      <a:pt x="38355" y="573411"/>
                    </a:lnTo>
                    <a:lnTo>
                      <a:pt x="27320" y="574715"/>
                    </a:lnTo>
                    <a:lnTo>
                      <a:pt x="22766" y="562358"/>
                    </a:lnTo>
                    <a:lnTo>
                      <a:pt x="25355" y="559756"/>
                    </a:lnTo>
                    <a:lnTo>
                      <a:pt x="38355" y="563010"/>
                    </a:lnTo>
                    <a:lnTo>
                      <a:pt x="42908" y="559756"/>
                    </a:lnTo>
                    <a:lnTo>
                      <a:pt x="39658" y="550658"/>
                    </a:lnTo>
                    <a:lnTo>
                      <a:pt x="42908" y="545458"/>
                    </a:lnTo>
                    <a:lnTo>
                      <a:pt x="42908" y="528552"/>
                    </a:lnTo>
                    <a:lnTo>
                      <a:pt x="48765" y="524003"/>
                    </a:lnTo>
                    <a:lnTo>
                      <a:pt x="48765" y="512299"/>
                    </a:lnTo>
                    <a:lnTo>
                      <a:pt x="53318" y="509696"/>
                    </a:lnTo>
                    <a:lnTo>
                      <a:pt x="59175" y="497344"/>
                    </a:lnTo>
                    <a:lnTo>
                      <a:pt x="61121" y="487595"/>
                    </a:lnTo>
                    <a:lnTo>
                      <a:pt x="68264" y="483698"/>
                    </a:lnTo>
                    <a:lnTo>
                      <a:pt x="79978" y="490193"/>
                    </a:lnTo>
                    <a:lnTo>
                      <a:pt x="79317" y="478497"/>
                    </a:lnTo>
                    <a:lnTo>
                      <a:pt x="85174" y="473939"/>
                    </a:lnTo>
                    <a:lnTo>
                      <a:pt x="87120" y="459641"/>
                    </a:lnTo>
                    <a:lnTo>
                      <a:pt x="98816" y="445333"/>
                    </a:lnTo>
                    <a:lnTo>
                      <a:pt x="102084" y="431035"/>
                    </a:lnTo>
                    <a:lnTo>
                      <a:pt x="98173" y="415429"/>
                    </a:lnTo>
                    <a:lnTo>
                      <a:pt x="89727" y="406978"/>
                    </a:lnTo>
                    <a:lnTo>
                      <a:pt x="98173" y="397876"/>
                    </a:lnTo>
                    <a:lnTo>
                      <a:pt x="107280" y="381618"/>
                    </a:lnTo>
                    <a:lnTo>
                      <a:pt x="105333" y="376417"/>
                    </a:lnTo>
                    <a:lnTo>
                      <a:pt x="95566" y="371221"/>
                    </a:lnTo>
                    <a:lnTo>
                      <a:pt x="89066" y="362119"/>
                    </a:lnTo>
                    <a:lnTo>
                      <a:pt x="89727" y="345866"/>
                    </a:lnTo>
                    <a:lnTo>
                      <a:pt x="102726" y="330264"/>
                    </a:lnTo>
                    <a:lnTo>
                      <a:pt x="108583" y="308810"/>
                    </a:lnTo>
                    <a:lnTo>
                      <a:pt x="105976" y="297757"/>
                    </a:lnTo>
                    <a:lnTo>
                      <a:pt x="107923" y="289958"/>
                    </a:lnTo>
                    <a:lnTo>
                      <a:pt x="119636" y="286056"/>
                    </a:lnTo>
                    <a:lnTo>
                      <a:pt x="124832" y="280200"/>
                    </a:lnTo>
                    <a:lnTo>
                      <a:pt x="143028" y="279552"/>
                    </a:lnTo>
                    <a:lnTo>
                      <a:pt x="150831" y="282802"/>
                    </a:lnTo>
                    <a:lnTo>
                      <a:pt x="154081" y="293203"/>
                    </a:lnTo>
                    <a:lnTo>
                      <a:pt x="160580" y="293203"/>
                    </a:lnTo>
                    <a:lnTo>
                      <a:pt x="169687" y="279552"/>
                    </a:lnTo>
                    <a:lnTo>
                      <a:pt x="167080" y="258098"/>
                    </a:lnTo>
                    <a:lnTo>
                      <a:pt x="174883" y="261348"/>
                    </a:lnTo>
                    <a:lnTo>
                      <a:pt x="182044" y="252250"/>
                    </a:lnTo>
                    <a:lnTo>
                      <a:pt x="195043" y="254201"/>
                    </a:lnTo>
                    <a:lnTo>
                      <a:pt x="205453" y="246398"/>
                    </a:lnTo>
                    <a:lnTo>
                      <a:pt x="204792" y="241197"/>
                    </a:lnTo>
                    <a:lnTo>
                      <a:pt x="216506" y="235996"/>
                    </a:lnTo>
                    <a:lnTo>
                      <a:pt x="222345" y="243148"/>
                    </a:lnTo>
                    <a:lnTo>
                      <a:pt x="219756" y="249648"/>
                    </a:lnTo>
                    <a:lnTo>
                      <a:pt x="209988" y="252250"/>
                    </a:lnTo>
                    <a:lnTo>
                      <a:pt x="205453" y="257451"/>
                    </a:lnTo>
                    <a:lnTo>
                      <a:pt x="215845" y="271102"/>
                    </a:lnTo>
                    <a:lnTo>
                      <a:pt x="218452" y="284105"/>
                    </a:lnTo>
                    <a:lnTo>
                      <a:pt x="216506" y="295158"/>
                    </a:lnTo>
                    <a:lnTo>
                      <a:pt x="226898" y="293203"/>
                    </a:lnTo>
                    <a:lnTo>
                      <a:pt x="246397" y="296462"/>
                    </a:lnTo>
                    <a:lnTo>
                      <a:pt x="261361" y="285400"/>
                    </a:lnTo>
                    <a:lnTo>
                      <a:pt x="261361" y="280200"/>
                    </a:lnTo>
                    <a:lnTo>
                      <a:pt x="273057" y="267205"/>
                    </a:lnTo>
                    <a:lnTo>
                      <a:pt x="286056" y="262651"/>
                    </a:lnTo>
                    <a:lnTo>
                      <a:pt x="294520" y="252250"/>
                    </a:lnTo>
                    <a:lnTo>
                      <a:pt x="302966" y="249648"/>
                    </a:lnTo>
                    <a:lnTo>
                      <a:pt x="304912" y="241849"/>
                    </a:lnTo>
                    <a:lnTo>
                      <a:pt x="302305" y="235349"/>
                    </a:lnTo>
                    <a:lnTo>
                      <a:pt x="304269" y="213891"/>
                    </a:lnTo>
                    <a:lnTo>
                      <a:pt x="310769" y="206092"/>
                    </a:lnTo>
                    <a:lnTo>
                      <a:pt x="312072" y="195686"/>
                    </a:lnTo>
                    <a:lnTo>
                      <a:pt x="319875" y="180084"/>
                    </a:lnTo>
                    <a:lnTo>
                      <a:pt x="325714" y="174232"/>
                    </a:lnTo>
                    <a:lnTo>
                      <a:pt x="333518" y="156679"/>
                    </a:lnTo>
                    <a:lnTo>
                      <a:pt x="338714" y="150831"/>
                    </a:lnTo>
                    <a:lnTo>
                      <a:pt x="366033" y="135221"/>
                    </a:lnTo>
                    <a:lnTo>
                      <a:pt x="361480" y="131332"/>
                    </a:lnTo>
                    <a:lnTo>
                      <a:pt x="362123" y="122226"/>
                    </a:lnTo>
                    <a:lnTo>
                      <a:pt x="367319" y="118324"/>
                    </a:lnTo>
                    <a:lnTo>
                      <a:pt x="375783" y="118971"/>
                    </a:lnTo>
                    <a:lnTo>
                      <a:pt x="382925" y="112472"/>
                    </a:lnTo>
                    <a:lnTo>
                      <a:pt x="393336" y="111825"/>
                    </a:lnTo>
                    <a:lnTo>
                      <a:pt x="401139" y="102722"/>
                    </a:lnTo>
                    <a:lnTo>
                      <a:pt x="414781" y="101419"/>
                    </a:lnTo>
                    <a:lnTo>
                      <a:pt x="416727" y="91018"/>
                    </a:lnTo>
                    <a:lnTo>
                      <a:pt x="410228" y="85817"/>
                    </a:lnTo>
                    <a:lnTo>
                      <a:pt x="400478" y="94919"/>
                    </a:lnTo>
                    <a:lnTo>
                      <a:pt x="390086" y="98165"/>
                    </a:lnTo>
                    <a:lnTo>
                      <a:pt x="381622" y="104669"/>
                    </a:lnTo>
                    <a:lnTo>
                      <a:pt x="380979" y="92317"/>
                    </a:lnTo>
                    <a:lnTo>
                      <a:pt x="372533" y="87116"/>
                    </a:lnTo>
                    <a:lnTo>
                      <a:pt x="357570" y="89067"/>
                    </a:lnTo>
                    <a:lnTo>
                      <a:pt x="342624" y="76710"/>
                    </a:lnTo>
                    <a:lnTo>
                      <a:pt x="338714" y="67613"/>
                    </a:lnTo>
                    <a:lnTo>
                      <a:pt x="349767" y="65662"/>
                    </a:lnTo>
                    <a:lnTo>
                      <a:pt x="354320" y="59814"/>
                    </a:lnTo>
                    <a:lnTo>
                      <a:pt x="356927" y="48109"/>
                    </a:lnTo>
                    <a:lnTo>
                      <a:pt x="363427" y="42261"/>
                    </a:lnTo>
                    <a:lnTo>
                      <a:pt x="371873" y="41609"/>
                    </a:lnTo>
                    <a:lnTo>
                      <a:pt x="371230" y="32507"/>
                    </a:lnTo>
                    <a:lnTo>
                      <a:pt x="362784" y="30557"/>
                    </a:lnTo>
                    <a:lnTo>
                      <a:pt x="359516" y="37056"/>
                    </a:lnTo>
                    <a:lnTo>
                      <a:pt x="348481" y="44203"/>
                    </a:lnTo>
                    <a:lnTo>
                      <a:pt x="336124" y="47462"/>
                    </a:lnTo>
                    <a:lnTo>
                      <a:pt x="324411" y="46810"/>
                    </a:lnTo>
                    <a:lnTo>
                      <a:pt x="317911" y="34458"/>
                    </a:lnTo>
                    <a:lnTo>
                      <a:pt x="323768" y="28606"/>
                    </a:lnTo>
                    <a:lnTo>
                      <a:pt x="322464" y="16906"/>
                    </a:lnTo>
                    <a:lnTo>
                      <a:pt x="313358" y="17553"/>
                    </a:lnTo>
                    <a:lnTo>
                      <a:pt x="305572" y="13651"/>
                    </a:lnTo>
                    <a:lnTo>
                      <a:pt x="302966" y="1947"/>
                    </a:lnTo>
                    <a:lnTo>
                      <a:pt x="295163" y="0"/>
                    </a:lnTo>
                    <a:lnTo>
                      <a:pt x="298412" y="24704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91152" tIns="59863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0" name="shp_Region_Belize_$1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1BF0100}"/>
                  </a:ext>
                </a:extLst>
              </p:cNvPr>
              <p:cNvSpPr/>
              <p:nvPr/>
            </p:nvSpPr>
            <p:spPr>
              <a:xfrm>
                <a:off x="2339694" y="2229508"/>
                <a:ext cx="31195" cy="39017"/>
              </a:xfrm>
              <a:custGeom>
                <a:avLst/>
                <a:gdLst/>
                <a:ahLst/>
                <a:cxnLst/>
                <a:rect l="0" t="0" r="0" b="0"/>
                <a:pathLst>
                  <a:path w="31195" h="39017">
                    <a:moveTo>
                      <a:pt x="9749" y="0"/>
                    </a:moveTo>
                    <a:lnTo>
                      <a:pt x="5196" y="4553"/>
                    </a:lnTo>
                    <a:lnTo>
                      <a:pt x="9749" y="11704"/>
                    </a:lnTo>
                    <a:lnTo>
                      <a:pt x="8445" y="18204"/>
                    </a:lnTo>
                    <a:lnTo>
                      <a:pt x="0" y="26659"/>
                    </a:lnTo>
                    <a:lnTo>
                      <a:pt x="6499" y="37703"/>
                    </a:lnTo>
                    <a:lnTo>
                      <a:pt x="18195" y="39016"/>
                    </a:lnTo>
                    <a:lnTo>
                      <a:pt x="29248" y="29257"/>
                    </a:lnTo>
                    <a:lnTo>
                      <a:pt x="31194" y="18856"/>
                    </a:lnTo>
                    <a:lnTo>
                      <a:pt x="25998" y="15606"/>
                    </a:lnTo>
                    <a:lnTo>
                      <a:pt x="21445" y="2602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280" tIns="390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1" name="shp_Region_Belize_$1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2BF0100}"/>
                  </a:ext>
                </a:extLst>
              </p:cNvPr>
              <p:cNvSpPr/>
              <p:nvPr/>
            </p:nvSpPr>
            <p:spPr>
              <a:xfrm>
                <a:off x="2501578" y="2266568"/>
                <a:ext cx="133261" cy="183991"/>
              </a:xfrm>
              <a:custGeom>
                <a:avLst/>
                <a:gdLst/>
                <a:ahLst/>
                <a:cxnLst/>
                <a:rect l="0" t="0" r="0" b="0"/>
                <a:pathLst>
                  <a:path w="133261" h="183991">
                    <a:moveTo>
                      <a:pt x="98816" y="183339"/>
                    </a:moveTo>
                    <a:lnTo>
                      <a:pt x="106619" y="177482"/>
                    </a:lnTo>
                    <a:lnTo>
                      <a:pt x="118315" y="176835"/>
                    </a:lnTo>
                    <a:lnTo>
                      <a:pt x="124815" y="180084"/>
                    </a:lnTo>
                    <a:lnTo>
                      <a:pt x="131975" y="172933"/>
                    </a:lnTo>
                    <a:lnTo>
                      <a:pt x="133260" y="154077"/>
                    </a:lnTo>
                    <a:lnTo>
                      <a:pt x="126118" y="158630"/>
                    </a:lnTo>
                    <a:lnTo>
                      <a:pt x="118315" y="169031"/>
                    </a:lnTo>
                    <a:lnTo>
                      <a:pt x="105316" y="143676"/>
                    </a:lnTo>
                    <a:lnTo>
                      <a:pt x="106619" y="126775"/>
                    </a:lnTo>
                    <a:lnTo>
                      <a:pt x="109869" y="117021"/>
                    </a:lnTo>
                    <a:lnTo>
                      <a:pt x="115065" y="113771"/>
                    </a:lnTo>
                    <a:lnTo>
                      <a:pt x="114422" y="104017"/>
                    </a:lnTo>
                    <a:lnTo>
                      <a:pt x="122208" y="102071"/>
                    </a:lnTo>
                    <a:lnTo>
                      <a:pt x="130011" y="92973"/>
                    </a:lnTo>
                    <a:lnTo>
                      <a:pt x="133260" y="81916"/>
                    </a:lnTo>
                    <a:lnTo>
                      <a:pt x="125475" y="72162"/>
                    </a:lnTo>
                    <a:lnTo>
                      <a:pt x="98816" y="61109"/>
                    </a:lnTo>
                    <a:lnTo>
                      <a:pt x="77353" y="42257"/>
                    </a:lnTo>
                    <a:lnTo>
                      <a:pt x="57211" y="17553"/>
                    </a:lnTo>
                    <a:lnTo>
                      <a:pt x="39658" y="16254"/>
                    </a:lnTo>
                    <a:lnTo>
                      <a:pt x="27302" y="0"/>
                    </a:lnTo>
                    <a:lnTo>
                      <a:pt x="12338" y="13651"/>
                    </a:lnTo>
                    <a:lnTo>
                      <a:pt x="3892" y="15602"/>
                    </a:lnTo>
                    <a:lnTo>
                      <a:pt x="0" y="32503"/>
                    </a:lnTo>
                    <a:lnTo>
                      <a:pt x="12338" y="49404"/>
                    </a:lnTo>
                    <a:lnTo>
                      <a:pt x="24695" y="55265"/>
                    </a:lnTo>
                    <a:lnTo>
                      <a:pt x="24695" y="66314"/>
                    </a:lnTo>
                    <a:lnTo>
                      <a:pt x="31195" y="72813"/>
                    </a:lnTo>
                    <a:lnTo>
                      <a:pt x="40944" y="75411"/>
                    </a:lnTo>
                    <a:lnTo>
                      <a:pt x="52658" y="82563"/>
                    </a:lnTo>
                    <a:lnTo>
                      <a:pt x="62407" y="84514"/>
                    </a:lnTo>
                    <a:lnTo>
                      <a:pt x="73460" y="74112"/>
                    </a:lnTo>
                    <a:lnTo>
                      <a:pt x="81906" y="76715"/>
                    </a:lnTo>
                    <a:lnTo>
                      <a:pt x="73460" y="83866"/>
                    </a:lnTo>
                    <a:lnTo>
                      <a:pt x="74103" y="89714"/>
                    </a:lnTo>
                    <a:lnTo>
                      <a:pt x="63050" y="98174"/>
                    </a:lnTo>
                    <a:lnTo>
                      <a:pt x="64353" y="105968"/>
                    </a:lnTo>
                    <a:lnTo>
                      <a:pt x="70210" y="106620"/>
                    </a:lnTo>
                    <a:lnTo>
                      <a:pt x="65657" y="120922"/>
                    </a:lnTo>
                    <a:lnTo>
                      <a:pt x="71514" y="131975"/>
                    </a:lnTo>
                    <a:lnTo>
                      <a:pt x="72799" y="152778"/>
                    </a:lnTo>
                    <a:lnTo>
                      <a:pt x="79299" y="156023"/>
                    </a:lnTo>
                    <a:lnTo>
                      <a:pt x="84513" y="169031"/>
                    </a:lnTo>
                    <a:lnTo>
                      <a:pt x="92959" y="171634"/>
                    </a:lnTo>
                    <a:lnTo>
                      <a:pt x="87763" y="178134"/>
                    </a:lnTo>
                    <a:lnTo>
                      <a:pt x="89066" y="183990"/>
                    </a:lnTo>
                    <a:lnTo>
                      <a:pt x="98816" y="183339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5082" tIns="1839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2" name="shp_Region_Belize_$2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3BF0100}"/>
                  </a:ext>
                </a:extLst>
              </p:cNvPr>
              <p:cNvSpPr/>
              <p:nvPr/>
            </p:nvSpPr>
            <p:spPr>
              <a:xfrm>
                <a:off x="2401458" y="2287371"/>
                <a:ext cx="44856" cy="42909"/>
              </a:xfrm>
              <a:custGeom>
                <a:avLst/>
                <a:gdLst/>
                <a:ahLst/>
                <a:cxnLst/>
                <a:rect l="0" t="0" r="0" b="0"/>
                <a:pathLst>
                  <a:path w="44856" h="42909">
                    <a:moveTo>
                      <a:pt x="34445" y="0"/>
                    </a:moveTo>
                    <a:lnTo>
                      <a:pt x="0" y="652"/>
                    </a:lnTo>
                    <a:lnTo>
                      <a:pt x="0" y="5852"/>
                    </a:lnTo>
                    <a:lnTo>
                      <a:pt x="23392" y="30556"/>
                    </a:lnTo>
                    <a:lnTo>
                      <a:pt x="29249" y="42908"/>
                    </a:lnTo>
                    <a:lnTo>
                      <a:pt x="38355" y="39663"/>
                    </a:lnTo>
                    <a:lnTo>
                      <a:pt x="44855" y="25356"/>
                    </a:lnTo>
                    <a:lnTo>
                      <a:pt x="40302" y="23409"/>
                    </a:lnTo>
                    <a:lnTo>
                      <a:pt x="36409" y="13651"/>
                    </a:lnTo>
                    <a:lnTo>
                      <a:pt x="3444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2103" tIns="429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3" name="shp_Region_Belize_$2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4BF0100}"/>
                  </a:ext>
                </a:extLst>
              </p:cNvPr>
              <p:cNvSpPr/>
              <p:nvPr/>
            </p:nvSpPr>
            <p:spPr>
              <a:xfrm>
                <a:off x="2472312" y="2325079"/>
                <a:ext cx="14303" cy="10402"/>
              </a:xfrm>
              <a:custGeom>
                <a:avLst/>
                <a:gdLst/>
                <a:ahLst/>
                <a:cxnLst/>
                <a:rect l="0" t="0" r="0" b="0"/>
                <a:pathLst>
                  <a:path w="14303" h="10402">
                    <a:moveTo>
                      <a:pt x="7160" y="0"/>
                    </a:moveTo>
                    <a:lnTo>
                      <a:pt x="0" y="9754"/>
                    </a:lnTo>
                    <a:lnTo>
                      <a:pt x="14302" y="10401"/>
                    </a:lnTo>
                    <a:lnTo>
                      <a:pt x="716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3425" tIns="104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4" name="shp_Region_Belize_$2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5BF0100}"/>
                  </a:ext>
                </a:extLst>
              </p:cNvPr>
              <p:cNvSpPr/>
              <p:nvPr/>
            </p:nvSpPr>
            <p:spPr>
              <a:xfrm>
                <a:off x="3912341" y="2437550"/>
                <a:ext cx="57213" cy="47463"/>
              </a:xfrm>
              <a:custGeom>
                <a:avLst/>
                <a:gdLst/>
                <a:ahLst/>
                <a:cxnLst/>
                <a:rect l="0" t="0" r="0" b="0"/>
                <a:pathLst>
                  <a:path w="57213" h="47463">
                    <a:moveTo>
                      <a:pt x="29910" y="0"/>
                    </a:moveTo>
                    <a:lnTo>
                      <a:pt x="22106" y="2598"/>
                    </a:lnTo>
                    <a:lnTo>
                      <a:pt x="14946" y="10401"/>
                    </a:lnTo>
                    <a:lnTo>
                      <a:pt x="1304" y="18852"/>
                    </a:lnTo>
                    <a:lnTo>
                      <a:pt x="0" y="28606"/>
                    </a:lnTo>
                    <a:lnTo>
                      <a:pt x="5857" y="33807"/>
                    </a:lnTo>
                    <a:lnTo>
                      <a:pt x="16250" y="37056"/>
                    </a:lnTo>
                    <a:lnTo>
                      <a:pt x="33160" y="47462"/>
                    </a:lnTo>
                    <a:lnTo>
                      <a:pt x="46159" y="47462"/>
                    </a:lnTo>
                    <a:lnTo>
                      <a:pt x="50052" y="37708"/>
                    </a:lnTo>
                    <a:lnTo>
                      <a:pt x="56551" y="30557"/>
                    </a:lnTo>
                    <a:lnTo>
                      <a:pt x="57212" y="18209"/>
                    </a:lnTo>
                    <a:lnTo>
                      <a:pt x="44213" y="1299"/>
                    </a:lnTo>
                    <a:lnTo>
                      <a:pt x="34463" y="3902"/>
                    </a:lnTo>
                    <a:lnTo>
                      <a:pt x="2991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3702" tIns="474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5" name="shp_Region_Belize_$2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6BF0100}"/>
                  </a:ext>
                </a:extLst>
              </p:cNvPr>
              <p:cNvSpPr/>
              <p:nvPr/>
            </p:nvSpPr>
            <p:spPr>
              <a:xfrm>
                <a:off x="2607536" y="2447300"/>
                <a:ext cx="9751" cy="11058"/>
              </a:xfrm>
              <a:custGeom>
                <a:avLst/>
                <a:gdLst/>
                <a:ahLst/>
                <a:cxnLst/>
                <a:rect l="0" t="0" r="0" b="0"/>
                <a:pathLst>
                  <a:path w="9751" h="11058">
                    <a:moveTo>
                      <a:pt x="9750" y="0"/>
                    </a:moveTo>
                    <a:lnTo>
                      <a:pt x="0" y="6504"/>
                    </a:lnTo>
                    <a:lnTo>
                      <a:pt x="5214" y="11057"/>
                    </a:lnTo>
                    <a:lnTo>
                      <a:pt x="975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53" tIns="110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6" name="shp_Region_Belize_$2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7BF0100}"/>
                  </a:ext>
                </a:extLst>
              </p:cNvPr>
              <p:cNvSpPr/>
              <p:nvPr/>
            </p:nvSpPr>
            <p:spPr>
              <a:xfrm>
                <a:off x="2614697" y="2453804"/>
                <a:ext cx="14946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14946" h="17554">
                    <a:moveTo>
                      <a:pt x="14302" y="0"/>
                    </a:moveTo>
                    <a:lnTo>
                      <a:pt x="0" y="11700"/>
                    </a:lnTo>
                    <a:lnTo>
                      <a:pt x="7803" y="17553"/>
                    </a:lnTo>
                    <a:lnTo>
                      <a:pt x="14945" y="9102"/>
                    </a:lnTo>
                    <a:lnTo>
                      <a:pt x="1430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029" tIns="175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7" name="shp_Region_Belize_$2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8BF0100}"/>
                  </a:ext>
                </a:extLst>
              </p:cNvPr>
              <p:cNvSpPr/>
              <p:nvPr/>
            </p:nvSpPr>
            <p:spPr>
              <a:xfrm>
                <a:off x="2608197" y="2477856"/>
                <a:ext cx="16250" cy="14304"/>
              </a:xfrm>
              <a:custGeom>
                <a:avLst/>
                <a:gdLst/>
                <a:ahLst/>
                <a:cxnLst/>
                <a:rect l="0" t="0" r="0" b="0"/>
                <a:pathLst>
                  <a:path w="16250" h="14304">
                    <a:moveTo>
                      <a:pt x="16249" y="0"/>
                    </a:moveTo>
                    <a:lnTo>
                      <a:pt x="7803" y="0"/>
                    </a:lnTo>
                    <a:lnTo>
                      <a:pt x="643" y="5201"/>
                    </a:lnTo>
                    <a:lnTo>
                      <a:pt x="0" y="13004"/>
                    </a:lnTo>
                    <a:lnTo>
                      <a:pt x="7803" y="14303"/>
                    </a:lnTo>
                    <a:lnTo>
                      <a:pt x="16249" y="4558"/>
                    </a:lnTo>
                    <a:lnTo>
                      <a:pt x="1624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5253" tIns="1430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8" name="shp_Region_Belize_$2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9BF0100}"/>
                  </a:ext>
                </a:extLst>
              </p:cNvPr>
              <p:cNvSpPr/>
              <p:nvPr/>
            </p:nvSpPr>
            <p:spPr>
              <a:xfrm>
                <a:off x="2610786" y="2495413"/>
                <a:ext cx="1300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12353">
                    <a:moveTo>
                      <a:pt x="13000" y="0"/>
                    </a:moveTo>
                    <a:lnTo>
                      <a:pt x="0" y="5201"/>
                    </a:lnTo>
                    <a:lnTo>
                      <a:pt x="0" y="12352"/>
                    </a:lnTo>
                    <a:lnTo>
                      <a:pt x="7803" y="11700"/>
                    </a:lnTo>
                    <a:lnTo>
                      <a:pt x="130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203" tIns="123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89" name="shp_Region_Belize_$2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ABF0100}"/>
                  </a:ext>
                </a:extLst>
              </p:cNvPr>
              <p:cNvSpPr/>
              <p:nvPr/>
            </p:nvSpPr>
            <p:spPr>
              <a:xfrm>
                <a:off x="3167292" y="2505163"/>
                <a:ext cx="95568" cy="288655"/>
              </a:xfrm>
              <a:custGeom>
                <a:avLst/>
                <a:gdLst/>
                <a:ahLst/>
                <a:cxnLst/>
                <a:rect l="0" t="0" r="0" b="0"/>
                <a:pathLst>
                  <a:path w="95568" h="288655">
                    <a:moveTo>
                      <a:pt x="68925" y="248348"/>
                    </a:moveTo>
                    <a:lnTo>
                      <a:pt x="76728" y="263950"/>
                    </a:lnTo>
                    <a:lnTo>
                      <a:pt x="72175" y="267852"/>
                    </a:lnTo>
                    <a:lnTo>
                      <a:pt x="62425" y="267200"/>
                    </a:lnTo>
                    <a:lnTo>
                      <a:pt x="57872" y="284752"/>
                    </a:lnTo>
                    <a:lnTo>
                      <a:pt x="76728" y="284752"/>
                    </a:lnTo>
                    <a:lnTo>
                      <a:pt x="74764" y="276302"/>
                    </a:lnTo>
                    <a:lnTo>
                      <a:pt x="79978" y="261999"/>
                    </a:lnTo>
                    <a:lnTo>
                      <a:pt x="86478" y="254843"/>
                    </a:lnTo>
                    <a:lnTo>
                      <a:pt x="94281" y="239250"/>
                    </a:lnTo>
                    <a:lnTo>
                      <a:pt x="95567" y="218443"/>
                    </a:lnTo>
                    <a:lnTo>
                      <a:pt x="92977" y="209341"/>
                    </a:lnTo>
                    <a:lnTo>
                      <a:pt x="84513" y="197636"/>
                    </a:lnTo>
                    <a:lnTo>
                      <a:pt x="81924" y="175535"/>
                    </a:lnTo>
                    <a:lnTo>
                      <a:pt x="65675" y="139778"/>
                    </a:lnTo>
                    <a:lnTo>
                      <a:pt x="65675" y="134573"/>
                    </a:lnTo>
                    <a:lnTo>
                      <a:pt x="58515" y="120274"/>
                    </a:lnTo>
                    <a:lnTo>
                      <a:pt x="58515" y="99463"/>
                    </a:lnTo>
                    <a:lnTo>
                      <a:pt x="53319" y="94919"/>
                    </a:lnTo>
                    <a:lnTo>
                      <a:pt x="48766" y="82567"/>
                    </a:lnTo>
                    <a:lnTo>
                      <a:pt x="46819" y="65010"/>
                    </a:lnTo>
                    <a:lnTo>
                      <a:pt x="36409" y="51359"/>
                    </a:lnTo>
                    <a:lnTo>
                      <a:pt x="36409" y="32507"/>
                    </a:lnTo>
                    <a:lnTo>
                      <a:pt x="42266" y="23405"/>
                    </a:lnTo>
                    <a:lnTo>
                      <a:pt x="42266" y="14954"/>
                    </a:lnTo>
                    <a:lnTo>
                      <a:pt x="54622" y="5200"/>
                    </a:lnTo>
                    <a:lnTo>
                      <a:pt x="50069" y="647"/>
                    </a:lnTo>
                    <a:lnTo>
                      <a:pt x="41605" y="7151"/>
                    </a:lnTo>
                    <a:lnTo>
                      <a:pt x="25356" y="0"/>
                    </a:lnTo>
                    <a:lnTo>
                      <a:pt x="21463" y="3901"/>
                    </a:lnTo>
                    <a:lnTo>
                      <a:pt x="16910" y="16905"/>
                    </a:lnTo>
                    <a:lnTo>
                      <a:pt x="9107" y="23405"/>
                    </a:lnTo>
                    <a:lnTo>
                      <a:pt x="12357" y="28605"/>
                    </a:lnTo>
                    <a:lnTo>
                      <a:pt x="7803" y="40953"/>
                    </a:lnTo>
                    <a:lnTo>
                      <a:pt x="0" y="46814"/>
                    </a:lnTo>
                    <a:lnTo>
                      <a:pt x="11714" y="52658"/>
                    </a:lnTo>
                    <a:lnTo>
                      <a:pt x="21463" y="48109"/>
                    </a:lnTo>
                    <a:lnTo>
                      <a:pt x="31213" y="52658"/>
                    </a:lnTo>
                    <a:lnTo>
                      <a:pt x="30570" y="61113"/>
                    </a:lnTo>
                    <a:lnTo>
                      <a:pt x="37070" y="66313"/>
                    </a:lnTo>
                    <a:lnTo>
                      <a:pt x="37070" y="78670"/>
                    </a:lnTo>
                    <a:lnTo>
                      <a:pt x="34463" y="91669"/>
                    </a:lnTo>
                    <a:lnTo>
                      <a:pt x="49408" y="104021"/>
                    </a:lnTo>
                    <a:lnTo>
                      <a:pt x="52658" y="109864"/>
                    </a:lnTo>
                    <a:lnTo>
                      <a:pt x="50712" y="123524"/>
                    </a:lnTo>
                    <a:lnTo>
                      <a:pt x="46158" y="131323"/>
                    </a:lnTo>
                    <a:lnTo>
                      <a:pt x="50069" y="141077"/>
                    </a:lnTo>
                    <a:lnTo>
                      <a:pt x="43569" y="146278"/>
                    </a:lnTo>
                    <a:lnTo>
                      <a:pt x="24713" y="145630"/>
                    </a:lnTo>
                    <a:lnTo>
                      <a:pt x="24052" y="157331"/>
                    </a:lnTo>
                    <a:lnTo>
                      <a:pt x="33159" y="163178"/>
                    </a:lnTo>
                    <a:lnTo>
                      <a:pt x="33159" y="182035"/>
                    </a:lnTo>
                    <a:lnTo>
                      <a:pt x="26017" y="200239"/>
                    </a:lnTo>
                    <a:lnTo>
                      <a:pt x="26017" y="211939"/>
                    </a:lnTo>
                    <a:lnTo>
                      <a:pt x="23410" y="221693"/>
                    </a:lnTo>
                    <a:lnTo>
                      <a:pt x="31213" y="232742"/>
                    </a:lnTo>
                    <a:lnTo>
                      <a:pt x="31856" y="242496"/>
                    </a:lnTo>
                    <a:lnTo>
                      <a:pt x="14964" y="256798"/>
                    </a:lnTo>
                    <a:lnTo>
                      <a:pt x="16267" y="269802"/>
                    </a:lnTo>
                    <a:lnTo>
                      <a:pt x="11053" y="275650"/>
                    </a:lnTo>
                    <a:lnTo>
                      <a:pt x="7803" y="287355"/>
                    </a:lnTo>
                    <a:lnTo>
                      <a:pt x="15606" y="288654"/>
                    </a:lnTo>
                    <a:lnTo>
                      <a:pt x="29909" y="256147"/>
                    </a:lnTo>
                    <a:lnTo>
                      <a:pt x="50712" y="248348"/>
                    </a:lnTo>
                    <a:lnTo>
                      <a:pt x="53319" y="241197"/>
                    </a:lnTo>
                    <a:lnTo>
                      <a:pt x="61122" y="241197"/>
                    </a:lnTo>
                    <a:lnTo>
                      <a:pt x="68925" y="248348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9703" tIns="28859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0" name="shp_Region_Belize_$2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BBF0100}"/>
                  </a:ext>
                </a:extLst>
              </p:cNvPr>
              <p:cNvSpPr/>
              <p:nvPr/>
            </p:nvSpPr>
            <p:spPr>
              <a:xfrm>
                <a:off x="2598448" y="2513609"/>
                <a:ext cx="27303" cy="46815"/>
              </a:xfrm>
              <a:custGeom>
                <a:avLst/>
                <a:gdLst/>
                <a:ahLst/>
                <a:cxnLst/>
                <a:rect l="0" t="0" r="0" b="0"/>
                <a:pathLst>
                  <a:path w="27303" h="46815">
                    <a:moveTo>
                      <a:pt x="18195" y="0"/>
                    </a:moveTo>
                    <a:lnTo>
                      <a:pt x="11035" y="7807"/>
                    </a:lnTo>
                    <a:lnTo>
                      <a:pt x="11035" y="17557"/>
                    </a:lnTo>
                    <a:lnTo>
                      <a:pt x="1285" y="36413"/>
                    </a:lnTo>
                    <a:lnTo>
                      <a:pt x="0" y="43569"/>
                    </a:lnTo>
                    <a:lnTo>
                      <a:pt x="7785" y="46814"/>
                    </a:lnTo>
                    <a:lnTo>
                      <a:pt x="14302" y="40314"/>
                    </a:lnTo>
                    <a:lnTo>
                      <a:pt x="18838" y="29261"/>
                    </a:lnTo>
                    <a:lnTo>
                      <a:pt x="27302" y="20811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5627" tIns="46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1" name="shp_Region_Belize_$2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CBF0100}"/>
                  </a:ext>
                </a:extLst>
              </p:cNvPr>
              <p:cNvSpPr/>
              <p:nvPr/>
            </p:nvSpPr>
            <p:spPr>
              <a:xfrm>
                <a:off x="2610143" y="2587730"/>
                <a:ext cx="33803" cy="48757"/>
              </a:xfrm>
              <a:custGeom>
                <a:avLst/>
                <a:gdLst/>
                <a:ahLst/>
                <a:cxnLst/>
                <a:rect l="0" t="0" r="0" b="0"/>
                <a:pathLst>
                  <a:path w="33803" h="48757">
                    <a:moveTo>
                      <a:pt x="21446" y="0"/>
                    </a:moveTo>
                    <a:lnTo>
                      <a:pt x="9107" y="647"/>
                    </a:lnTo>
                    <a:lnTo>
                      <a:pt x="0" y="7151"/>
                    </a:lnTo>
                    <a:lnTo>
                      <a:pt x="0" y="18851"/>
                    </a:lnTo>
                    <a:lnTo>
                      <a:pt x="2607" y="40306"/>
                    </a:lnTo>
                    <a:lnTo>
                      <a:pt x="14303" y="48756"/>
                    </a:lnTo>
                    <a:lnTo>
                      <a:pt x="25356" y="45506"/>
                    </a:lnTo>
                    <a:lnTo>
                      <a:pt x="33802" y="35757"/>
                    </a:lnTo>
                    <a:lnTo>
                      <a:pt x="33802" y="27954"/>
                    </a:lnTo>
                    <a:lnTo>
                      <a:pt x="27945" y="18200"/>
                    </a:lnTo>
                    <a:lnTo>
                      <a:pt x="27945" y="6499"/>
                    </a:lnTo>
                    <a:lnTo>
                      <a:pt x="214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1728" tIns="4874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2" name="shp_Region_Belize_$3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DBF0100}"/>
                  </a:ext>
                </a:extLst>
              </p:cNvPr>
              <p:cNvSpPr/>
              <p:nvPr/>
            </p:nvSpPr>
            <p:spPr>
              <a:xfrm>
                <a:off x="3165346" y="2611135"/>
                <a:ext cx="1494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9504">
                    <a:moveTo>
                      <a:pt x="11696" y="0"/>
                    </a:moveTo>
                    <a:lnTo>
                      <a:pt x="0" y="4549"/>
                    </a:lnTo>
                    <a:lnTo>
                      <a:pt x="11696" y="19503"/>
                    </a:lnTo>
                    <a:lnTo>
                      <a:pt x="14946" y="1950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030" tIns="195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3" name="shp_Region_Belize_$3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EBF0100}"/>
                  </a:ext>
                </a:extLst>
              </p:cNvPr>
              <p:cNvSpPr/>
              <p:nvPr/>
            </p:nvSpPr>
            <p:spPr>
              <a:xfrm>
                <a:off x="2324730" y="2644941"/>
                <a:ext cx="57873" cy="29910"/>
              </a:xfrm>
              <a:custGeom>
                <a:avLst/>
                <a:gdLst/>
                <a:ahLst/>
                <a:cxnLst/>
                <a:rect l="0" t="0" r="0" b="0"/>
                <a:pathLst>
                  <a:path w="57873" h="29910">
                    <a:moveTo>
                      <a:pt x="0" y="0"/>
                    </a:moveTo>
                    <a:lnTo>
                      <a:pt x="3250" y="7799"/>
                    </a:lnTo>
                    <a:lnTo>
                      <a:pt x="10410" y="13651"/>
                    </a:lnTo>
                    <a:lnTo>
                      <a:pt x="22106" y="13651"/>
                    </a:lnTo>
                    <a:lnTo>
                      <a:pt x="30570" y="29909"/>
                    </a:lnTo>
                    <a:lnTo>
                      <a:pt x="41623" y="29248"/>
                    </a:lnTo>
                    <a:lnTo>
                      <a:pt x="57872" y="18200"/>
                    </a:lnTo>
                    <a:lnTo>
                      <a:pt x="57872" y="14303"/>
                    </a:lnTo>
                    <a:lnTo>
                      <a:pt x="37712" y="20151"/>
                    </a:lnTo>
                    <a:lnTo>
                      <a:pt x="28606" y="12352"/>
                    </a:lnTo>
                    <a:lnTo>
                      <a:pt x="11714" y="11048"/>
                    </a:lnTo>
                    <a:lnTo>
                      <a:pt x="10410" y="58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4321" tIns="299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4" name="shp_Region_Belize_$3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6FBF0100}"/>
                  </a:ext>
                </a:extLst>
              </p:cNvPr>
              <p:cNvSpPr/>
              <p:nvPr/>
            </p:nvSpPr>
            <p:spPr>
              <a:xfrm>
                <a:off x="2951464" y="2678095"/>
                <a:ext cx="1039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0394" h="7805">
                    <a:moveTo>
                      <a:pt x="10393" y="0"/>
                    </a:moveTo>
                    <a:lnTo>
                      <a:pt x="0" y="1956"/>
                    </a:lnTo>
                    <a:lnTo>
                      <a:pt x="3250" y="7804"/>
                    </a:lnTo>
                    <a:lnTo>
                      <a:pt x="1039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756" tIns="78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5" name="shp_Region_Belize_$3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0BF0100}"/>
                  </a:ext>
                </a:extLst>
              </p:cNvPr>
              <p:cNvSpPr/>
              <p:nvPr/>
            </p:nvSpPr>
            <p:spPr>
              <a:xfrm>
                <a:off x="3014515" y="2708652"/>
                <a:ext cx="1235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2357" h="14955">
                    <a:moveTo>
                      <a:pt x="11713" y="0"/>
                    </a:moveTo>
                    <a:lnTo>
                      <a:pt x="0" y="7151"/>
                    </a:lnTo>
                    <a:lnTo>
                      <a:pt x="2607" y="14954"/>
                    </a:lnTo>
                    <a:lnTo>
                      <a:pt x="12356" y="3901"/>
                    </a:lnTo>
                    <a:lnTo>
                      <a:pt x="1171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1599" tIns="149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6" name="shp_Region_Belize_$3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1BF0100}"/>
                  </a:ext>
                </a:extLst>
              </p:cNvPr>
              <p:cNvSpPr/>
              <p:nvPr/>
            </p:nvSpPr>
            <p:spPr>
              <a:xfrm>
                <a:off x="3084082" y="2749614"/>
                <a:ext cx="11054" cy="1169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697">
                    <a:moveTo>
                      <a:pt x="5197" y="0"/>
                    </a:moveTo>
                    <a:lnTo>
                      <a:pt x="643" y="1294"/>
                    </a:lnTo>
                    <a:lnTo>
                      <a:pt x="0" y="11696"/>
                    </a:lnTo>
                    <a:lnTo>
                      <a:pt x="11053" y="6495"/>
                    </a:lnTo>
                    <a:lnTo>
                      <a:pt x="519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1169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7" name="shp_Region_Belize_$3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2BF0100}"/>
                  </a:ext>
                </a:extLst>
              </p:cNvPr>
              <p:cNvSpPr/>
              <p:nvPr/>
            </p:nvSpPr>
            <p:spPr>
              <a:xfrm>
                <a:off x="3005408" y="2763260"/>
                <a:ext cx="9768" cy="13010"/>
              </a:xfrm>
              <a:custGeom>
                <a:avLst/>
                <a:gdLst/>
                <a:ahLst/>
                <a:cxnLst/>
                <a:rect l="0" t="0" r="0" b="0"/>
                <a:pathLst>
                  <a:path w="9768" h="13010">
                    <a:moveTo>
                      <a:pt x="9767" y="0"/>
                    </a:moveTo>
                    <a:lnTo>
                      <a:pt x="0" y="13009"/>
                    </a:lnTo>
                    <a:lnTo>
                      <a:pt x="8464" y="13009"/>
                    </a:lnTo>
                    <a:lnTo>
                      <a:pt x="976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69" tIns="1300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8" name="shp_Region_Belize_$3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3BF0100}"/>
                  </a:ext>
                </a:extLst>
              </p:cNvPr>
              <p:cNvSpPr/>
              <p:nvPr/>
            </p:nvSpPr>
            <p:spPr>
              <a:xfrm>
                <a:off x="3093189" y="2799665"/>
                <a:ext cx="12340" cy="8456"/>
              </a:xfrm>
              <a:custGeom>
                <a:avLst/>
                <a:gdLst/>
                <a:ahLst/>
                <a:cxnLst/>
                <a:rect l="0" t="0" r="0" b="0"/>
                <a:pathLst>
                  <a:path w="12340" h="8456">
                    <a:moveTo>
                      <a:pt x="12339" y="0"/>
                    </a:moveTo>
                    <a:lnTo>
                      <a:pt x="0" y="656"/>
                    </a:lnTo>
                    <a:lnTo>
                      <a:pt x="4553" y="8455"/>
                    </a:lnTo>
                    <a:lnTo>
                      <a:pt x="123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1583" tIns="84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99" name="shp_Region_Belize_$3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4BF0100}"/>
                  </a:ext>
                </a:extLst>
              </p:cNvPr>
              <p:cNvSpPr/>
              <p:nvPr/>
            </p:nvSpPr>
            <p:spPr>
              <a:xfrm>
                <a:off x="3110742" y="2800968"/>
                <a:ext cx="68908" cy="75417"/>
              </a:xfrm>
              <a:custGeom>
                <a:avLst/>
                <a:gdLst/>
                <a:ahLst/>
                <a:cxnLst/>
                <a:rect l="0" t="0" r="0" b="0"/>
                <a:pathLst>
                  <a:path w="68908" h="75417">
                    <a:moveTo>
                      <a:pt x="21445" y="0"/>
                    </a:moveTo>
                    <a:lnTo>
                      <a:pt x="24052" y="14303"/>
                    </a:lnTo>
                    <a:lnTo>
                      <a:pt x="21445" y="19504"/>
                    </a:lnTo>
                    <a:lnTo>
                      <a:pt x="33159" y="24704"/>
                    </a:lnTo>
                    <a:lnTo>
                      <a:pt x="21445" y="31208"/>
                    </a:lnTo>
                    <a:lnTo>
                      <a:pt x="20802" y="40958"/>
                    </a:lnTo>
                    <a:lnTo>
                      <a:pt x="13642" y="40958"/>
                    </a:lnTo>
                    <a:lnTo>
                      <a:pt x="9089" y="33802"/>
                    </a:lnTo>
                    <a:lnTo>
                      <a:pt x="8446" y="24057"/>
                    </a:lnTo>
                    <a:lnTo>
                      <a:pt x="0" y="29262"/>
                    </a:lnTo>
                    <a:lnTo>
                      <a:pt x="3892" y="39663"/>
                    </a:lnTo>
                    <a:lnTo>
                      <a:pt x="2589" y="46159"/>
                    </a:lnTo>
                    <a:lnTo>
                      <a:pt x="12999" y="46810"/>
                    </a:lnTo>
                    <a:lnTo>
                      <a:pt x="18856" y="52658"/>
                    </a:lnTo>
                    <a:lnTo>
                      <a:pt x="26659" y="53962"/>
                    </a:lnTo>
                    <a:lnTo>
                      <a:pt x="31194" y="63064"/>
                    </a:lnTo>
                    <a:lnTo>
                      <a:pt x="22106" y="72166"/>
                    </a:lnTo>
                    <a:lnTo>
                      <a:pt x="12356" y="67613"/>
                    </a:lnTo>
                    <a:lnTo>
                      <a:pt x="643" y="68264"/>
                    </a:lnTo>
                    <a:lnTo>
                      <a:pt x="3250" y="75416"/>
                    </a:lnTo>
                    <a:lnTo>
                      <a:pt x="11053" y="70215"/>
                    </a:lnTo>
                    <a:lnTo>
                      <a:pt x="22106" y="75416"/>
                    </a:lnTo>
                    <a:lnTo>
                      <a:pt x="30552" y="67613"/>
                    </a:lnTo>
                    <a:lnTo>
                      <a:pt x="35748" y="67613"/>
                    </a:lnTo>
                    <a:lnTo>
                      <a:pt x="41605" y="59814"/>
                    </a:lnTo>
                    <a:lnTo>
                      <a:pt x="57854" y="32508"/>
                    </a:lnTo>
                    <a:lnTo>
                      <a:pt x="64353" y="26655"/>
                    </a:lnTo>
                    <a:lnTo>
                      <a:pt x="63710" y="17553"/>
                    </a:lnTo>
                    <a:lnTo>
                      <a:pt x="68907" y="7152"/>
                    </a:lnTo>
                    <a:lnTo>
                      <a:pt x="51354" y="3902"/>
                    </a:lnTo>
                    <a:lnTo>
                      <a:pt x="28605" y="7152"/>
                    </a:lnTo>
                    <a:lnTo>
                      <a:pt x="2144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4679" tIns="7540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0" name="shp_Region_Belize_$3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5BF0100}"/>
                  </a:ext>
                </a:extLst>
              </p:cNvPr>
              <p:cNvSpPr/>
              <p:nvPr/>
            </p:nvSpPr>
            <p:spPr>
              <a:xfrm>
                <a:off x="2567878" y="2812021"/>
                <a:ext cx="26660" cy="87773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87773">
                    <a:moveTo>
                      <a:pt x="22106" y="0"/>
                    </a:moveTo>
                    <a:lnTo>
                      <a:pt x="8464" y="3902"/>
                    </a:lnTo>
                    <a:lnTo>
                      <a:pt x="0" y="13004"/>
                    </a:lnTo>
                    <a:lnTo>
                      <a:pt x="660" y="20807"/>
                    </a:lnTo>
                    <a:lnTo>
                      <a:pt x="7803" y="35757"/>
                    </a:lnTo>
                    <a:lnTo>
                      <a:pt x="9749" y="48761"/>
                    </a:lnTo>
                    <a:lnTo>
                      <a:pt x="9106" y="59810"/>
                    </a:lnTo>
                    <a:lnTo>
                      <a:pt x="5214" y="66314"/>
                    </a:lnTo>
                    <a:lnTo>
                      <a:pt x="3910" y="81911"/>
                    </a:lnTo>
                    <a:lnTo>
                      <a:pt x="9106" y="87772"/>
                    </a:lnTo>
                    <a:lnTo>
                      <a:pt x="20159" y="76715"/>
                    </a:lnTo>
                    <a:lnTo>
                      <a:pt x="18856" y="59162"/>
                    </a:lnTo>
                    <a:lnTo>
                      <a:pt x="21463" y="55913"/>
                    </a:lnTo>
                    <a:lnTo>
                      <a:pt x="23409" y="40958"/>
                    </a:lnTo>
                    <a:lnTo>
                      <a:pt x="26659" y="31856"/>
                    </a:lnTo>
                    <a:lnTo>
                      <a:pt x="22766" y="13651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5024" tIns="877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1" name="shp_Region_Belize_$3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6BF0100}"/>
                  </a:ext>
                </a:extLst>
              </p:cNvPr>
              <p:cNvSpPr/>
              <p:nvPr/>
            </p:nvSpPr>
            <p:spPr>
              <a:xfrm>
                <a:off x="3100992" y="2822423"/>
                <a:ext cx="128066" cy="93621"/>
              </a:xfrm>
              <a:custGeom>
                <a:avLst/>
                <a:gdLst/>
                <a:ahLst/>
                <a:cxnLst/>
                <a:rect l="0" t="0" r="0" b="0"/>
                <a:pathLst>
                  <a:path w="128066" h="93621">
                    <a:moveTo>
                      <a:pt x="119619" y="0"/>
                    </a:moveTo>
                    <a:lnTo>
                      <a:pt x="105316" y="7807"/>
                    </a:lnTo>
                    <a:lnTo>
                      <a:pt x="95566" y="19503"/>
                    </a:lnTo>
                    <a:lnTo>
                      <a:pt x="98816" y="23409"/>
                    </a:lnTo>
                    <a:lnTo>
                      <a:pt x="95566" y="31203"/>
                    </a:lnTo>
                    <a:lnTo>
                      <a:pt x="96209" y="44863"/>
                    </a:lnTo>
                    <a:lnTo>
                      <a:pt x="87763" y="55260"/>
                    </a:lnTo>
                    <a:lnTo>
                      <a:pt x="84514" y="63710"/>
                    </a:lnTo>
                    <a:lnTo>
                      <a:pt x="74103" y="58510"/>
                    </a:lnTo>
                    <a:lnTo>
                      <a:pt x="76710" y="51358"/>
                    </a:lnTo>
                    <a:lnTo>
                      <a:pt x="66300" y="47461"/>
                    </a:lnTo>
                    <a:lnTo>
                      <a:pt x="60461" y="63710"/>
                    </a:lnTo>
                    <a:lnTo>
                      <a:pt x="51997" y="65014"/>
                    </a:lnTo>
                    <a:lnTo>
                      <a:pt x="40302" y="59162"/>
                    </a:lnTo>
                    <a:lnTo>
                      <a:pt x="20142" y="61760"/>
                    </a:lnTo>
                    <a:lnTo>
                      <a:pt x="5839" y="60461"/>
                    </a:lnTo>
                    <a:lnTo>
                      <a:pt x="0" y="68911"/>
                    </a:lnTo>
                    <a:lnTo>
                      <a:pt x="1947" y="74768"/>
                    </a:lnTo>
                    <a:lnTo>
                      <a:pt x="9750" y="74768"/>
                    </a:lnTo>
                    <a:lnTo>
                      <a:pt x="18839" y="80616"/>
                    </a:lnTo>
                    <a:lnTo>
                      <a:pt x="23392" y="93620"/>
                    </a:lnTo>
                    <a:lnTo>
                      <a:pt x="49408" y="92316"/>
                    </a:lnTo>
                    <a:lnTo>
                      <a:pt x="51997" y="82567"/>
                    </a:lnTo>
                    <a:lnTo>
                      <a:pt x="63711" y="67612"/>
                    </a:lnTo>
                    <a:lnTo>
                      <a:pt x="71514" y="67612"/>
                    </a:lnTo>
                    <a:lnTo>
                      <a:pt x="79960" y="72170"/>
                    </a:lnTo>
                    <a:lnTo>
                      <a:pt x="87763" y="70857"/>
                    </a:lnTo>
                    <a:lnTo>
                      <a:pt x="95566" y="61112"/>
                    </a:lnTo>
                    <a:lnTo>
                      <a:pt x="96870" y="47461"/>
                    </a:lnTo>
                    <a:lnTo>
                      <a:pt x="101406" y="42908"/>
                    </a:lnTo>
                    <a:lnTo>
                      <a:pt x="109869" y="43560"/>
                    </a:lnTo>
                    <a:lnTo>
                      <a:pt x="115708" y="23409"/>
                    </a:lnTo>
                    <a:lnTo>
                      <a:pt x="126761" y="20155"/>
                    </a:lnTo>
                    <a:lnTo>
                      <a:pt x="128065" y="13008"/>
                    </a:lnTo>
                    <a:lnTo>
                      <a:pt x="121565" y="9102"/>
                    </a:lnTo>
                    <a:lnTo>
                      <a:pt x="11961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0206" tIns="936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2" name="shp_Region_Belize_$4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7BF0100}"/>
                  </a:ext>
                </a:extLst>
              </p:cNvPr>
              <p:cNvSpPr/>
              <p:nvPr/>
            </p:nvSpPr>
            <p:spPr>
              <a:xfrm>
                <a:off x="2904646" y="2830230"/>
                <a:ext cx="86478" cy="272397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272397">
                    <a:moveTo>
                      <a:pt x="21463" y="78661"/>
                    </a:moveTo>
                    <a:lnTo>
                      <a:pt x="14302" y="68907"/>
                    </a:lnTo>
                    <a:lnTo>
                      <a:pt x="11052" y="59162"/>
                    </a:lnTo>
                    <a:lnTo>
                      <a:pt x="14963" y="53305"/>
                    </a:lnTo>
                    <a:lnTo>
                      <a:pt x="20159" y="35753"/>
                    </a:lnTo>
                    <a:lnTo>
                      <a:pt x="33158" y="35753"/>
                    </a:lnTo>
                    <a:lnTo>
                      <a:pt x="41604" y="46154"/>
                    </a:lnTo>
                    <a:lnTo>
                      <a:pt x="52015" y="52006"/>
                    </a:lnTo>
                    <a:lnTo>
                      <a:pt x="43569" y="70206"/>
                    </a:lnTo>
                    <a:lnTo>
                      <a:pt x="52015" y="68907"/>
                    </a:lnTo>
                    <a:lnTo>
                      <a:pt x="58514" y="61756"/>
                    </a:lnTo>
                    <a:lnTo>
                      <a:pt x="61121" y="40953"/>
                    </a:lnTo>
                    <a:lnTo>
                      <a:pt x="57871" y="24048"/>
                    </a:lnTo>
                    <a:lnTo>
                      <a:pt x="48765" y="15602"/>
                    </a:lnTo>
                    <a:lnTo>
                      <a:pt x="47461" y="0"/>
                    </a:lnTo>
                    <a:lnTo>
                      <a:pt x="39658" y="2598"/>
                    </a:lnTo>
                    <a:lnTo>
                      <a:pt x="25998" y="27298"/>
                    </a:lnTo>
                    <a:lnTo>
                      <a:pt x="19498" y="21450"/>
                    </a:lnTo>
                    <a:lnTo>
                      <a:pt x="3249" y="33802"/>
                    </a:lnTo>
                    <a:lnTo>
                      <a:pt x="4553" y="46806"/>
                    </a:lnTo>
                    <a:lnTo>
                      <a:pt x="0" y="53305"/>
                    </a:lnTo>
                    <a:lnTo>
                      <a:pt x="0" y="66309"/>
                    </a:lnTo>
                    <a:lnTo>
                      <a:pt x="5856" y="78009"/>
                    </a:lnTo>
                    <a:lnTo>
                      <a:pt x="5196" y="95558"/>
                    </a:lnTo>
                    <a:lnTo>
                      <a:pt x="9106" y="115717"/>
                    </a:lnTo>
                    <a:lnTo>
                      <a:pt x="14963" y="126770"/>
                    </a:lnTo>
                    <a:lnTo>
                      <a:pt x="20802" y="146921"/>
                    </a:lnTo>
                    <a:lnTo>
                      <a:pt x="20159" y="161224"/>
                    </a:lnTo>
                    <a:lnTo>
                      <a:pt x="29909" y="174879"/>
                    </a:lnTo>
                    <a:lnTo>
                      <a:pt x="37051" y="176830"/>
                    </a:lnTo>
                    <a:lnTo>
                      <a:pt x="44854" y="188530"/>
                    </a:lnTo>
                    <a:lnTo>
                      <a:pt x="55907" y="187236"/>
                    </a:lnTo>
                    <a:lnTo>
                      <a:pt x="58514" y="195682"/>
                    </a:lnTo>
                    <a:lnTo>
                      <a:pt x="65014" y="204132"/>
                    </a:lnTo>
                    <a:lnTo>
                      <a:pt x="58514" y="212587"/>
                    </a:lnTo>
                    <a:lnTo>
                      <a:pt x="65014" y="217788"/>
                    </a:lnTo>
                    <a:lnTo>
                      <a:pt x="61764" y="230787"/>
                    </a:lnTo>
                    <a:lnTo>
                      <a:pt x="68907" y="239242"/>
                    </a:lnTo>
                    <a:lnTo>
                      <a:pt x="68907" y="252241"/>
                    </a:lnTo>
                    <a:lnTo>
                      <a:pt x="77370" y="267847"/>
                    </a:lnTo>
                    <a:lnTo>
                      <a:pt x="86477" y="272396"/>
                    </a:lnTo>
                    <a:lnTo>
                      <a:pt x="81263" y="255495"/>
                    </a:lnTo>
                    <a:lnTo>
                      <a:pt x="81263" y="242492"/>
                    </a:lnTo>
                    <a:lnTo>
                      <a:pt x="75424" y="233389"/>
                    </a:lnTo>
                    <a:lnTo>
                      <a:pt x="85816" y="224292"/>
                    </a:lnTo>
                    <a:lnTo>
                      <a:pt x="81924" y="213886"/>
                    </a:lnTo>
                    <a:lnTo>
                      <a:pt x="69567" y="208685"/>
                    </a:lnTo>
                    <a:lnTo>
                      <a:pt x="63710" y="198931"/>
                    </a:lnTo>
                    <a:lnTo>
                      <a:pt x="73460" y="185932"/>
                    </a:lnTo>
                    <a:lnTo>
                      <a:pt x="62407" y="175527"/>
                    </a:lnTo>
                    <a:lnTo>
                      <a:pt x="52657" y="174879"/>
                    </a:lnTo>
                    <a:lnTo>
                      <a:pt x="53318" y="159268"/>
                    </a:lnTo>
                    <a:lnTo>
                      <a:pt x="61764" y="154068"/>
                    </a:lnTo>
                    <a:lnTo>
                      <a:pt x="71513" y="159920"/>
                    </a:lnTo>
                    <a:lnTo>
                      <a:pt x="68264" y="141720"/>
                    </a:lnTo>
                    <a:lnTo>
                      <a:pt x="57211" y="138470"/>
                    </a:lnTo>
                    <a:lnTo>
                      <a:pt x="44211" y="141073"/>
                    </a:lnTo>
                    <a:lnTo>
                      <a:pt x="41604" y="150822"/>
                    </a:lnTo>
                    <a:lnTo>
                      <a:pt x="33801" y="148872"/>
                    </a:lnTo>
                    <a:lnTo>
                      <a:pt x="35105" y="131971"/>
                    </a:lnTo>
                    <a:lnTo>
                      <a:pt x="27302" y="121570"/>
                    </a:lnTo>
                    <a:lnTo>
                      <a:pt x="23409" y="109218"/>
                    </a:lnTo>
                    <a:lnTo>
                      <a:pt x="38355" y="97513"/>
                    </a:lnTo>
                    <a:lnTo>
                      <a:pt x="39658" y="89062"/>
                    </a:lnTo>
                    <a:lnTo>
                      <a:pt x="24052" y="86460"/>
                    </a:lnTo>
                    <a:lnTo>
                      <a:pt x="21463" y="78661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171" tIns="27234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3" name="shp_Region_Belize_$4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8BF0100}"/>
                  </a:ext>
                </a:extLst>
              </p:cNvPr>
              <p:cNvSpPr/>
              <p:nvPr/>
            </p:nvSpPr>
            <p:spPr>
              <a:xfrm>
                <a:off x="3051584" y="2870532"/>
                <a:ext cx="21446" cy="29262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2">
                    <a:moveTo>
                      <a:pt x="16892" y="0"/>
                    </a:moveTo>
                    <a:lnTo>
                      <a:pt x="11696" y="2602"/>
                    </a:lnTo>
                    <a:lnTo>
                      <a:pt x="12339" y="12352"/>
                    </a:lnTo>
                    <a:lnTo>
                      <a:pt x="7143" y="13651"/>
                    </a:lnTo>
                    <a:lnTo>
                      <a:pt x="0" y="24061"/>
                    </a:lnTo>
                    <a:lnTo>
                      <a:pt x="3250" y="29261"/>
                    </a:lnTo>
                    <a:lnTo>
                      <a:pt x="20803" y="14954"/>
                    </a:lnTo>
                    <a:lnTo>
                      <a:pt x="21445" y="7151"/>
                    </a:lnTo>
                    <a:lnTo>
                      <a:pt x="1689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0130" tIns="292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4" name="shp_Region_Belize_$4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9BF0100}"/>
                  </a:ext>
                </a:extLst>
              </p:cNvPr>
              <p:cNvSpPr/>
              <p:nvPr/>
            </p:nvSpPr>
            <p:spPr>
              <a:xfrm>
                <a:off x="3028818" y="2927743"/>
                <a:ext cx="86478" cy="137828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137828">
                    <a:moveTo>
                      <a:pt x="36408" y="137827"/>
                    </a:moveTo>
                    <a:lnTo>
                      <a:pt x="49408" y="137827"/>
                    </a:lnTo>
                    <a:lnTo>
                      <a:pt x="55264" y="126118"/>
                    </a:lnTo>
                    <a:lnTo>
                      <a:pt x="68924" y="112471"/>
                    </a:lnTo>
                    <a:lnTo>
                      <a:pt x="65014" y="91017"/>
                    </a:lnTo>
                    <a:lnTo>
                      <a:pt x="56568" y="81263"/>
                    </a:lnTo>
                    <a:lnTo>
                      <a:pt x="65014" y="74764"/>
                    </a:lnTo>
                    <a:lnTo>
                      <a:pt x="67621" y="53961"/>
                    </a:lnTo>
                    <a:lnTo>
                      <a:pt x="76067" y="47457"/>
                    </a:lnTo>
                    <a:lnTo>
                      <a:pt x="73460" y="30561"/>
                    </a:lnTo>
                    <a:lnTo>
                      <a:pt x="86477" y="22753"/>
                    </a:lnTo>
                    <a:lnTo>
                      <a:pt x="86477" y="16901"/>
                    </a:lnTo>
                    <a:lnTo>
                      <a:pt x="72174" y="0"/>
                    </a:lnTo>
                    <a:lnTo>
                      <a:pt x="57871" y="7151"/>
                    </a:lnTo>
                    <a:lnTo>
                      <a:pt x="56568" y="15602"/>
                    </a:lnTo>
                    <a:lnTo>
                      <a:pt x="63068" y="24057"/>
                    </a:lnTo>
                    <a:lnTo>
                      <a:pt x="55907" y="35105"/>
                    </a:lnTo>
                    <a:lnTo>
                      <a:pt x="60461" y="48109"/>
                    </a:lnTo>
                    <a:lnTo>
                      <a:pt x="49408" y="53961"/>
                    </a:lnTo>
                    <a:lnTo>
                      <a:pt x="42908" y="51359"/>
                    </a:lnTo>
                    <a:lnTo>
                      <a:pt x="27302" y="53309"/>
                    </a:lnTo>
                    <a:lnTo>
                      <a:pt x="23409" y="50060"/>
                    </a:lnTo>
                    <a:lnTo>
                      <a:pt x="26016" y="37708"/>
                    </a:lnTo>
                    <a:lnTo>
                      <a:pt x="38355" y="37708"/>
                    </a:lnTo>
                    <a:lnTo>
                      <a:pt x="35765" y="29257"/>
                    </a:lnTo>
                    <a:lnTo>
                      <a:pt x="26659" y="29900"/>
                    </a:lnTo>
                    <a:lnTo>
                      <a:pt x="23409" y="20802"/>
                    </a:lnTo>
                    <a:lnTo>
                      <a:pt x="14963" y="24699"/>
                    </a:lnTo>
                    <a:lnTo>
                      <a:pt x="1946" y="26655"/>
                    </a:lnTo>
                    <a:lnTo>
                      <a:pt x="0" y="31855"/>
                    </a:lnTo>
                    <a:lnTo>
                      <a:pt x="8463" y="44207"/>
                    </a:lnTo>
                    <a:lnTo>
                      <a:pt x="5856" y="55260"/>
                    </a:lnTo>
                    <a:lnTo>
                      <a:pt x="14963" y="59162"/>
                    </a:lnTo>
                    <a:lnTo>
                      <a:pt x="14302" y="65666"/>
                    </a:lnTo>
                    <a:lnTo>
                      <a:pt x="3910" y="74764"/>
                    </a:lnTo>
                    <a:lnTo>
                      <a:pt x="11713" y="77366"/>
                    </a:lnTo>
                    <a:lnTo>
                      <a:pt x="18856" y="66313"/>
                    </a:lnTo>
                    <a:lnTo>
                      <a:pt x="30551" y="69563"/>
                    </a:lnTo>
                    <a:lnTo>
                      <a:pt x="40319" y="69563"/>
                    </a:lnTo>
                    <a:lnTo>
                      <a:pt x="39015" y="100124"/>
                    </a:lnTo>
                    <a:lnTo>
                      <a:pt x="47461" y="110516"/>
                    </a:lnTo>
                    <a:lnTo>
                      <a:pt x="36408" y="137827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171" tIns="13779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5" name="shp_Region_Belize_$4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ABF0100}"/>
                  </a:ext>
                </a:extLst>
              </p:cNvPr>
              <p:cNvSpPr/>
              <p:nvPr/>
            </p:nvSpPr>
            <p:spPr>
              <a:xfrm>
                <a:off x="3013211" y="2936193"/>
                <a:ext cx="13018" cy="20808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20808">
                    <a:moveTo>
                      <a:pt x="0" y="0"/>
                    </a:moveTo>
                    <a:lnTo>
                      <a:pt x="1964" y="20807"/>
                    </a:lnTo>
                    <a:lnTo>
                      <a:pt x="11053" y="12352"/>
                    </a:lnTo>
                    <a:lnTo>
                      <a:pt x="13017" y="32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219" tIns="208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6" name="shp_Region_Belize_$4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BBF0100}"/>
                  </a:ext>
                </a:extLst>
              </p:cNvPr>
              <p:cNvSpPr/>
              <p:nvPr/>
            </p:nvSpPr>
            <p:spPr>
              <a:xfrm>
                <a:off x="2568538" y="2949197"/>
                <a:ext cx="11697" cy="39660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39660">
                    <a:moveTo>
                      <a:pt x="11696" y="0"/>
                    </a:moveTo>
                    <a:lnTo>
                      <a:pt x="2590" y="7151"/>
                    </a:lnTo>
                    <a:lnTo>
                      <a:pt x="6500" y="18204"/>
                    </a:lnTo>
                    <a:lnTo>
                      <a:pt x="0" y="37708"/>
                    </a:lnTo>
                    <a:lnTo>
                      <a:pt x="7804" y="39659"/>
                    </a:lnTo>
                    <a:lnTo>
                      <a:pt x="11696" y="27954"/>
                    </a:lnTo>
                    <a:lnTo>
                      <a:pt x="10393" y="1755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979" tIns="396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7" name="shp_Region_Belize_$4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CBF0100}"/>
                  </a:ext>
                </a:extLst>
              </p:cNvPr>
              <p:cNvSpPr/>
              <p:nvPr/>
            </p:nvSpPr>
            <p:spPr>
              <a:xfrm>
                <a:off x="3702353" y="2984959"/>
                <a:ext cx="46159" cy="72809"/>
              </a:xfrm>
              <a:custGeom>
                <a:avLst/>
                <a:gdLst/>
                <a:ahLst/>
                <a:cxnLst/>
                <a:rect l="0" t="0" r="0" b="0"/>
                <a:pathLst>
                  <a:path w="46159" h="72809">
                    <a:moveTo>
                      <a:pt x="28605" y="0"/>
                    </a:moveTo>
                    <a:lnTo>
                      <a:pt x="22749" y="0"/>
                    </a:lnTo>
                    <a:lnTo>
                      <a:pt x="22749" y="12347"/>
                    </a:lnTo>
                    <a:lnTo>
                      <a:pt x="12356" y="42908"/>
                    </a:lnTo>
                    <a:lnTo>
                      <a:pt x="11696" y="49403"/>
                    </a:lnTo>
                    <a:lnTo>
                      <a:pt x="4553" y="55255"/>
                    </a:lnTo>
                    <a:lnTo>
                      <a:pt x="0" y="66304"/>
                    </a:lnTo>
                    <a:lnTo>
                      <a:pt x="643" y="72808"/>
                    </a:lnTo>
                    <a:lnTo>
                      <a:pt x="16249" y="52006"/>
                    </a:lnTo>
                    <a:lnTo>
                      <a:pt x="31855" y="43555"/>
                    </a:lnTo>
                    <a:lnTo>
                      <a:pt x="42908" y="32507"/>
                    </a:lnTo>
                    <a:lnTo>
                      <a:pt x="46158" y="17548"/>
                    </a:lnTo>
                    <a:lnTo>
                      <a:pt x="36409" y="11695"/>
                    </a:lnTo>
                    <a:lnTo>
                      <a:pt x="36409" y="4539"/>
                    </a:lnTo>
                    <a:lnTo>
                      <a:pt x="2860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3326" tIns="7279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8" name="shp_Region_Belize_$4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DBF0100}"/>
                  </a:ext>
                </a:extLst>
              </p:cNvPr>
              <p:cNvSpPr/>
              <p:nvPr/>
            </p:nvSpPr>
            <p:spPr>
              <a:xfrm>
                <a:off x="2997623" y="3003806"/>
                <a:ext cx="9089" cy="9103"/>
              </a:xfrm>
              <a:custGeom>
                <a:avLst/>
                <a:gdLst/>
                <a:ahLst/>
                <a:cxnLst/>
                <a:rect l="0" t="0" r="0" b="0"/>
                <a:pathLst>
                  <a:path w="9089" h="9103">
                    <a:moveTo>
                      <a:pt x="3250" y="0"/>
                    </a:moveTo>
                    <a:lnTo>
                      <a:pt x="0" y="9102"/>
                    </a:lnTo>
                    <a:lnTo>
                      <a:pt x="9088" y="7798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531" tIns="910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09" name="shp_Region_Belize_$4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EBF0100}"/>
                  </a:ext>
                </a:extLst>
              </p:cNvPr>
              <p:cNvSpPr/>
              <p:nvPr/>
            </p:nvSpPr>
            <p:spPr>
              <a:xfrm>
                <a:off x="2571788" y="3038915"/>
                <a:ext cx="13001" cy="29906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29906">
                    <a:moveTo>
                      <a:pt x="6500" y="0"/>
                    </a:moveTo>
                    <a:lnTo>
                      <a:pt x="0" y="17553"/>
                    </a:lnTo>
                    <a:lnTo>
                      <a:pt x="1947" y="29905"/>
                    </a:lnTo>
                    <a:lnTo>
                      <a:pt x="13000" y="26004"/>
                    </a:lnTo>
                    <a:lnTo>
                      <a:pt x="13000" y="7799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203" tIns="299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10" name="shp_Region_Belize_$4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7FBF0100}"/>
                  </a:ext>
                </a:extLst>
              </p:cNvPr>
              <p:cNvSpPr/>
              <p:nvPr/>
            </p:nvSpPr>
            <p:spPr>
              <a:xfrm>
                <a:off x="2990462" y="3094176"/>
                <a:ext cx="21465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21465" h="17554">
                    <a:moveTo>
                      <a:pt x="18214" y="0"/>
                    </a:moveTo>
                    <a:lnTo>
                      <a:pt x="11696" y="647"/>
                    </a:lnTo>
                    <a:lnTo>
                      <a:pt x="0" y="14303"/>
                    </a:lnTo>
                    <a:lnTo>
                      <a:pt x="15607" y="17553"/>
                    </a:lnTo>
                    <a:lnTo>
                      <a:pt x="21464" y="13646"/>
                    </a:lnTo>
                    <a:lnTo>
                      <a:pt x="1821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0148" tIns="175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11" name="shp_Region_Belize_$4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80BF0100}"/>
                  </a:ext>
                </a:extLst>
              </p:cNvPr>
              <p:cNvSpPr/>
              <p:nvPr/>
            </p:nvSpPr>
            <p:spPr>
              <a:xfrm>
                <a:off x="2590644" y="3183247"/>
                <a:ext cx="15590" cy="22098"/>
              </a:xfrm>
              <a:custGeom>
                <a:avLst/>
                <a:gdLst/>
                <a:ahLst/>
                <a:cxnLst/>
                <a:rect l="0" t="0" r="0" b="0"/>
                <a:pathLst>
                  <a:path w="15590" h="22098">
                    <a:moveTo>
                      <a:pt x="0" y="0"/>
                    </a:moveTo>
                    <a:lnTo>
                      <a:pt x="8446" y="7794"/>
                    </a:lnTo>
                    <a:lnTo>
                      <a:pt x="5197" y="22097"/>
                    </a:lnTo>
                    <a:lnTo>
                      <a:pt x="15589" y="18195"/>
                    </a:lnTo>
                    <a:lnTo>
                      <a:pt x="15589" y="12348"/>
                    </a:lnTo>
                    <a:lnTo>
                      <a:pt x="6500" y="25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633" tIns="2209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12" name="shp_Region_Belize_$5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0000000-0008-0000-0C00-000081BF0100}"/>
                  </a:ext>
                </a:extLst>
              </p:cNvPr>
              <p:cNvSpPr/>
              <p:nvPr/>
            </p:nvSpPr>
            <p:spPr>
              <a:xfrm>
                <a:off x="1931412" y="4638223"/>
                <a:ext cx="9107" cy="18196"/>
              </a:xfrm>
              <a:custGeom>
                <a:avLst/>
                <a:gdLst/>
                <a:ahLst/>
                <a:cxnLst/>
                <a:rect l="0" t="0" r="0" b="0"/>
                <a:pathLst>
                  <a:path w="9107" h="18196">
                    <a:moveTo>
                      <a:pt x="7803" y="0"/>
                    </a:moveTo>
                    <a:lnTo>
                      <a:pt x="0" y="1294"/>
                    </a:lnTo>
                    <a:lnTo>
                      <a:pt x="2607" y="17548"/>
                    </a:lnTo>
                    <a:lnTo>
                      <a:pt x="9106" y="18195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548" tIns="1819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</p:grpSp>
        <p:sp>
          <p:nvSpPr>
            <p:cNvPr id="6" name="shp_Region_Cayo" descr="Admin1_Id=&quot;BLZ&quot;&#10;Admin1_Label=&quot;Belize&quot;&#10;Admin2_Id=&quot;BLZ.2_1&quot;&#10;Admin2_Label=&quot;Cayo&quot;&#10;" title="Cayo">
              <a:extLst>
                <a:ext uri="{FF2B5EF4-FFF2-40B4-BE49-F238E27FC236}">
                  <a16:creationId xmlns:a16="http://schemas.microsoft.com/office/drawing/2014/main" id="{00000000-0008-0000-0C00-00001DBF0100}"/>
                </a:ext>
              </a:extLst>
            </p:cNvPr>
            <p:cNvSpPr/>
            <p:nvPr/>
          </p:nvSpPr>
          <p:spPr>
            <a:xfrm>
              <a:off x="79913" y="2322669"/>
              <a:ext cx="1416648" cy="2518671"/>
            </a:xfrm>
            <a:custGeom>
              <a:avLst/>
              <a:gdLst/>
              <a:ahLst/>
              <a:cxnLst/>
              <a:rect l="0" t="0" r="0" b="0"/>
              <a:pathLst>
                <a:path w="1509278" h="2519196">
                  <a:moveTo>
                    <a:pt x="96067" y="409942"/>
                  </a:moveTo>
                  <a:lnTo>
                    <a:pt x="97459" y="1064510"/>
                  </a:lnTo>
                  <a:lnTo>
                    <a:pt x="79639" y="1330723"/>
                  </a:lnTo>
                  <a:lnTo>
                    <a:pt x="62051" y="1593289"/>
                  </a:lnTo>
                  <a:lnTo>
                    <a:pt x="39266" y="1933316"/>
                  </a:lnTo>
                  <a:lnTo>
                    <a:pt x="47712" y="1933369"/>
                  </a:lnTo>
                  <a:lnTo>
                    <a:pt x="21142" y="2324139"/>
                  </a:lnTo>
                  <a:lnTo>
                    <a:pt x="13053" y="2324532"/>
                  </a:lnTo>
                  <a:lnTo>
                    <a:pt x="0" y="2519195"/>
                  </a:lnTo>
                  <a:lnTo>
                    <a:pt x="176812" y="2401331"/>
                  </a:lnTo>
                  <a:lnTo>
                    <a:pt x="329697" y="2373529"/>
                  </a:lnTo>
                  <a:lnTo>
                    <a:pt x="420049" y="2283181"/>
                  </a:lnTo>
                  <a:lnTo>
                    <a:pt x="496492" y="2324884"/>
                  </a:lnTo>
                  <a:lnTo>
                    <a:pt x="593790" y="2262334"/>
                  </a:lnTo>
                  <a:lnTo>
                    <a:pt x="593790" y="2199784"/>
                  </a:lnTo>
                  <a:lnTo>
                    <a:pt x="711944" y="2171986"/>
                  </a:lnTo>
                  <a:lnTo>
                    <a:pt x="823135" y="2116386"/>
                  </a:lnTo>
                  <a:lnTo>
                    <a:pt x="885685" y="2019088"/>
                  </a:lnTo>
                  <a:lnTo>
                    <a:pt x="878739" y="1984340"/>
                  </a:lnTo>
                  <a:lnTo>
                    <a:pt x="878739" y="1963493"/>
                  </a:lnTo>
                  <a:lnTo>
                    <a:pt x="896863" y="1939316"/>
                  </a:lnTo>
                  <a:lnTo>
                    <a:pt x="913362" y="1939432"/>
                  </a:lnTo>
                  <a:lnTo>
                    <a:pt x="980001" y="1889448"/>
                  </a:lnTo>
                  <a:lnTo>
                    <a:pt x="986162" y="1875096"/>
                  </a:lnTo>
                  <a:lnTo>
                    <a:pt x="1002875" y="1836102"/>
                  </a:lnTo>
                  <a:lnTo>
                    <a:pt x="1060015" y="1695119"/>
                  </a:lnTo>
                  <a:lnTo>
                    <a:pt x="1117173" y="1618909"/>
                  </a:lnTo>
                  <a:lnTo>
                    <a:pt x="1155278" y="1592236"/>
                  </a:lnTo>
                  <a:lnTo>
                    <a:pt x="1227685" y="1592236"/>
                  </a:lnTo>
                  <a:lnTo>
                    <a:pt x="1201008" y="1535083"/>
                  </a:lnTo>
                  <a:lnTo>
                    <a:pt x="1260308" y="1504651"/>
                  </a:lnTo>
                  <a:lnTo>
                    <a:pt x="1239113" y="1321701"/>
                  </a:lnTo>
                  <a:lnTo>
                    <a:pt x="1297931" y="1302095"/>
                  </a:lnTo>
                  <a:lnTo>
                    <a:pt x="1304859" y="1281757"/>
                  </a:lnTo>
                  <a:lnTo>
                    <a:pt x="1339375" y="1253821"/>
                  </a:lnTo>
                  <a:lnTo>
                    <a:pt x="1405604" y="1149728"/>
                  </a:lnTo>
                  <a:lnTo>
                    <a:pt x="1486046" y="1055104"/>
                  </a:lnTo>
                  <a:lnTo>
                    <a:pt x="1475975" y="1030610"/>
                  </a:lnTo>
                  <a:lnTo>
                    <a:pt x="1472689" y="1032261"/>
                  </a:lnTo>
                  <a:lnTo>
                    <a:pt x="1439459" y="917754"/>
                  </a:lnTo>
                  <a:lnTo>
                    <a:pt x="1450780" y="904295"/>
                  </a:lnTo>
                  <a:lnTo>
                    <a:pt x="1457262" y="895179"/>
                  </a:lnTo>
                  <a:lnTo>
                    <a:pt x="1478171" y="876475"/>
                  </a:lnTo>
                  <a:lnTo>
                    <a:pt x="1489814" y="862445"/>
                  </a:lnTo>
                  <a:lnTo>
                    <a:pt x="1496777" y="850767"/>
                  </a:lnTo>
                  <a:lnTo>
                    <a:pt x="1496760" y="818067"/>
                  </a:lnTo>
                  <a:lnTo>
                    <a:pt x="1487439" y="785373"/>
                  </a:lnTo>
                  <a:lnTo>
                    <a:pt x="1485082" y="755004"/>
                  </a:lnTo>
                  <a:lnTo>
                    <a:pt x="1485064" y="722309"/>
                  </a:lnTo>
                  <a:lnTo>
                    <a:pt x="1509277" y="674231"/>
                  </a:lnTo>
                  <a:lnTo>
                    <a:pt x="1481314" y="596155"/>
                  </a:lnTo>
                  <a:lnTo>
                    <a:pt x="1467118" y="317005"/>
                  </a:lnTo>
                  <a:lnTo>
                    <a:pt x="1443459" y="0"/>
                  </a:lnTo>
                  <a:lnTo>
                    <a:pt x="1400872" y="75701"/>
                  </a:lnTo>
                  <a:lnTo>
                    <a:pt x="1327733" y="53193"/>
                  </a:lnTo>
                  <a:lnTo>
                    <a:pt x="1060211" y="193989"/>
                  </a:lnTo>
                  <a:lnTo>
                    <a:pt x="776334" y="212912"/>
                  </a:lnTo>
                  <a:lnTo>
                    <a:pt x="781066" y="175062"/>
                  </a:lnTo>
                  <a:lnTo>
                    <a:pt x="691178" y="269690"/>
                  </a:lnTo>
                  <a:lnTo>
                    <a:pt x="459333" y="269690"/>
                  </a:lnTo>
                  <a:lnTo>
                    <a:pt x="416746" y="312273"/>
                  </a:lnTo>
                  <a:lnTo>
                    <a:pt x="359981" y="321737"/>
                  </a:lnTo>
                  <a:lnTo>
                    <a:pt x="388355" y="283882"/>
                  </a:lnTo>
                  <a:lnTo>
                    <a:pt x="303198" y="283882"/>
                  </a:lnTo>
                  <a:lnTo>
                    <a:pt x="208561" y="326464"/>
                  </a:lnTo>
                  <a:lnTo>
                    <a:pt x="96067" y="40994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16648" tIns="2518671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 err="1">
                  <a:solidFill>
                    <a:srgbClr val="FFFFFF"/>
                  </a:solidFill>
                  <a:latin typeface="Arial" panose="020B0604020202020204" pitchFamily="34" charset="0"/>
                </a:rPr>
                <a:t>Cayo</a:t>
              </a:r>
              <a:endParaRPr lang="en-US" sz="600" b="1" i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7" name="shp_Region_Corozal" descr="Admin1_Id=&quot;BLZ&quot;&#10;Admin1_Label=&quot;Belize&quot;&#10;Admin2_Id=&quot;BLZ.3_1&quot;&#10;Admin2_Label=&quot;Corozal&quot;&#10;" title="Corozal">
              <a:extLst>
                <a:ext uri="{FF2B5EF4-FFF2-40B4-BE49-F238E27FC236}">
                  <a16:creationId xmlns:a16="http://schemas.microsoft.com/office/drawing/2014/main" id="{00000000-0008-0000-0C00-00001EBF0100}"/>
                </a:ext>
              </a:extLst>
            </p:cNvPr>
            <p:cNvGrpSpPr/>
            <p:nvPr/>
          </p:nvGrpSpPr>
          <p:grpSpPr>
            <a:xfrm>
              <a:off x="1361539" y="0"/>
              <a:ext cx="1706986" cy="1524709"/>
              <a:chOff x="1361539" y="0"/>
              <a:chExt cx="1818600" cy="1525027"/>
            </a:xfrm>
            <a:solidFill>
              <a:srgbClr val="92D050"/>
            </a:solidFill>
          </p:grpSpPr>
          <p:sp>
            <p:nvSpPr>
              <p:cNvPr id="53" name="shp_Region_Corozal_$1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6BF0100}"/>
                  </a:ext>
                </a:extLst>
              </p:cNvPr>
              <p:cNvSpPr/>
              <p:nvPr/>
            </p:nvSpPr>
            <p:spPr>
              <a:xfrm>
                <a:off x="1361539" y="0"/>
                <a:ext cx="1206187" cy="1213664"/>
              </a:xfrm>
              <a:custGeom>
                <a:avLst/>
                <a:gdLst/>
                <a:ahLst/>
                <a:cxnLst/>
                <a:rect l="0" t="0" r="0" b="0"/>
                <a:pathLst>
                  <a:path w="1206187" h="1213664">
                    <a:moveTo>
                      <a:pt x="1052105" y="1213663"/>
                    </a:moveTo>
                    <a:lnTo>
                      <a:pt x="1050801" y="1199963"/>
                    </a:lnTo>
                    <a:lnTo>
                      <a:pt x="1057301" y="1165500"/>
                    </a:lnTo>
                    <a:lnTo>
                      <a:pt x="1059908" y="1158353"/>
                    </a:lnTo>
                    <a:lnTo>
                      <a:pt x="1081353" y="1138850"/>
                    </a:lnTo>
                    <a:lnTo>
                      <a:pt x="1089817" y="1125846"/>
                    </a:lnTo>
                    <a:lnTo>
                      <a:pt x="1104120" y="1110244"/>
                    </a:lnTo>
                    <a:lnTo>
                      <a:pt x="1111923" y="1085540"/>
                    </a:lnTo>
                    <a:lnTo>
                      <a:pt x="1116476" y="1054332"/>
                    </a:lnTo>
                    <a:lnTo>
                      <a:pt x="1122976" y="1031579"/>
                    </a:lnTo>
                    <a:lnTo>
                      <a:pt x="1127512" y="1020526"/>
                    </a:lnTo>
                    <a:lnTo>
                      <a:pt x="1128815" y="1004919"/>
                    </a:lnTo>
                    <a:lnTo>
                      <a:pt x="1141171" y="988023"/>
                    </a:lnTo>
                    <a:lnTo>
                      <a:pt x="1146368" y="954217"/>
                    </a:lnTo>
                    <a:lnTo>
                      <a:pt x="1148975" y="943164"/>
                    </a:lnTo>
                    <a:lnTo>
                      <a:pt x="1158081" y="930160"/>
                    </a:lnTo>
                    <a:lnTo>
                      <a:pt x="1167170" y="932111"/>
                    </a:lnTo>
                    <a:lnTo>
                      <a:pt x="1169777" y="902854"/>
                    </a:lnTo>
                    <a:lnTo>
                      <a:pt x="1178223" y="887252"/>
                    </a:lnTo>
                    <a:lnTo>
                      <a:pt x="1177580" y="854744"/>
                    </a:lnTo>
                    <a:lnTo>
                      <a:pt x="1182776" y="844339"/>
                    </a:lnTo>
                    <a:lnTo>
                      <a:pt x="1183437" y="824840"/>
                    </a:lnTo>
                    <a:lnTo>
                      <a:pt x="1188633" y="800788"/>
                    </a:lnTo>
                    <a:lnTo>
                      <a:pt x="1187990" y="776731"/>
                    </a:lnTo>
                    <a:lnTo>
                      <a:pt x="1192526" y="763727"/>
                    </a:lnTo>
                    <a:lnTo>
                      <a:pt x="1192526" y="740974"/>
                    </a:lnTo>
                    <a:lnTo>
                      <a:pt x="1196436" y="718221"/>
                    </a:lnTo>
                    <a:lnTo>
                      <a:pt x="1200990" y="705217"/>
                    </a:lnTo>
                    <a:lnTo>
                      <a:pt x="1204239" y="685062"/>
                    </a:lnTo>
                    <a:lnTo>
                      <a:pt x="1204882" y="665563"/>
                    </a:lnTo>
                    <a:lnTo>
                      <a:pt x="1199686" y="660362"/>
                    </a:lnTo>
                    <a:lnTo>
                      <a:pt x="1199025" y="649956"/>
                    </a:lnTo>
                    <a:lnTo>
                      <a:pt x="1193829" y="644756"/>
                    </a:lnTo>
                    <a:lnTo>
                      <a:pt x="1192526" y="622645"/>
                    </a:lnTo>
                    <a:lnTo>
                      <a:pt x="1193829" y="607700"/>
                    </a:lnTo>
                    <a:lnTo>
                      <a:pt x="1190580" y="589495"/>
                    </a:lnTo>
                    <a:lnTo>
                      <a:pt x="1191240" y="574545"/>
                    </a:lnTo>
                    <a:lnTo>
                      <a:pt x="1195133" y="563492"/>
                    </a:lnTo>
                    <a:lnTo>
                      <a:pt x="1193829" y="545288"/>
                    </a:lnTo>
                    <a:lnTo>
                      <a:pt x="1190580" y="534230"/>
                    </a:lnTo>
                    <a:lnTo>
                      <a:pt x="1201632" y="537489"/>
                    </a:lnTo>
                    <a:lnTo>
                      <a:pt x="1206186" y="534230"/>
                    </a:lnTo>
                    <a:lnTo>
                      <a:pt x="1206186" y="522535"/>
                    </a:lnTo>
                    <a:lnTo>
                      <a:pt x="1187330" y="517329"/>
                    </a:lnTo>
                    <a:lnTo>
                      <a:pt x="1190580" y="503031"/>
                    </a:lnTo>
                    <a:lnTo>
                      <a:pt x="1203579" y="503678"/>
                    </a:lnTo>
                    <a:lnTo>
                      <a:pt x="1199025" y="495875"/>
                    </a:lnTo>
                    <a:lnTo>
                      <a:pt x="1193187" y="497826"/>
                    </a:lnTo>
                    <a:lnTo>
                      <a:pt x="1187990" y="489376"/>
                    </a:lnTo>
                    <a:lnTo>
                      <a:pt x="1179527" y="488077"/>
                    </a:lnTo>
                    <a:lnTo>
                      <a:pt x="1180830" y="497174"/>
                    </a:lnTo>
                    <a:lnTo>
                      <a:pt x="1172384" y="498478"/>
                    </a:lnTo>
                    <a:lnTo>
                      <a:pt x="1173688" y="480273"/>
                    </a:lnTo>
                    <a:lnTo>
                      <a:pt x="1176937" y="465971"/>
                    </a:lnTo>
                    <a:lnTo>
                      <a:pt x="1182776" y="464667"/>
                    </a:lnTo>
                    <a:lnTo>
                      <a:pt x="1185383" y="454918"/>
                    </a:lnTo>
                    <a:lnTo>
                      <a:pt x="1179527" y="448418"/>
                    </a:lnTo>
                    <a:lnTo>
                      <a:pt x="1184723" y="437365"/>
                    </a:lnTo>
                    <a:lnTo>
                      <a:pt x="1185383" y="411362"/>
                    </a:lnTo>
                    <a:lnTo>
                      <a:pt x="1189937" y="400309"/>
                    </a:lnTo>
                    <a:lnTo>
                      <a:pt x="1187330" y="386006"/>
                    </a:lnTo>
                    <a:lnTo>
                      <a:pt x="1186687" y="369110"/>
                    </a:lnTo>
                    <a:lnTo>
                      <a:pt x="1183437" y="357401"/>
                    </a:lnTo>
                    <a:lnTo>
                      <a:pt x="1174973" y="349593"/>
                    </a:lnTo>
                    <a:lnTo>
                      <a:pt x="1173688" y="328795"/>
                    </a:lnTo>
                    <a:lnTo>
                      <a:pt x="1181473" y="328795"/>
                    </a:lnTo>
                    <a:lnTo>
                      <a:pt x="1181473" y="311242"/>
                    </a:lnTo>
                    <a:lnTo>
                      <a:pt x="1186687" y="297591"/>
                    </a:lnTo>
                    <a:lnTo>
                      <a:pt x="1182776" y="288489"/>
                    </a:lnTo>
                    <a:lnTo>
                      <a:pt x="1169134" y="302140"/>
                    </a:lnTo>
                    <a:lnTo>
                      <a:pt x="1150921" y="307992"/>
                    </a:lnTo>
                    <a:lnTo>
                      <a:pt x="1122976" y="306042"/>
                    </a:lnTo>
                    <a:lnTo>
                      <a:pt x="1115173" y="310591"/>
                    </a:lnTo>
                    <a:lnTo>
                      <a:pt x="1103459" y="312546"/>
                    </a:lnTo>
                    <a:lnTo>
                      <a:pt x="1094370" y="319045"/>
                    </a:lnTo>
                    <a:lnTo>
                      <a:pt x="1079407" y="324246"/>
                    </a:lnTo>
                    <a:lnTo>
                      <a:pt x="1075514" y="329447"/>
                    </a:lnTo>
                    <a:lnTo>
                      <a:pt x="1061854" y="338549"/>
                    </a:lnTo>
                    <a:lnTo>
                      <a:pt x="1028053" y="351548"/>
                    </a:lnTo>
                    <a:lnTo>
                      <a:pt x="1020892" y="361302"/>
                    </a:lnTo>
                    <a:lnTo>
                      <a:pt x="1005304" y="369753"/>
                    </a:lnTo>
                    <a:lnTo>
                      <a:pt x="989037" y="370404"/>
                    </a:lnTo>
                    <a:lnTo>
                      <a:pt x="974734" y="369110"/>
                    </a:lnTo>
                    <a:lnTo>
                      <a:pt x="953931" y="369753"/>
                    </a:lnTo>
                    <a:lnTo>
                      <a:pt x="944843" y="371703"/>
                    </a:lnTo>
                    <a:lnTo>
                      <a:pt x="924022" y="389908"/>
                    </a:lnTo>
                    <a:lnTo>
                      <a:pt x="911684" y="396407"/>
                    </a:lnTo>
                    <a:lnTo>
                      <a:pt x="900631" y="382109"/>
                    </a:lnTo>
                    <a:lnTo>
                      <a:pt x="927290" y="372355"/>
                    </a:lnTo>
                    <a:lnTo>
                      <a:pt x="917523" y="365847"/>
                    </a:lnTo>
                    <a:lnTo>
                      <a:pt x="925326" y="356749"/>
                    </a:lnTo>
                    <a:lnTo>
                      <a:pt x="928576" y="342446"/>
                    </a:lnTo>
                    <a:lnTo>
                      <a:pt x="918826" y="345700"/>
                    </a:lnTo>
                    <a:lnTo>
                      <a:pt x="911023" y="351548"/>
                    </a:lnTo>
                    <a:lnTo>
                      <a:pt x="897381" y="356749"/>
                    </a:lnTo>
                    <a:lnTo>
                      <a:pt x="885024" y="365204"/>
                    </a:lnTo>
                    <a:lnTo>
                      <a:pt x="877221" y="365204"/>
                    </a:lnTo>
                    <a:lnTo>
                      <a:pt x="865525" y="369110"/>
                    </a:lnTo>
                    <a:lnTo>
                      <a:pt x="857062" y="358048"/>
                    </a:lnTo>
                    <a:lnTo>
                      <a:pt x="857062" y="351548"/>
                    </a:lnTo>
                    <a:lnTo>
                      <a:pt x="864865" y="347656"/>
                    </a:lnTo>
                    <a:lnTo>
                      <a:pt x="873329" y="339196"/>
                    </a:lnTo>
                    <a:lnTo>
                      <a:pt x="862276" y="335946"/>
                    </a:lnTo>
                    <a:lnTo>
                      <a:pt x="854472" y="326844"/>
                    </a:lnTo>
                    <a:lnTo>
                      <a:pt x="843420" y="323594"/>
                    </a:lnTo>
                    <a:lnTo>
                      <a:pt x="836259" y="333996"/>
                    </a:lnTo>
                    <a:lnTo>
                      <a:pt x="822617" y="337245"/>
                    </a:lnTo>
                    <a:lnTo>
                      <a:pt x="816117" y="330094"/>
                    </a:lnTo>
                    <a:lnTo>
                      <a:pt x="809618" y="335946"/>
                    </a:lnTo>
                    <a:lnTo>
                      <a:pt x="795958" y="334647"/>
                    </a:lnTo>
                    <a:lnTo>
                      <a:pt x="777102" y="346999"/>
                    </a:lnTo>
                    <a:lnTo>
                      <a:pt x="762799" y="345053"/>
                    </a:lnTo>
                    <a:lnTo>
                      <a:pt x="756299" y="349593"/>
                    </a:lnTo>
                    <a:lnTo>
                      <a:pt x="749157" y="348298"/>
                    </a:lnTo>
                    <a:lnTo>
                      <a:pt x="739389" y="351548"/>
                    </a:lnTo>
                    <a:lnTo>
                      <a:pt x="727694" y="350901"/>
                    </a:lnTo>
                    <a:lnTo>
                      <a:pt x="714694" y="357401"/>
                    </a:lnTo>
                    <a:lnTo>
                      <a:pt x="711445" y="361954"/>
                    </a:lnTo>
                    <a:lnTo>
                      <a:pt x="684142" y="373650"/>
                    </a:lnTo>
                    <a:lnTo>
                      <a:pt x="673732" y="373650"/>
                    </a:lnTo>
                    <a:lnTo>
                      <a:pt x="664625" y="382109"/>
                    </a:lnTo>
                    <a:lnTo>
                      <a:pt x="639270" y="389256"/>
                    </a:lnTo>
                    <a:lnTo>
                      <a:pt x="636680" y="396407"/>
                    </a:lnTo>
                    <a:lnTo>
                      <a:pt x="630824" y="396407"/>
                    </a:lnTo>
                    <a:lnTo>
                      <a:pt x="616521" y="390559"/>
                    </a:lnTo>
                    <a:lnTo>
                      <a:pt x="607414" y="391207"/>
                    </a:lnTo>
                    <a:lnTo>
                      <a:pt x="607414" y="376908"/>
                    </a:lnTo>
                    <a:lnTo>
                      <a:pt x="611325" y="363248"/>
                    </a:lnTo>
                    <a:lnTo>
                      <a:pt x="617824" y="361954"/>
                    </a:lnTo>
                    <a:lnTo>
                      <a:pt x="619771" y="354802"/>
                    </a:lnTo>
                    <a:lnTo>
                      <a:pt x="630824" y="343098"/>
                    </a:lnTo>
                    <a:lnTo>
                      <a:pt x="646430" y="334647"/>
                    </a:lnTo>
                    <a:lnTo>
                      <a:pt x="652287" y="325545"/>
                    </a:lnTo>
                    <a:lnTo>
                      <a:pt x="660072" y="324246"/>
                    </a:lnTo>
                    <a:lnTo>
                      <a:pt x="671786" y="315144"/>
                    </a:lnTo>
                    <a:lnTo>
                      <a:pt x="665929" y="306042"/>
                    </a:lnTo>
                    <a:lnTo>
                      <a:pt x="648376" y="305390"/>
                    </a:lnTo>
                    <a:lnTo>
                      <a:pt x="636020" y="307341"/>
                    </a:lnTo>
                    <a:lnTo>
                      <a:pt x="634074" y="311894"/>
                    </a:lnTo>
                    <a:lnTo>
                      <a:pt x="615878" y="317095"/>
                    </a:lnTo>
                    <a:lnTo>
                      <a:pt x="602218" y="324246"/>
                    </a:lnTo>
                    <a:lnTo>
                      <a:pt x="588576" y="322943"/>
                    </a:lnTo>
                    <a:lnTo>
                      <a:pt x="587272" y="326844"/>
                    </a:lnTo>
                    <a:lnTo>
                      <a:pt x="561917" y="341794"/>
                    </a:lnTo>
                    <a:lnTo>
                      <a:pt x="546953" y="348298"/>
                    </a:lnTo>
                    <a:lnTo>
                      <a:pt x="539150" y="348298"/>
                    </a:lnTo>
                    <a:lnTo>
                      <a:pt x="513794" y="354151"/>
                    </a:lnTo>
                    <a:lnTo>
                      <a:pt x="505348" y="346348"/>
                    </a:lnTo>
                    <a:lnTo>
                      <a:pt x="504705" y="341147"/>
                    </a:lnTo>
                    <a:lnTo>
                      <a:pt x="495599" y="337897"/>
                    </a:lnTo>
                    <a:lnTo>
                      <a:pt x="482600" y="319693"/>
                    </a:lnTo>
                    <a:lnTo>
                      <a:pt x="481939" y="280030"/>
                    </a:lnTo>
                    <a:lnTo>
                      <a:pt x="491046" y="264437"/>
                    </a:lnTo>
                    <a:lnTo>
                      <a:pt x="498206" y="263133"/>
                    </a:lnTo>
                    <a:lnTo>
                      <a:pt x="517062" y="245576"/>
                    </a:lnTo>
                    <a:lnTo>
                      <a:pt x="533954" y="243630"/>
                    </a:lnTo>
                    <a:lnTo>
                      <a:pt x="545668" y="235827"/>
                    </a:lnTo>
                    <a:lnTo>
                      <a:pt x="554114" y="226724"/>
                    </a:lnTo>
                    <a:lnTo>
                      <a:pt x="574916" y="217622"/>
                    </a:lnTo>
                    <a:lnTo>
                      <a:pt x="581416" y="211123"/>
                    </a:lnTo>
                    <a:lnTo>
                      <a:pt x="588576" y="209172"/>
                    </a:lnTo>
                    <a:lnTo>
                      <a:pt x="595718" y="202672"/>
                    </a:lnTo>
                    <a:lnTo>
                      <a:pt x="612628" y="200074"/>
                    </a:lnTo>
                    <a:lnTo>
                      <a:pt x="626270" y="187718"/>
                    </a:lnTo>
                    <a:lnTo>
                      <a:pt x="636680" y="185767"/>
                    </a:lnTo>
                    <a:lnTo>
                      <a:pt x="659429" y="166915"/>
                    </a:lnTo>
                    <a:lnTo>
                      <a:pt x="668536" y="153911"/>
                    </a:lnTo>
                    <a:lnTo>
                      <a:pt x="668536" y="145461"/>
                    </a:lnTo>
                    <a:lnTo>
                      <a:pt x="672429" y="129207"/>
                    </a:lnTo>
                    <a:lnTo>
                      <a:pt x="680232" y="123355"/>
                    </a:lnTo>
                    <a:lnTo>
                      <a:pt x="687392" y="125310"/>
                    </a:lnTo>
                    <a:lnTo>
                      <a:pt x="691285" y="116204"/>
                    </a:lnTo>
                    <a:lnTo>
                      <a:pt x="708195" y="108405"/>
                    </a:lnTo>
                    <a:lnTo>
                      <a:pt x="715998" y="95401"/>
                    </a:lnTo>
                    <a:lnTo>
                      <a:pt x="720551" y="93455"/>
                    </a:lnTo>
                    <a:lnTo>
                      <a:pt x="708195" y="75898"/>
                    </a:lnTo>
                    <a:lnTo>
                      <a:pt x="704945" y="58341"/>
                    </a:lnTo>
                    <a:lnTo>
                      <a:pt x="695195" y="51194"/>
                    </a:lnTo>
                    <a:lnTo>
                      <a:pt x="684142" y="47944"/>
                    </a:lnTo>
                    <a:lnTo>
                      <a:pt x="678285" y="38190"/>
                    </a:lnTo>
                    <a:lnTo>
                      <a:pt x="670482" y="34293"/>
                    </a:lnTo>
                    <a:lnTo>
                      <a:pt x="672429" y="27789"/>
                    </a:lnTo>
                    <a:lnTo>
                      <a:pt x="670482" y="17294"/>
                    </a:lnTo>
                    <a:lnTo>
                      <a:pt x="645930" y="15374"/>
                    </a:lnTo>
                    <a:lnTo>
                      <a:pt x="616128" y="19423"/>
                    </a:lnTo>
                    <a:lnTo>
                      <a:pt x="584540" y="25369"/>
                    </a:lnTo>
                    <a:lnTo>
                      <a:pt x="533918" y="27570"/>
                    </a:lnTo>
                    <a:lnTo>
                      <a:pt x="519651" y="23521"/>
                    </a:lnTo>
                    <a:lnTo>
                      <a:pt x="500170" y="0"/>
                    </a:lnTo>
                    <a:lnTo>
                      <a:pt x="489260" y="491"/>
                    </a:lnTo>
                    <a:lnTo>
                      <a:pt x="475350" y="5540"/>
                    </a:lnTo>
                    <a:lnTo>
                      <a:pt x="413818" y="31882"/>
                    </a:lnTo>
                    <a:lnTo>
                      <a:pt x="400193" y="36766"/>
                    </a:lnTo>
                    <a:lnTo>
                      <a:pt x="379855" y="39694"/>
                    </a:lnTo>
                    <a:lnTo>
                      <a:pt x="367552" y="35217"/>
                    </a:lnTo>
                    <a:lnTo>
                      <a:pt x="354892" y="15120"/>
                    </a:lnTo>
                    <a:lnTo>
                      <a:pt x="313323" y="7513"/>
                    </a:lnTo>
                    <a:lnTo>
                      <a:pt x="309430" y="4236"/>
                    </a:lnTo>
                    <a:lnTo>
                      <a:pt x="288770" y="11455"/>
                    </a:lnTo>
                    <a:lnTo>
                      <a:pt x="243916" y="54064"/>
                    </a:lnTo>
                    <a:lnTo>
                      <a:pt x="220739" y="67380"/>
                    </a:lnTo>
                    <a:lnTo>
                      <a:pt x="201990" y="85362"/>
                    </a:lnTo>
                    <a:lnTo>
                      <a:pt x="189258" y="114699"/>
                    </a:lnTo>
                    <a:lnTo>
                      <a:pt x="188401" y="133471"/>
                    </a:lnTo>
                    <a:lnTo>
                      <a:pt x="173687" y="183709"/>
                    </a:lnTo>
                    <a:lnTo>
                      <a:pt x="161545" y="209837"/>
                    </a:lnTo>
                    <a:lnTo>
                      <a:pt x="151242" y="225260"/>
                    </a:lnTo>
                    <a:lnTo>
                      <a:pt x="144153" y="251991"/>
                    </a:lnTo>
                    <a:lnTo>
                      <a:pt x="126922" y="281806"/>
                    </a:lnTo>
                    <a:lnTo>
                      <a:pt x="123851" y="300546"/>
                    </a:lnTo>
                    <a:lnTo>
                      <a:pt x="130708" y="329076"/>
                    </a:lnTo>
                    <a:lnTo>
                      <a:pt x="126583" y="344049"/>
                    </a:lnTo>
                    <a:lnTo>
                      <a:pt x="120262" y="354691"/>
                    </a:lnTo>
                    <a:lnTo>
                      <a:pt x="94156" y="380096"/>
                    </a:lnTo>
                    <a:lnTo>
                      <a:pt x="60551" y="420955"/>
                    </a:lnTo>
                    <a:lnTo>
                      <a:pt x="20535" y="455034"/>
                    </a:lnTo>
                    <a:lnTo>
                      <a:pt x="14017" y="468082"/>
                    </a:lnTo>
                    <a:lnTo>
                      <a:pt x="15464" y="484202"/>
                    </a:lnTo>
                    <a:lnTo>
                      <a:pt x="7232" y="513066"/>
                    </a:lnTo>
                    <a:lnTo>
                      <a:pt x="0" y="562448"/>
                    </a:lnTo>
                    <a:lnTo>
                      <a:pt x="67675" y="578478"/>
                    </a:lnTo>
                    <a:lnTo>
                      <a:pt x="149653" y="614914"/>
                    </a:lnTo>
                    <a:lnTo>
                      <a:pt x="274164" y="669571"/>
                    </a:lnTo>
                    <a:lnTo>
                      <a:pt x="340964" y="781922"/>
                    </a:lnTo>
                    <a:lnTo>
                      <a:pt x="380444" y="882127"/>
                    </a:lnTo>
                    <a:lnTo>
                      <a:pt x="562631" y="1027878"/>
                    </a:lnTo>
                    <a:lnTo>
                      <a:pt x="711409" y="1188811"/>
                    </a:lnTo>
                    <a:lnTo>
                      <a:pt x="722265" y="1189977"/>
                    </a:lnTo>
                    <a:lnTo>
                      <a:pt x="749889" y="1192936"/>
                    </a:lnTo>
                    <a:lnTo>
                      <a:pt x="750871" y="1194432"/>
                    </a:lnTo>
                    <a:lnTo>
                      <a:pt x="1052105" y="1213663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132159" tIns="121341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54" name="shp_Region_Corozal_$2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7BF0100}"/>
                  </a:ext>
                </a:extLst>
              </p:cNvPr>
              <p:cNvSpPr/>
              <p:nvPr/>
            </p:nvSpPr>
            <p:spPr>
              <a:xfrm>
                <a:off x="2547565" y="323594"/>
                <a:ext cx="11054" cy="1690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6907">
                    <a:moveTo>
                      <a:pt x="0" y="0"/>
                    </a:moveTo>
                    <a:lnTo>
                      <a:pt x="661" y="16906"/>
                    </a:lnTo>
                    <a:lnTo>
                      <a:pt x="11053" y="6500"/>
                    </a:lnTo>
                    <a:lnTo>
                      <a:pt x="1964" y="45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169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55" name="shp_Region_Corozal_$3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8BF0100}"/>
                  </a:ext>
                </a:extLst>
              </p:cNvPr>
              <p:cNvSpPr/>
              <p:nvPr/>
            </p:nvSpPr>
            <p:spPr>
              <a:xfrm>
                <a:off x="2682790" y="688535"/>
                <a:ext cx="497349" cy="769526"/>
              </a:xfrm>
              <a:custGeom>
                <a:avLst/>
                <a:gdLst/>
                <a:ahLst/>
                <a:cxnLst/>
                <a:rect l="0" t="0" r="0" b="0"/>
                <a:pathLst>
                  <a:path w="497349" h="769526">
                    <a:moveTo>
                      <a:pt x="224952" y="603744"/>
                    </a:moveTo>
                    <a:lnTo>
                      <a:pt x="232095" y="593990"/>
                    </a:lnTo>
                    <a:lnTo>
                      <a:pt x="235345" y="579040"/>
                    </a:lnTo>
                    <a:lnTo>
                      <a:pt x="244451" y="574487"/>
                    </a:lnTo>
                    <a:lnTo>
                      <a:pt x="253558" y="565385"/>
                    </a:lnTo>
                    <a:lnTo>
                      <a:pt x="258111" y="549787"/>
                    </a:lnTo>
                    <a:lnTo>
                      <a:pt x="273057" y="525079"/>
                    </a:lnTo>
                    <a:lnTo>
                      <a:pt x="286717" y="495174"/>
                    </a:lnTo>
                    <a:lnTo>
                      <a:pt x="288003" y="486724"/>
                    </a:lnTo>
                    <a:lnTo>
                      <a:pt x="294520" y="476965"/>
                    </a:lnTo>
                    <a:lnTo>
                      <a:pt x="304912" y="449663"/>
                    </a:lnTo>
                    <a:lnTo>
                      <a:pt x="315323" y="426263"/>
                    </a:lnTo>
                    <a:lnTo>
                      <a:pt x="330268" y="409357"/>
                    </a:lnTo>
                    <a:lnTo>
                      <a:pt x="339375" y="391805"/>
                    </a:lnTo>
                    <a:lnTo>
                      <a:pt x="343928" y="378145"/>
                    </a:lnTo>
                    <a:lnTo>
                      <a:pt x="344571" y="359954"/>
                    </a:lnTo>
                    <a:lnTo>
                      <a:pt x="350428" y="345646"/>
                    </a:lnTo>
                    <a:lnTo>
                      <a:pt x="357570" y="338495"/>
                    </a:lnTo>
                    <a:lnTo>
                      <a:pt x="366034" y="317688"/>
                    </a:lnTo>
                    <a:lnTo>
                      <a:pt x="369284" y="294935"/>
                    </a:lnTo>
                    <a:lnTo>
                      <a:pt x="375784" y="282583"/>
                    </a:lnTo>
                    <a:lnTo>
                      <a:pt x="385533" y="268932"/>
                    </a:lnTo>
                    <a:lnTo>
                      <a:pt x="406978" y="252674"/>
                    </a:lnTo>
                    <a:lnTo>
                      <a:pt x="418031" y="241625"/>
                    </a:lnTo>
                    <a:lnTo>
                      <a:pt x="425835" y="224720"/>
                    </a:lnTo>
                    <a:lnTo>
                      <a:pt x="434941" y="221470"/>
                    </a:lnTo>
                    <a:lnTo>
                      <a:pt x="444048" y="211720"/>
                    </a:lnTo>
                    <a:lnTo>
                      <a:pt x="457690" y="204565"/>
                    </a:lnTo>
                    <a:lnTo>
                      <a:pt x="461600" y="205216"/>
                    </a:lnTo>
                    <a:lnTo>
                      <a:pt x="478492" y="194815"/>
                    </a:lnTo>
                    <a:lnTo>
                      <a:pt x="492152" y="195467"/>
                    </a:lnTo>
                    <a:lnTo>
                      <a:pt x="497348" y="187016"/>
                    </a:lnTo>
                    <a:lnTo>
                      <a:pt x="495402" y="174664"/>
                    </a:lnTo>
                    <a:lnTo>
                      <a:pt x="486296" y="164910"/>
                    </a:lnTo>
                    <a:lnTo>
                      <a:pt x="480439" y="142804"/>
                    </a:lnTo>
                    <a:lnTo>
                      <a:pt x="479153" y="120051"/>
                    </a:lnTo>
                    <a:lnTo>
                      <a:pt x="473296" y="105101"/>
                    </a:lnTo>
                    <a:lnTo>
                      <a:pt x="467439" y="95352"/>
                    </a:lnTo>
                    <a:lnTo>
                      <a:pt x="467439" y="79745"/>
                    </a:lnTo>
                    <a:lnTo>
                      <a:pt x="464190" y="67393"/>
                    </a:lnTo>
                    <a:lnTo>
                      <a:pt x="457047" y="58291"/>
                    </a:lnTo>
                    <a:lnTo>
                      <a:pt x="455744" y="48537"/>
                    </a:lnTo>
                    <a:lnTo>
                      <a:pt x="446637" y="38136"/>
                    </a:lnTo>
                    <a:lnTo>
                      <a:pt x="457047" y="29034"/>
                    </a:lnTo>
                    <a:lnTo>
                      <a:pt x="457726" y="25208"/>
                    </a:lnTo>
                    <a:lnTo>
                      <a:pt x="448423" y="11584"/>
                    </a:lnTo>
                    <a:lnTo>
                      <a:pt x="431781" y="0"/>
                    </a:lnTo>
                    <a:lnTo>
                      <a:pt x="427138" y="13432"/>
                    </a:lnTo>
                    <a:lnTo>
                      <a:pt x="419978" y="19932"/>
                    </a:lnTo>
                    <a:lnTo>
                      <a:pt x="414139" y="33592"/>
                    </a:lnTo>
                    <a:lnTo>
                      <a:pt x="408282" y="33592"/>
                    </a:lnTo>
                    <a:lnTo>
                      <a:pt x="405032" y="42689"/>
                    </a:lnTo>
                    <a:lnTo>
                      <a:pt x="397229" y="43337"/>
                    </a:lnTo>
                    <a:lnTo>
                      <a:pt x="394640" y="55689"/>
                    </a:lnTo>
                    <a:lnTo>
                      <a:pt x="381623" y="67393"/>
                    </a:lnTo>
                    <a:lnTo>
                      <a:pt x="366034" y="84946"/>
                    </a:lnTo>
                    <a:lnTo>
                      <a:pt x="358231" y="97954"/>
                    </a:lnTo>
                    <a:lnTo>
                      <a:pt x="355624" y="107699"/>
                    </a:lnTo>
                    <a:lnTo>
                      <a:pt x="356267" y="117453"/>
                    </a:lnTo>
                    <a:lnTo>
                      <a:pt x="340678" y="118748"/>
                    </a:lnTo>
                    <a:lnTo>
                      <a:pt x="341321" y="129810"/>
                    </a:lnTo>
                    <a:lnTo>
                      <a:pt x="335464" y="135006"/>
                    </a:lnTo>
                    <a:lnTo>
                      <a:pt x="332875" y="145407"/>
                    </a:lnTo>
                    <a:lnTo>
                      <a:pt x="337429" y="165562"/>
                    </a:lnTo>
                    <a:lnTo>
                      <a:pt x="335464" y="175312"/>
                    </a:lnTo>
                    <a:lnTo>
                      <a:pt x="327018" y="183762"/>
                    </a:lnTo>
                    <a:lnTo>
                      <a:pt x="326376" y="198065"/>
                    </a:lnTo>
                    <a:lnTo>
                      <a:pt x="311412" y="209765"/>
                    </a:lnTo>
                    <a:lnTo>
                      <a:pt x="299716" y="239674"/>
                    </a:lnTo>
                    <a:lnTo>
                      <a:pt x="292556" y="244228"/>
                    </a:lnTo>
                    <a:lnTo>
                      <a:pt x="276967" y="249428"/>
                    </a:lnTo>
                    <a:lnTo>
                      <a:pt x="275003" y="273481"/>
                    </a:lnTo>
                    <a:lnTo>
                      <a:pt x="282806" y="265682"/>
                    </a:lnTo>
                    <a:lnTo>
                      <a:pt x="296466" y="273481"/>
                    </a:lnTo>
                    <a:lnTo>
                      <a:pt x="305573" y="270883"/>
                    </a:lnTo>
                    <a:lnTo>
                      <a:pt x="309466" y="277382"/>
                    </a:lnTo>
                    <a:lnTo>
                      <a:pt x="304269" y="291033"/>
                    </a:lnTo>
                    <a:lnTo>
                      <a:pt x="289306" y="295587"/>
                    </a:lnTo>
                    <a:lnTo>
                      <a:pt x="282806" y="294935"/>
                    </a:lnTo>
                    <a:lnTo>
                      <a:pt x="278253" y="285833"/>
                    </a:lnTo>
                    <a:lnTo>
                      <a:pt x="254861" y="304689"/>
                    </a:lnTo>
                    <a:lnTo>
                      <a:pt x="249005" y="318340"/>
                    </a:lnTo>
                    <a:lnTo>
                      <a:pt x="241201" y="328741"/>
                    </a:lnTo>
                    <a:lnTo>
                      <a:pt x="221042" y="326790"/>
                    </a:lnTo>
                    <a:lnTo>
                      <a:pt x="209989" y="319643"/>
                    </a:lnTo>
                    <a:lnTo>
                      <a:pt x="204150" y="326143"/>
                    </a:lnTo>
                    <a:lnTo>
                      <a:pt x="204793" y="345646"/>
                    </a:lnTo>
                    <a:lnTo>
                      <a:pt x="208043" y="351499"/>
                    </a:lnTo>
                    <a:lnTo>
                      <a:pt x="209989" y="373600"/>
                    </a:lnTo>
                    <a:lnTo>
                      <a:pt x="204150" y="391805"/>
                    </a:lnTo>
                    <a:lnTo>
                      <a:pt x="213239" y="390506"/>
                    </a:lnTo>
                    <a:lnTo>
                      <a:pt x="217792" y="382051"/>
                    </a:lnTo>
                    <a:lnTo>
                      <a:pt x="215203" y="368400"/>
                    </a:lnTo>
                    <a:lnTo>
                      <a:pt x="225595" y="363199"/>
                    </a:lnTo>
                    <a:lnTo>
                      <a:pt x="230791" y="357347"/>
                    </a:lnTo>
                    <a:lnTo>
                      <a:pt x="230148" y="350195"/>
                    </a:lnTo>
                    <a:lnTo>
                      <a:pt x="242505" y="339142"/>
                    </a:lnTo>
                    <a:lnTo>
                      <a:pt x="250951" y="335245"/>
                    </a:lnTo>
                    <a:lnTo>
                      <a:pt x="257451" y="337843"/>
                    </a:lnTo>
                    <a:lnTo>
                      <a:pt x="260700" y="353445"/>
                    </a:lnTo>
                    <a:lnTo>
                      <a:pt x="255504" y="364498"/>
                    </a:lnTo>
                    <a:lnTo>
                      <a:pt x="261361" y="368400"/>
                    </a:lnTo>
                    <a:lnTo>
                      <a:pt x="262004" y="380100"/>
                    </a:lnTo>
                    <a:lnTo>
                      <a:pt x="251612" y="381408"/>
                    </a:lnTo>
                    <a:lnTo>
                      <a:pt x="248362" y="388555"/>
                    </a:lnTo>
                    <a:lnTo>
                      <a:pt x="240559" y="395054"/>
                    </a:lnTo>
                    <a:lnTo>
                      <a:pt x="227541" y="413906"/>
                    </a:lnTo>
                    <a:lnTo>
                      <a:pt x="219756" y="421709"/>
                    </a:lnTo>
                    <a:lnTo>
                      <a:pt x="211292" y="426263"/>
                    </a:lnTo>
                    <a:lnTo>
                      <a:pt x="209346" y="437311"/>
                    </a:lnTo>
                    <a:lnTo>
                      <a:pt x="202846" y="436012"/>
                    </a:lnTo>
                    <a:lnTo>
                      <a:pt x="198293" y="448368"/>
                    </a:lnTo>
                    <a:lnTo>
                      <a:pt x="190490" y="461363"/>
                    </a:lnTo>
                    <a:lnTo>
                      <a:pt x="185294" y="474372"/>
                    </a:lnTo>
                    <a:lnTo>
                      <a:pt x="187240" y="501022"/>
                    </a:lnTo>
                    <a:lnTo>
                      <a:pt x="169687" y="503620"/>
                    </a:lnTo>
                    <a:lnTo>
                      <a:pt x="167741" y="515329"/>
                    </a:lnTo>
                    <a:lnTo>
                      <a:pt x="161884" y="525079"/>
                    </a:lnTo>
                    <a:lnTo>
                      <a:pt x="155385" y="551086"/>
                    </a:lnTo>
                    <a:lnTo>
                      <a:pt x="147582" y="563443"/>
                    </a:lnTo>
                    <a:lnTo>
                      <a:pt x="130690" y="579040"/>
                    </a:lnTo>
                    <a:lnTo>
                      <a:pt x="128083" y="592044"/>
                    </a:lnTo>
                    <a:lnTo>
                      <a:pt x="118333" y="621297"/>
                    </a:lnTo>
                    <a:lnTo>
                      <a:pt x="103370" y="644702"/>
                    </a:lnTo>
                    <a:lnTo>
                      <a:pt x="103370" y="657054"/>
                    </a:lnTo>
                    <a:lnTo>
                      <a:pt x="112476" y="649255"/>
                    </a:lnTo>
                    <a:lnTo>
                      <a:pt x="114423" y="641452"/>
                    </a:lnTo>
                    <a:lnTo>
                      <a:pt x="126136" y="633006"/>
                    </a:lnTo>
                    <a:lnTo>
                      <a:pt x="127422" y="642751"/>
                    </a:lnTo>
                    <a:lnTo>
                      <a:pt x="117030" y="649255"/>
                    </a:lnTo>
                    <a:lnTo>
                      <a:pt x="106619" y="679807"/>
                    </a:lnTo>
                    <a:lnTo>
                      <a:pt x="123529" y="675910"/>
                    </a:lnTo>
                    <a:lnTo>
                      <a:pt x="131975" y="671357"/>
                    </a:lnTo>
                    <a:lnTo>
                      <a:pt x="137832" y="657706"/>
                    </a:lnTo>
                    <a:lnTo>
                      <a:pt x="135225" y="646653"/>
                    </a:lnTo>
                    <a:lnTo>
                      <a:pt x="138475" y="636899"/>
                    </a:lnTo>
                    <a:lnTo>
                      <a:pt x="148242" y="641452"/>
                    </a:lnTo>
                    <a:lnTo>
                      <a:pt x="158634" y="632345"/>
                    </a:lnTo>
                    <a:lnTo>
                      <a:pt x="159295" y="624547"/>
                    </a:lnTo>
                    <a:lnTo>
                      <a:pt x="168384" y="609597"/>
                    </a:lnTo>
                    <a:lnTo>
                      <a:pt x="183990" y="592044"/>
                    </a:lnTo>
                    <a:lnTo>
                      <a:pt x="188544" y="575790"/>
                    </a:lnTo>
                    <a:lnTo>
                      <a:pt x="201543" y="577089"/>
                    </a:lnTo>
                    <a:lnTo>
                      <a:pt x="202846" y="590093"/>
                    </a:lnTo>
                    <a:lnTo>
                      <a:pt x="201543" y="601793"/>
                    </a:lnTo>
                    <a:lnTo>
                      <a:pt x="190490" y="605695"/>
                    </a:lnTo>
                    <a:lnTo>
                      <a:pt x="183990" y="635604"/>
                    </a:lnTo>
                    <a:lnTo>
                      <a:pt x="178794" y="636251"/>
                    </a:lnTo>
                    <a:lnTo>
                      <a:pt x="174884" y="657706"/>
                    </a:lnTo>
                    <a:lnTo>
                      <a:pt x="180740" y="659661"/>
                    </a:lnTo>
                    <a:lnTo>
                      <a:pt x="169045" y="669406"/>
                    </a:lnTo>
                    <a:lnTo>
                      <a:pt x="165795" y="662906"/>
                    </a:lnTo>
                    <a:lnTo>
                      <a:pt x="152135" y="669406"/>
                    </a:lnTo>
                    <a:lnTo>
                      <a:pt x="152778" y="680459"/>
                    </a:lnTo>
                    <a:lnTo>
                      <a:pt x="143689" y="681111"/>
                    </a:lnTo>
                    <a:lnTo>
                      <a:pt x="143028" y="687610"/>
                    </a:lnTo>
                    <a:lnTo>
                      <a:pt x="131975" y="693458"/>
                    </a:lnTo>
                    <a:lnTo>
                      <a:pt x="122886" y="693458"/>
                    </a:lnTo>
                    <a:lnTo>
                      <a:pt x="121583" y="701261"/>
                    </a:lnTo>
                    <a:lnTo>
                      <a:pt x="105977" y="702569"/>
                    </a:lnTo>
                    <a:lnTo>
                      <a:pt x="105334" y="695413"/>
                    </a:lnTo>
                    <a:lnTo>
                      <a:pt x="100120" y="689561"/>
                    </a:lnTo>
                    <a:lnTo>
                      <a:pt x="89727" y="703212"/>
                    </a:lnTo>
                    <a:lnTo>
                      <a:pt x="87781" y="715564"/>
                    </a:lnTo>
                    <a:lnTo>
                      <a:pt x="98816" y="725970"/>
                    </a:lnTo>
                    <a:lnTo>
                      <a:pt x="109869" y="731822"/>
                    </a:lnTo>
                    <a:lnTo>
                      <a:pt x="104673" y="746120"/>
                    </a:lnTo>
                    <a:lnTo>
                      <a:pt x="85817" y="746772"/>
                    </a:lnTo>
                    <a:lnTo>
                      <a:pt x="81924" y="742871"/>
                    </a:lnTo>
                    <a:lnTo>
                      <a:pt x="58515" y="740268"/>
                    </a:lnTo>
                    <a:lnTo>
                      <a:pt x="46819" y="744170"/>
                    </a:lnTo>
                    <a:lnTo>
                      <a:pt x="42909" y="750674"/>
                    </a:lnTo>
                    <a:lnTo>
                      <a:pt x="29909" y="752620"/>
                    </a:lnTo>
                    <a:lnTo>
                      <a:pt x="21463" y="742223"/>
                    </a:lnTo>
                    <a:lnTo>
                      <a:pt x="5214" y="745473"/>
                    </a:lnTo>
                    <a:lnTo>
                      <a:pt x="0" y="753272"/>
                    </a:lnTo>
                    <a:lnTo>
                      <a:pt x="9107" y="766927"/>
                    </a:lnTo>
                    <a:lnTo>
                      <a:pt x="20160" y="758477"/>
                    </a:lnTo>
                    <a:lnTo>
                      <a:pt x="27302" y="761722"/>
                    </a:lnTo>
                    <a:lnTo>
                      <a:pt x="33159" y="755879"/>
                    </a:lnTo>
                    <a:lnTo>
                      <a:pt x="49408" y="769525"/>
                    </a:lnTo>
                    <a:lnTo>
                      <a:pt x="65675" y="764325"/>
                    </a:lnTo>
                    <a:lnTo>
                      <a:pt x="81924" y="757173"/>
                    </a:lnTo>
                    <a:lnTo>
                      <a:pt x="101423" y="760419"/>
                    </a:lnTo>
                    <a:lnTo>
                      <a:pt x="124833" y="748071"/>
                    </a:lnTo>
                    <a:lnTo>
                      <a:pt x="130029" y="743522"/>
                    </a:lnTo>
                    <a:lnTo>
                      <a:pt x="149528" y="720117"/>
                    </a:lnTo>
                    <a:lnTo>
                      <a:pt x="152135" y="699315"/>
                    </a:lnTo>
                    <a:lnTo>
                      <a:pt x="157331" y="694766"/>
                    </a:lnTo>
                    <a:lnTo>
                      <a:pt x="174884" y="673307"/>
                    </a:lnTo>
                    <a:lnTo>
                      <a:pt x="187883" y="662906"/>
                    </a:lnTo>
                    <a:lnTo>
                      <a:pt x="189847" y="649255"/>
                    </a:lnTo>
                    <a:lnTo>
                      <a:pt x="209346" y="621297"/>
                    </a:lnTo>
                    <a:lnTo>
                      <a:pt x="224952" y="603744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66825" tIns="76936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56" name="shp_Region_Corozal_$4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9BF0100}"/>
                  </a:ext>
                </a:extLst>
              </p:cNvPr>
              <p:cNvSpPr/>
              <p:nvPr/>
            </p:nvSpPr>
            <p:spPr>
              <a:xfrm>
                <a:off x="2875226" y="868400"/>
                <a:ext cx="48124" cy="87117"/>
              </a:xfrm>
              <a:custGeom>
                <a:avLst/>
                <a:gdLst/>
                <a:ahLst/>
                <a:cxnLst/>
                <a:rect l="0" t="0" r="0" b="0"/>
                <a:pathLst>
                  <a:path w="48124" h="87117">
                    <a:moveTo>
                      <a:pt x="48123" y="0"/>
                    </a:moveTo>
                    <a:lnTo>
                      <a:pt x="31856" y="7799"/>
                    </a:lnTo>
                    <a:lnTo>
                      <a:pt x="31213" y="16254"/>
                    </a:lnTo>
                    <a:lnTo>
                      <a:pt x="26660" y="22753"/>
                    </a:lnTo>
                    <a:lnTo>
                      <a:pt x="11714" y="26655"/>
                    </a:lnTo>
                    <a:lnTo>
                      <a:pt x="15607" y="31855"/>
                    </a:lnTo>
                    <a:lnTo>
                      <a:pt x="39659" y="33806"/>
                    </a:lnTo>
                    <a:lnTo>
                      <a:pt x="39659" y="39654"/>
                    </a:lnTo>
                    <a:lnTo>
                      <a:pt x="27963" y="40301"/>
                    </a:lnTo>
                    <a:lnTo>
                      <a:pt x="23410" y="32498"/>
                    </a:lnTo>
                    <a:lnTo>
                      <a:pt x="18214" y="33806"/>
                    </a:lnTo>
                    <a:lnTo>
                      <a:pt x="16267" y="41605"/>
                    </a:lnTo>
                    <a:lnTo>
                      <a:pt x="0" y="46806"/>
                    </a:lnTo>
                    <a:lnTo>
                      <a:pt x="0" y="63711"/>
                    </a:lnTo>
                    <a:lnTo>
                      <a:pt x="7161" y="68260"/>
                    </a:lnTo>
                    <a:lnTo>
                      <a:pt x="5214" y="87116"/>
                    </a:lnTo>
                    <a:lnTo>
                      <a:pt x="18214" y="79313"/>
                    </a:lnTo>
                    <a:lnTo>
                      <a:pt x="22767" y="66309"/>
                    </a:lnTo>
                    <a:lnTo>
                      <a:pt x="35766" y="64363"/>
                    </a:lnTo>
                    <a:lnTo>
                      <a:pt x="44873" y="54609"/>
                    </a:lnTo>
                    <a:lnTo>
                      <a:pt x="45516" y="15602"/>
                    </a:lnTo>
                    <a:lnTo>
                      <a:pt x="4812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170" tIns="8709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57" name="shp_Region_Corozal_$5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ABF0100}"/>
                  </a:ext>
                </a:extLst>
              </p:cNvPr>
              <p:cNvSpPr/>
              <p:nvPr/>
            </p:nvSpPr>
            <p:spPr>
              <a:xfrm>
                <a:off x="2865477" y="870351"/>
                <a:ext cx="26660" cy="31204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31204">
                    <a:moveTo>
                      <a:pt x="22766" y="0"/>
                    </a:moveTo>
                    <a:lnTo>
                      <a:pt x="22106" y="8450"/>
                    </a:lnTo>
                    <a:lnTo>
                      <a:pt x="15606" y="14303"/>
                    </a:lnTo>
                    <a:lnTo>
                      <a:pt x="13660" y="22101"/>
                    </a:lnTo>
                    <a:lnTo>
                      <a:pt x="0" y="22749"/>
                    </a:lnTo>
                    <a:lnTo>
                      <a:pt x="1303" y="28605"/>
                    </a:lnTo>
                    <a:lnTo>
                      <a:pt x="11053" y="31203"/>
                    </a:lnTo>
                    <a:lnTo>
                      <a:pt x="26016" y="18200"/>
                    </a:lnTo>
                    <a:lnTo>
                      <a:pt x="26659" y="7798"/>
                    </a:lnTo>
                    <a:lnTo>
                      <a:pt x="22766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5024" tIns="311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58" name="shp_Region_Corozal_$6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BBF0100}"/>
                  </a:ext>
                </a:extLst>
              </p:cNvPr>
              <p:cNvSpPr/>
              <p:nvPr/>
            </p:nvSpPr>
            <p:spPr>
              <a:xfrm>
                <a:off x="2808266" y="927558"/>
                <a:ext cx="61765" cy="55913"/>
              </a:xfrm>
              <a:custGeom>
                <a:avLst/>
                <a:gdLst/>
                <a:ahLst/>
                <a:cxnLst/>
                <a:rect l="0" t="0" r="0" b="0"/>
                <a:pathLst>
                  <a:path w="61765" h="55913">
                    <a:moveTo>
                      <a:pt x="59157" y="0"/>
                    </a:moveTo>
                    <a:lnTo>
                      <a:pt x="53961" y="5205"/>
                    </a:lnTo>
                    <a:lnTo>
                      <a:pt x="55907" y="16258"/>
                    </a:lnTo>
                    <a:lnTo>
                      <a:pt x="46158" y="20155"/>
                    </a:lnTo>
                    <a:lnTo>
                      <a:pt x="37712" y="20155"/>
                    </a:lnTo>
                    <a:lnTo>
                      <a:pt x="30551" y="10405"/>
                    </a:lnTo>
                    <a:lnTo>
                      <a:pt x="25355" y="18199"/>
                    </a:lnTo>
                    <a:lnTo>
                      <a:pt x="17552" y="24056"/>
                    </a:lnTo>
                    <a:lnTo>
                      <a:pt x="18856" y="30556"/>
                    </a:lnTo>
                    <a:lnTo>
                      <a:pt x="4553" y="42261"/>
                    </a:lnTo>
                    <a:lnTo>
                      <a:pt x="0" y="53314"/>
                    </a:lnTo>
                    <a:lnTo>
                      <a:pt x="20802" y="52010"/>
                    </a:lnTo>
                    <a:lnTo>
                      <a:pt x="35765" y="55912"/>
                    </a:lnTo>
                    <a:lnTo>
                      <a:pt x="35105" y="46167"/>
                    </a:lnTo>
                    <a:lnTo>
                      <a:pt x="49408" y="44211"/>
                    </a:lnTo>
                    <a:lnTo>
                      <a:pt x="54622" y="39658"/>
                    </a:lnTo>
                    <a:lnTo>
                      <a:pt x="51372" y="29909"/>
                    </a:lnTo>
                    <a:lnTo>
                      <a:pt x="61764" y="21449"/>
                    </a:lnTo>
                    <a:lnTo>
                      <a:pt x="59157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7974" tIns="5590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59" name="shp_Region_Corozal_$7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CBF0100}"/>
                  </a:ext>
                </a:extLst>
              </p:cNvPr>
              <p:cNvSpPr/>
              <p:nvPr/>
            </p:nvSpPr>
            <p:spPr>
              <a:xfrm>
                <a:off x="2710753" y="1062787"/>
                <a:ext cx="21446" cy="46159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46159">
                    <a:moveTo>
                      <a:pt x="2607" y="46158"/>
                    </a:moveTo>
                    <a:lnTo>
                      <a:pt x="13642" y="16901"/>
                    </a:lnTo>
                    <a:lnTo>
                      <a:pt x="21445" y="2598"/>
                    </a:lnTo>
                    <a:lnTo>
                      <a:pt x="17553" y="0"/>
                    </a:lnTo>
                    <a:lnTo>
                      <a:pt x="0" y="37056"/>
                    </a:lnTo>
                    <a:lnTo>
                      <a:pt x="2607" y="46158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0130" tIns="4614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60" name="shp_Region_Corozal_$8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DBF0100}"/>
                  </a:ext>
                </a:extLst>
              </p:cNvPr>
              <p:cNvSpPr/>
              <p:nvPr/>
            </p:nvSpPr>
            <p:spPr>
              <a:xfrm>
                <a:off x="2568368" y="1231166"/>
                <a:ext cx="11054" cy="9751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9751">
                    <a:moveTo>
                      <a:pt x="11053" y="0"/>
                    </a:moveTo>
                    <a:lnTo>
                      <a:pt x="1964" y="1956"/>
                    </a:lnTo>
                    <a:lnTo>
                      <a:pt x="0" y="7803"/>
                    </a:lnTo>
                    <a:lnTo>
                      <a:pt x="10410" y="9750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974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61" name="shp_Region_Corozal_$9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EBF0100}"/>
                  </a:ext>
                </a:extLst>
              </p:cNvPr>
              <p:cNvSpPr/>
              <p:nvPr/>
            </p:nvSpPr>
            <p:spPr>
              <a:xfrm>
                <a:off x="2751715" y="1403452"/>
                <a:ext cx="9090" cy="15603"/>
              </a:xfrm>
              <a:custGeom>
                <a:avLst/>
                <a:gdLst/>
                <a:ahLst/>
                <a:cxnLst/>
                <a:rect l="0" t="0" r="0" b="0"/>
                <a:pathLst>
                  <a:path w="9090" h="15603">
                    <a:moveTo>
                      <a:pt x="3250" y="0"/>
                    </a:moveTo>
                    <a:lnTo>
                      <a:pt x="0" y="14307"/>
                    </a:lnTo>
                    <a:lnTo>
                      <a:pt x="9089" y="15602"/>
                    </a:lnTo>
                    <a:lnTo>
                      <a:pt x="9089" y="7151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532" tIns="156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62" name="shp_Region_Corozal_$10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0000000-0008-0000-0C00-00004FBF0100}"/>
                  </a:ext>
                </a:extLst>
              </p:cNvPr>
              <p:cNvSpPr/>
              <p:nvPr/>
            </p:nvSpPr>
            <p:spPr>
              <a:xfrm>
                <a:off x="2606080" y="1482764"/>
                <a:ext cx="68265" cy="42263"/>
              </a:xfrm>
              <a:custGeom>
                <a:avLst/>
                <a:gdLst/>
                <a:ahLst/>
                <a:cxnLst/>
                <a:rect l="0" t="0" r="0" b="0"/>
                <a:pathLst>
                  <a:path w="68265" h="42263">
                    <a:moveTo>
                      <a:pt x="34462" y="0"/>
                    </a:moveTo>
                    <a:lnTo>
                      <a:pt x="28605" y="6505"/>
                    </a:lnTo>
                    <a:lnTo>
                      <a:pt x="18856" y="9754"/>
                    </a:lnTo>
                    <a:lnTo>
                      <a:pt x="7803" y="9754"/>
                    </a:lnTo>
                    <a:lnTo>
                      <a:pt x="8446" y="24057"/>
                    </a:lnTo>
                    <a:lnTo>
                      <a:pt x="0" y="28611"/>
                    </a:lnTo>
                    <a:lnTo>
                      <a:pt x="7803" y="33811"/>
                    </a:lnTo>
                    <a:lnTo>
                      <a:pt x="12999" y="42262"/>
                    </a:lnTo>
                    <a:lnTo>
                      <a:pt x="19499" y="42262"/>
                    </a:lnTo>
                    <a:lnTo>
                      <a:pt x="46158" y="36414"/>
                    </a:lnTo>
                    <a:lnTo>
                      <a:pt x="55265" y="37708"/>
                    </a:lnTo>
                    <a:lnTo>
                      <a:pt x="68264" y="27307"/>
                    </a:lnTo>
                    <a:lnTo>
                      <a:pt x="54604" y="26013"/>
                    </a:lnTo>
                    <a:lnTo>
                      <a:pt x="39658" y="27959"/>
                    </a:lnTo>
                    <a:lnTo>
                      <a:pt x="33159" y="9754"/>
                    </a:lnTo>
                    <a:lnTo>
                      <a:pt x="34462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4075" tIns="422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</p:grpSp>
        <p:sp>
          <p:nvSpPr>
            <p:cNvPr id="8" name="shp_Region_Orange_Walk" descr="Admin1_Id=&quot;BLZ&quot;&#10;Admin1_Label=&quot;Belize&quot;&#10;Admin2_Id=&quot;BLZ.4_1&quot;&#10;Admin2_Label=&quot;Orange Walk&quot;&#10;" title="Orange Walk">
              <a:extLst>
                <a:ext uri="{FF2B5EF4-FFF2-40B4-BE49-F238E27FC236}">
                  <a16:creationId xmlns:a16="http://schemas.microsoft.com/office/drawing/2014/main" id="{00000000-0008-0000-0C00-00001FBF0100}"/>
                </a:ext>
              </a:extLst>
            </p:cNvPr>
            <p:cNvSpPr/>
            <p:nvPr/>
          </p:nvSpPr>
          <p:spPr>
            <a:xfrm>
              <a:off x="167821" y="562331"/>
              <a:ext cx="1871656" cy="2170196"/>
            </a:xfrm>
            <a:custGeom>
              <a:avLst/>
              <a:gdLst/>
              <a:ahLst/>
              <a:cxnLst/>
              <a:rect l="0" t="0" r="0" b="0"/>
              <a:pathLst>
                <a:path w="1994037" h="2170648">
                  <a:moveTo>
                    <a:pt x="1234077" y="1813898"/>
                  </a:moveTo>
                  <a:lnTo>
                    <a:pt x="1236255" y="1812751"/>
                  </a:lnTo>
                  <a:lnTo>
                    <a:pt x="1239737" y="1742973"/>
                  </a:lnTo>
                  <a:lnTo>
                    <a:pt x="1236987" y="1742929"/>
                  </a:lnTo>
                  <a:lnTo>
                    <a:pt x="1226792" y="1528864"/>
                  </a:lnTo>
                  <a:lnTo>
                    <a:pt x="1236255" y="1391657"/>
                  </a:lnTo>
                  <a:lnTo>
                    <a:pt x="1274110" y="1339611"/>
                  </a:lnTo>
                  <a:lnTo>
                    <a:pt x="1368730" y="1311224"/>
                  </a:lnTo>
                  <a:lnTo>
                    <a:pt x="1406585" y="1278101"/>
                  </a:lnTo>
                  <a:lnTo>
                    <a:pt x="1373462" y="1244982"/>
                  </a:lnTo>
                  <a:lnTo>
                    <a:pt x="1373462" y="852275"/>
                  </a:lnTo>
                  <a:lnTo>
                    <a:pt x="1411317" y="833352"/>
                  </a:lnTo>
                  <a:lnTo>
                    <a:pt x="1397122" y="781306"/>
                  </a:lnTo>
                  <a:lnTo>
                    <a:pt x="1576916" y="743455"/>
                  </a:lnTo>
                  <a:lnTo>
                    <a:pt x="1841866" y="672482"/>
                  </a:lnTo>
                  <a:lnTo>
                    <a:pt x="1994036" y="627529"/>
                  </a:lnTo>
                  <a:lnTo>
                    <a:pt x="1983180" y="626363"/>
                  </a:lnTo>
                  <a:lnTo>
                    <a:pt x="1834402" y="465430"/>
                  </a:lnTo>
                  <a:lnTo>
                    <a:pt x="1652215" y="319679"/>
                  </a:lnTo>
                  <a:lnTo>
                    <a:pt x="1612735" y="219474"/>
                  </a:lnTo>
                  <a:lnTo>
                    <a:pt x="1545935" y="107123"/>
                  </a:lnTo>
                  <a:lnTo>
                    <a:pt x="1421424" y="52466"/>
                  </a:lnTo>
                  <a:lnTo>
                    <a:pt x="1339446" y="16030"/>
                  </a:lnTo>
                  <a:lnTo>
                    <a:pt x="1271771" y="0"/>
                  </a:lnTo>
                  <a:lnTo>
                    <a:pt x="1272986" y="19762"/>
                  </a:lnTo>
                  <a:lnTo>
                    <a:pt x="1260736" y="56617"/>
                  </a:lnTo>
                  <a:lnTo>
                    <a:pt x="1250969" y="74192"/>
                  </a:lnTo>
                  <a:lnTo>
                    <a:pt x="1232845" y="91129"/>
                  </a:lnTo>
                  <a:lnTo>
                    <a:pt x="1206239" y="104784"/>
                  </a:lnTo>
                  <a:lnTo>
                    <a:pt x="1148510" y="196511"/>
                  </a:lnTo>
                  <a:lnTo>
                    <a:pt x="1121404" y="279721"/>
                  </a:lnTo>
                  <a:lnTo>
                    <a:pt x="1085121" y="331839"/>
                  </a:lnTo>
                  <a:lnTo>
                    <a:pt x="1071800" y="359516"/>
                  </a:lnTo>
                  <a:lnTo>
                    <a:pt x="1057854" y="427428"/>
                  </a:lnTo>
                  <a:lnTo>
                    <a:pt x="1041319" y="455060"/>
                  </a:lnTo>
                  <a:lnTo>
                    <a:pt x="1010142" y="465448"/>
                  </a:lnTo>
                  <a:lnTo>
                    <a:pt x="984912" y="478371"/>
                  </a:lnTo>
                  <a:lnTo>
                    <a:pt x="944039" y="493938"/>
                  </a:lnTo>
                  <a:lnTo>
                    <a:pt x="909541" y="524463"/>
                  </a:lnTo>
                  <a:lnTo>
                    <a:pt x="896166" y="566447"/>
                  </a:lnTo>
                  <a:lnTo>
                    <a:pt x="888738" y="579772"/>
                  </a:lnTo>
                  <a:lnTo>
                    <a:pt x="867275" y="599356"/>
                  </a:lnTo>
                  <a:lnTo>
                    <a:pt x="855847" y="619056"/>
                  </a:lnTo>
                  <a:lnTo>
                    <a:pt x="854311" y="651233"/>
                  </a:lnTo>
                  <a:lnTo>
                    <a:pt x="812653" y="677004"/>
                  </a:lnTo>
                  <a:lnTo>
                    <a:pt x="796082" y="707917"/>
                  </a:lnTo>
                  <a:lnTo>
                    <a:pt x="782494" y="723840"/>
                  </a:lnTo>
                  <a:lnTo>
                    <a:pt x="754049" y="733224"/>
                  </a:lnTo>
                  <a:lnTo>
                    <a:pt x="733104" y="745603"/>
                  </a:lnTo>
                  <a:lnTo>
                    <a:pt x="703034" y="769409"/>
                  </a:lnTo>
                  <a:lnTo>
                    <a:pt x="698927" y="781717"/>
                  </a:lnTo>
                  <a:lnTo>
                    <a:pt x="699713" y="807532"/>
                  </a:lnTo>
                  <a:lnTo>
                    <a:pt x="711658" y="838870"/>
                  </a:lnTo>
                  <a:lnTo>
                    <a:pt x="710266" y="858199"/>
                  </a:lnTo>
                  <a:lnTo>
                    <a:pt x="712980" y="912103"/>
                  </a:lnTo>
                  <a:lnTo>
                    <a:pt x="691177" y="895367"/>
                  </a:lnTo>
                  <a:lnTo>
                    <a:pt x="673018" y="873315"/>
                  </a:lnTo>
                  <a:lnTo>
                    <a:pt x="664786" y="859230"/>
                  </a:lnTo>
                  <a:lnTo>
                    <a:pt x="648644" y="847740"/>
                  </a:lnTo>
                  <a:lnTo>
                    <a:pt x="638787" y="828804"/>
                  </a:lnTo>
                  <a:lnTo>
                    <a:pt x="626002" y="819487"/>
                  </a:lnTo>
                  <a:lnTo>
                    <a:pt x="586879" y="806108"/>
                  </a:lnTo>
                  <a:lnTo>
                    <a:pt x="541096" y="784565"/>
                  </a:lnTo>
                  <a:lnTo>
                    <a:pt x="482635" y="700007"/>
                  </a:lnTo>
                  <a:lnTo>
                    <a:pt x="468064" y="698208"/>
                  </a:lnTo>
                  <a:lnTo>
                    <a:pt x="434227" y="709091"/>
                  </a:lnTo>
                  <a:lnTo>
                    <a:pt x="422460" y="706792"/>
                  </a:lnTo>
                  <a:lnTo>
                    <a:pt x="412460" y="698065"/>
                  </a:lnTo>
                  <a:lnTo>
                    <a:pt x="404621" y="696360"/>
                  </a:lnTo>
                  <a:lnTo>
                    <a:pt x="391586" y="705886"/>
                  </a:lnTo>
                  <a:lnTo>
                    <a:pt x="384301" y="703636"/>
                  </a:lnTo>
                  <a:lnTo>
                    <a:pt x="350749" y="647889"/>
                  </a:lnTo>
                  <a:lnTo>
                    <a:pt x="294591" y="598838"/>
                  </a:lnTo>
                  <a:lnTo>
                    <a:pt x="280092" y="591133"/>
                  </a:lnTo>
                  <a:lnTo>
                    <a:pt x="255344" y="592463"/>
                  </a:lnTo>
                  <a:lnTo>
                    <a:pt x="185490" y="618797"/>
                  </a:lnTo>
                  <a:lnTo>
                    <a:pt x="126850" y="634149"/>
                  </a:lnTo>
                  <a:lnTo>
                    <a:pt x="97638" y="674990"/>
                  </a:lnTo>
                  <a:lnTo>
                    <a:pt x="45998" y="683668"/>
                  </a:lnTo>
                  <a:lnTo>
                    <a:pt x="5571" y="736965"/>
                  </a:lnTo>
                  <a:lnTo>
                    <a:pt x="2000" y="1043167"/>
                  </a:lnTo>
                  <a:lnTo>
                    <a:pt x="0" y="1048796"/>
                  </a:lnTo>
                  <a:lnTo>
                    <a:pt x="1446" y="1722524"/>
                  </a:lnTo>
                  <a:lnTo>
                    <a:pt x="2411" y="2170647"/>
                  </a:lnTo>
                  <a:lnTo>
                    <a:pt x="114905" y="2087169"/>
                  </a:lnTo>
                  <a:lnTo>
                    <a:pt x="209542" y="2044587"/>
                  </a:lnTo>
                  <a:lnTo>
                    <a:pt x="294699" y="2044587"/>
                  </a:lnTo>
                  <a:lnTo>
                    <a:pt x="266325" y="2082442"/>
                  </a:lnTo>
                  <a:lnTo>
                    <a:pt x="323090" y="2072978"/>
                  </a:lnTo>
                  <a:lnTo>
                    <a:pt x="365677" y="2030395"/>
                  </a:lnTo>
                  <a:lnTo>
                    <a:pt x="597522" y="2030395"/>
                  </a:lnTo>
                  <a:lnTo>
                    <a:pt x="687410" y="1935767"/>
                  </a:lnTo>
                  <a:lnTo>
                    <a:pt x="682678" y="1973617"/>
                  </a:lnTo>
                  <a:lnTo>
                    <a:pt x="966555" y="1954694"/>
                  </a:lnTo>
                  <a:lnTo>
                    <a:pt x="1234077" y="1813898"/>
                  </a:lnTo>
                  <a:close/>
                </a:path>
              </a:pathLst>
            </a:custGeom>
            <a:solidFill>
              <a:srgbClr val="92D05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71656" tIns="2170196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>
                  <a:solidFill>
                    <a:srgbClr val="FFFFFF"/>
                  </a:solidFill>
                  <a:latin typeface="Arial" panose="020B0604020202020204" pitchFamily="34" charset="0"/>
                </a:rPr>
                <a:t>Orange Walk</a:t>
              </a:r>
            </a:p>
          </p:txBody>
        </p:sp>
        <p:grpSp>
          <p:nvGrpSpPr>
            <p:cNvPr id="9" name="shp_Region_Stann_Creek" descr="Admin1_Id=&quot;BLZ&quot;&#10;Admin1_Label=&quot;Belize&quot;&#10;Admin2_Id=&quot;BLZ.5_1&quot;&#10;Admin2_Label=&quot;Stann Creek&quot;&#10;" title="Stann Creek">
              <a:extLst>
                <a:ext uri="{FF2B5EF4-FFF2-40B4-BE49-F238E27FC236}">
                  <a16:creationId xmlns:a16="http://schemas.microsoft.com/office/drawing/2014/main" id="{00000000-0008-0000-0C00-000020BF0100}"/>
                </a:ext>
              </a:extLst>
            </p:cNvPr>
            <p:cNvGrpSpPr/>
            <p:nvPr/>
          </p:nvGrpSpPr>
          <p:grpSpPr>
            <a:xfrm>
              <a:off x="1005551" y="3175954"/>
              <a:ext cx="2036123" cy="1518104"/>
              <a:chOff x="1005551" y="3175954"/>
              <a:chExt cx="2169260" cy="1518420"/>
            </a:xfrm>
            <a:solidFill>
              <a:srgbClr val="FFC000"/>
            </a:solidFill>
          </p:grpSpPr>
          <p:sp>
            <p:nvSpPr>
              <p:cNvPr id="32" name="shp_Region_Stann_Creek_$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1BF0100}"/>
                  </a:ext>
                </a:extLst>
              </p:cNvPr>
              <p:cNvSpPr/>
              <p:nvPr/>
            </p:nvSpPr>
            <p:spPr>
              <a:xfrm>
                <a:off x="1005551" y="3175954"/>
                <a:ext cx="1283147" cy="1472904"/>
              </a:xfrm>
              <a:custGeom>
                <a:avLst/>
                <a:gdLst/>
                <a:ahLst/>
                <a:cxnLst/>
                <a:rect l="0" t="0" r="0" b="0"/>
                <a:pathLst>
                  <a:path w="1283147" h="1472904">
                    <a:moveTo>
                      <a:pt x="851454" y="1429343"/>
                    </a:moveTo>
                    <a:lnTo>
                      <a:pt x="854061" y="1418295"/>
                    </a:lnTo>
                    <a:lnTo>
                      <a:pt x="859258" y="1409840"/>
                    </a:lnTo>
                    <a:lnTo>
                      <a:pt x="867721" y="1406590"/>
                    </a:lnTo>
                    <a:lnTo>
                      <a:pt x="867061" y="1401389"/>
                    </a:lnTo>
                    <a:lnTo>
                      <a:pt x="893059" y="1398791"/>
                    </a:lnTo>
                    <a:lnTo>
                      <a:pt x="903469" y="1395537"/>
                    </a:lnTo>
                    <a:lnTo>
                      <a:pt x="917129" y="1403340"/>
                    </a:lnTo>
                    <a:lnTo>
                      <a:pt x="921665" y="1393586"/>
                    </a:lnTo>
                    <a:lnTo>
                      <a:pt x="913880" y="1389689"/>
                    </a:lnTo>
                    <a:lnTo>
                      <a:pt x="908666" y="1376029"/>
                    </a:lnTo>
                    <a:lnTo>
                      <a:pt x="900862" y="1377984"/>
                    </a:lnTo>
                    <a:lnTo>
                      <a:pt x="889809" y="1376029"/>
                    </a:lnTo>
                    <a:lnTo>
                      <a:pt x="889809" y="1368235"/>
                    </a:lnTo>
                    <a:lnTo>
                      <a:pt x="897613" y="1355883"/>
                    </a:lnTo>
                    <a:lnTo>
                      <a:pt x="911915" y="1348080"/>
                    </a:lnTo>
                    <a:lnTo>
                      <a:pt x="922968" y="1348731"/>
                    </a:lnTo>
                    <a:lnTo>
                      <a:pt x="927522" y="1335076"/>
                    </a:lnTo>
                    <a:lnTo>
                      <a:pt x="929468" y="1321425"/>
                    </a:lnTo>
                    <a:lnTo>
                      <a:pt x="927522" y="1309073"/>
                    </a:lnTo>
                    <a:lnTo>
                      <a:pt x="932718" y="1296721"/>
                    </a:lnTo>
                    <a:lnTo>
                      <a:pt x="925575" y="1289570"/>
                    </a:lnTo>
                    <a:lnTo>
                      <a:pt x="922326" y="1279168"/>
                    </a:lnTo>
                    <a:lnTo>
                      <a:pt x="922326" y="1260312"/>
                    </a:lnTo>
                    <a:lnTo>
                      <a:pt x="929468" y="1251210"/>
                    </a:lnTo>
                    <a:lnTo>
                      <a:pt x="921665" y="1231702"/>
                    </a:lnTo>
                    <a:lnTo>
                      <a:pt x="923629" y="1226510"/>
                    </a:lnTo>
                    <a:lnTo>
                      <a:pt x="935325" y="1210904"/>
                    </a:lnTo>
                    <a:lnTo>
                      <a:pt x="941182" y="1210904"/>
                    </a:lnTo>
                    <a:lnTo>
                      <a:pt x="945735" y="1203101"/>
                    </a:lnTo>
                    <a:lnTo>
                      <a:pt x="956127" y="1195302"/>
                    </a:lnTo>
                    <a:lnTo>
                      <a:pt x="960681" y="1185548"/>
                    </a:lnTo>
                    <a:lnTo>
                      <a:pt x="978233" y="1184896"/>
                    </a:lnTo>
                    <a:lnTo>
                      <a:pt x="985394" y="1175799"/>
                    </a:lnTo>
                    <a:lnTo>
                      <a:pt x="986679" y="1166045"/>
                    </a:lnTo>
                    <a:lnTo>
                      <a:pt x="984090" y="1150443"/>
                    </a:lnTo>
                    <a:lnTo>
                      <a:pt x="987983" y="1149144"/>
                    </a:lnTo>
                    <a:lnTo>
                      <a:pt x="1006839" y="1127038"/>
                    </a:lnTo>
                    <a:lnTo>
                      <a:pt x="1022445" y="1123788"/>
                    </a:lnTo>
                    <a:lnTo>
                      <a:pt x="1027641" y="1118587"/>
                    </a:lnTo>
                    <a:lnTo>
                      <a:pt x="1027641" y="1109485"/>
                    </a:lnTo>
                    <a:lnTo>
                      <a:pt x="1033498" y="1100379"/>
                    </a:lnTo>
                    <a:lnTo>
                      <a:pt x="1047801" y="1101030"/>
                    </a:lnTo>
                    <a:lnTo>
                      <a:pt x="1060800" y="1115985"/>
                    </a:lnTo>
                    <a:lnTo>
                      <a:pt x="1057550" y="1140689"/>
                    </a:lnTo>
                    <a:lnTo>
                      <a:pt x="1049104" y="1151742"/>
                    </a:lnTo>
                    <a:lnTo>
                      <a:pt x="1038694" y="1158893"/>
                    </a:lnTo>
                    <a:lnTo>
                      <a:pt x="1035444" y="1164094"/>
                    </a:lnTo>
                    <a:lnTo>
                      <a:pt x="1023749" y="1166045"/>
                    </a:lnTo>
                    <a:lnTo>
                      <a:pt x="1014642" y="1160192"/>
                    </a:lnTo>
                    <a:lnTo>
                      <a:pt x="1005535" y="1162799"/>
                    </a:lnTo>
                    <a:lnTo>
                      <a:pt x="1010089" y="1171897"/>
                    </a:lnTo>
                    <a:lnTo>
                      <a:pt x="997089" y="1179696"/>
                    </a:lnTo>
                    <a:lnTo>
                      <a:pt x="995786" y="1185548"/>
                    </a:lnTo>
                    <a:lnTo>
                      <a:pt x="987340" y="1190749"/>
                    </a:lnTo>
                    <a:lnTo>
                      <a:pt x="972376" y="1193351"/>
                    </a:lnTo>
                    <a:lnTo>
                      <a:pt x="963288" y="1205703"/>
                    </a:lnTo>
                    <a:lnTo>
                      <a:pt x="958074" y="1217403"/>
                    </a:lnTo>
                    <a:lnTo>
                      <a:pt x="957431" y="1226510"/>
                    </a:lnTo>
                    <a:lnTo>
                      <a:pt x="960681" y="1237559"/>
                    </a:lnTo>
                    <a:lnTo>
                      <a:pt x="959377" y="1259665"/>
                    </a:lnTo>
                    <a:lnTo>
                      <a:pt x="951574" y="1269419"/>
                    </a:lnTo>
                    <a:lnTo>
                      <a:pt x="945074" y="1260312"/>
                    </a:lnTo>
                    <a:lnTo>
                      <a:pt x="934682" y="1272664"/>
                    </a:lnTo>
                    <a:lnTo>
                      <a:pt x="936628" y="1301921"/>
                    </a:lnTo>
                    <a:lnTo>
                      <a:pt x="932718" y="1311671"/>
                    </a:lnTo>
                    <a:lnTo>
                      <a:pt x="933379" y="1324670"/>
                    </a:lnTo>
                    <a:lnTo>
                      <a:pt x="927522" y="1351329"/>
                    </a:lnTo>
                    <a:lnTo>
                      <a:pt x="932075" y="1353280"/>
                    </a:lnTo>
                    <a:lnTo>
                      <a:pt x="936628" y="1370186"/>
                    </a:lnTo>
                    <a:lnTo>
                      <a:pt x="932075" y="1401389"/>
                    </a:lnTo>
                    <a:lnTo>
                      <a:pt x="932718" y="1419598"/>
                    </a:lnTo>
                    <a:lnTo>
                      <a:pt x="930129" y="1430647"/>
                    </a:lnTo>
                    <a:lnTo>
                      <a:pt x="918415" y="1449498"/>
                    </a:lnTo>
                    <a:lnTo>
                      <a:pt x="902827" y="1461855"/>
                    </a:lnTo>
                    <a:lnTo>
                      <a:pt x="908666" y="1469002"/>
                    </a:lnTo>
                    <a:lnTo>
                      <a:pt x="915826" y="1465100"/>
                    </a:lnTo>
                    <a:lnTo>
                      <a:pt x="928182" y="1472903"/>
                    </a:lnTo>
                    <a:lnTo>
                      <a:pt x="942485" y="1465752"/>
                    </a:lnTo>
                    <a:lnTo>
                      <a:pt x="934682" y="1454052"/>
                    </a:lnTo>
                    <a:lnTo>
                      <a:pt x="932718" y="1439749"/>
                    </a:lnTo>
                    <a:lnTo>
                      <a:pt x="947681" y="1433245"/>
                    </a:lnTo>
                    <a:lnTo>
                      <a:pt x="952877" y="1422196"/>
                    </a:lnTo>
                    <a:lnTo>
                      <a:pt x="953538" y="1410492"/>
                    </a:lnTo>
                    <a:lnTo>
                      <a:pt x="963288" y="1399438"/>
                    </a:lnTo>
                    <a:lnTo>
                      <a:pt x="948324" y="1366284"/>
                    </a:lnTo>
                    <a:lnTo>
                      <a:pt x="943771" y="1350682"/>
                    </a:lnTo>
                    <a:lnTo>
                      <a:pt x="940521" y="1330527"/>
                    </a:lnTo>
                    <a:lnTo>
                      <a:pt x="942485" y="1305171"/>
                    </a:lnTo>
                    <a:lnTo>
                      <a:pt x="948324" y="1294118"/>
                    </a:lnTo>
                    <a:lnTo>
                      <a:pt x="962627" y="1288275"/>
                    </a:lnTo>
                    <a:lnTo>
                      <a:pt x="960681" y="1268115"/>
                    </a:lnTo>
                    <a:lnTo>
                      <a:pt x="965877" y="1258357"/>
                    </a:lnTo>
                    <a:lnTo>
                      <a:pt x="969127" y="1236260"/>
                    </a:lnTo>
                    <a:lnTo>
                      <a:pt x="969127" y="1216105"/>
                    </a:lnTo>
                    <a:lnTo>
                      <a:pt x="973680" y="1204404"/>
                    </a:lnTo>
                    <a:lnTo>
                      <a:pt x="980180" y="1198552"/>
                    </a:lnTo>
                    <a:lnTo>
                      <a:pt x="999696" y="1190102"/>
                    </a:lnTo>
                    <a:lnTo>
                      <a:pt x="1013339" y="1179696"/>
                    </a:lnTo>
                    <a:lnTo>
                      <a:pt x="1032837" y="1169295"/>
                    </a:lnTo>
                    <a:lnTo>
                      <a:pt x="1056247" y="1151090"/>
                    </a:lnTo>
                    <a:lnTo>
                      <a:pt x="1065354" y="1133538"/>
                    </a:lnTo>
                    <a:lnTo>
                      <a:pt x="1066657" y="1119886"/>
                    </a:lnTo>
                    <a:lnTo>
                      <a:pt x="1070550" y="1113387"/>
                    </a:lnTo>
                    <a:lnTo>
                      <a:pt x="1071853" y="1099731"/>
                    </a:lnTo>
                    <a:lnTo>
                      <a:pt x="1066657" y="1082830"/>
                    </a:lnTo>
                    <a:lnTo>
                      <a:pt x="1069907" y="1073077"/>
                    </a:lnTo>
                    <a:lnTo>
                      <a:pt x="1069907" y="1056823"/>
                    </a:lnTo>
                    <a:lnTo>
                      <a:pt x="1064693" y="1038614"/>
                    </a:lnTo>
                    <a:lnTo>
                      <a:pt x="1073157" y="1024316"/>
                    </a:lnTo>
                    <a:lnTo>
                      <a:pt x="1073800" y="1012620"/>
                    </a:lnTo>
                    <a:lnTo>
                      <a:pt x="1085513" y="1001558"/>
                    </a:lnTo>
                    <a:lnTo>
                      <a:pt x="1088763" y="993112"/>
                    </a:lnTo>
                    <a:lnTo>
                      <a:pt x="1091352" y="976858"/>
                    </a:lnTo>
                    <a:lnTo>
                      <a:pt x="1074460" y="948905"/>
                    </a:lnTo>
                    <a:lnTo>
                      <a:pt x="1068603" y="929401"/>
                    </a:lnTo>
                    <a:lnTo>
                      <a:pt x="1064693" y="921602"/>
                    </a:lnTo>
                    <a:lnTo>
                      <a:pt x="1062104" y="907942"/>
                    </a:lnTo>
                    <a:lnTo>
                      <a:pt x="1063407" y="880640"/>
                    </a:lnTo>
                    <a:lnTo>
                      <a:pt x="1060157" y="881287"/>
                    </a:lnTo>
                    <a:lnTo>
                      <a:pt x="1056247" y="899492"/>
                    </a:lnTo>
                    <a:lnTo>
                      <a:pt x="1047140" y="896242"/>
                    </a:lnTo>
                    <a:lnTo>
                      <a:pt x="1048444" y="882591"/>
                    </a:lnTo>
                    <a:lnTo>
                      <a:pt x="1044551" y="879346"/>
                    </a:lnTo>
                    <a:lnTo>
                      <a:pt x="1046497" y="859186"/>
                    </a:lnTo>
                    <a:lnTo>
                      <a:pt x="1059497" y="847490"/>
                    </a:lnTo>
                    <a:lnTo>
                      <a:pt x="1067943" y="842285"/>
                    </a:lnTo>
                    <a:lnTo>
                      <a:pt x="1082246" y="838379"/>
                    </a:lnTo>
                    <a:lnTo>
                      <a:pt x="1090710" y="845535"/>
                    </a:lnTo>
                    <a:lnTo>
                      <a:pt x="1089406" y="865686"/>
                    </a:lnTo>
                    <a:lnTo>
                      <a:pt x="1097209" y="862436"/>
                    </a:lnTo>
                    <a:lnTo>
                      <a:pt x="1103066" y="842285"/>
                    </a:lnTo>
                    <a:lnTo>
                      <a:pt x="1106316" y="839031"/>
                    </a:lnTo>
                    <a:lnTo>
                      <a:pt x="1104352" y="826032"/>
                    </a:lnTo>
                    <a:lnTo>
                      <a:pt x="1105655" y="818880"/>
                    </a:lnTo>
                    <a:lnTo>
                      <a:pt x="1116708" y="815626"/>
                    </a:lnTo>
                    <a:lnTo>
                      <a:pt x="1134921" y="814983"/>
                    </a:lnTo>
                    <a:lnTo>
                      <a:pt x="1141421" y="809778"/>
                    </a:lnTo>
                    <a:lnTo>
                      <a:pt x="1142707" y="797426"/>
                    </a:lnTo>
                    <a:lnTo>
                      <a:pt x="1149224" y="785070"/>
                    </a:lnTo>
                    <a:lnTo>
                      <a:pt x="1155063" y="781172"/>
                    </a:lnTo>
                    <a:lnTo>
                      <a:pt x="1168723" y="779869"/>
                    </a:lnTo>
                    <a:lnTo>
                      <a:pt x="1176526" y="783771"/>
                    </a:lnTo>
                    <a:lnTo>
                      <a:pt x="1201882" y="787677"/>
                    </a:lnTo>
                    <a:lnTo>
                      <a:pt x="1207078" y="781820"/>
                    </a:lnTo>
                    <a:lnTo>
                      <a:pt x="1196025" y="770119"/>
                    </a:lnTo>
                    <a:lnTo>
                      <a:pt x="1194722" y="765571"/>
                    </a:lnTo>
                    <a:lnTo>
                      <a:pt x="1181722" y="758419"/>
                    </a:lnTo>
                    <a:lnTo>
                      <a:pt x="1171312" y="739567"/>
                    </a:lnTo>
                    <a:lnTo>
                      <a:pt x="1170669" y="726564"/>
                    </a:lnTo>
                    <a:lnTo>
                      <a:pt x="1175866" y="716810"/>
                    </a:lnTo>
                    <a:lnTo>
                      <a:pt x="1162866" y="705757"/>
                    </a:lnTo>
                    <a:lnTo>
                      <a:pt x="1154420" y="695355"/>
                    </a:lnTo>
                    <a:lnTo>
                      <a:pt x="1133618" y="656996"/>
                    </a:lnTo>
                    <a:lnTo>
                      <a:pt x="1123208" y="627748"/>
                    </a:lnTo>
                    <a:lnTo>
                      <a:pt x="1121904" y="614088"/>
                    </a:lnTo>
                    <a:lnTo>
                      <a:pt x="1117369" y="600441"/>
                    </a:lnTo>
                    <a:lnTo>
                      <a:pt x="1117369" y="589379"/>
                    </a:lnTo>
                    <a:lnTo>
                      <a:pt x="1134921" y="571831"/>
                    </a:lnTo>
                    <a:lnTo>
                      <a:pt x="1138814" y="560126"/>
                    </a:lnTo>
                    <a:lnTo>
                      <a:pt x="1138171" y="530873"/>
                    </a:lnTo>
                    <a:lnTo>
                      <a:pt x="1140760" y="522423"/>
                    </a:lnTo>
                    <a:lnTo>
                      <a:pt x="1160277" y="511370"/>
                    </a:lnTo>
                    <a:lnTo>
                      <a:pt x="1171973" y="499674"/>
                    </a:lnTo>
                    <a:lnTo>
                      <a:pt x="1181080" y="494469"/>
                    </a:lnTo>
                    <a:lnTo>
                      <a:pt x="1209025" y="486014"/>
                    </a:lnTo>
                    <a:lnTo>
                      <a:pt x="1234380" y="482113"/>
                    </a:lnTo>
                    <a:lnTo>
                      <a:pt x="1242183" y="483416"/>
                    </a:lnTo>
                    <a:lnTo>
                      <a:pt x="1250629" y="476908"/>
                    </a:lnTo>
                    <a:lnTo>
                      <a:pt x="1255183" y="477568"/>
                    </a:lnTo>
                    <a:lnTo>
                      <a:pt x="1266236" y="467810"/>
                    </a:lnTo>
                    <a:lnTo>
                      <a:pt x="1275342" y="442458"/>
                    </a:lnTo>
                    <a:lnTo>
                      <a:pt x="1281199" y="430754"/>
                    </a:lnTo>
                    <a:lnTo>
                      <a:pt x="1283146" y="403452"/>
                    </a:lnTo>
                    <a:lnTo>
                      <a:pt x="1268843" y="380046"/>
                    </a:lnTo>
                    <a:lnTo>
                      <a:pt x="1266236" y="369641"/>
                    </a:lnTo>
                    <a:lnTo>
                      <a:pt x="1254540" y="354039"/>
                    </a:lnTo>
                    <a:lnTo>
                      <a:pt x="1249987" y="335835"/>
                    </a:lnTo>
                    <a:lnTo>
                      <a:pt x="1242826" y="317635"/>
                    </a:lnTo>
                    <a:lnTo>
                      <a:pt x="1242183" y="302028"/>
                    </a:lnTo>
                    <a:lnTo>
                      <a:pt x="1238934" y="294230"/>
                    </a:lnTo>
                    <a:lnTo>
                      <a:pt x="1242183" y="272775"/>
                    </a:lnTo>
                    <a:lnTo>
                      <a:pt x="1232434" y="260423"/>
                    </a:lnTo>
                    <a:lnTo>
                      <a:pt x="1227881" y="251321"/>
                    </a:lnTo>
                    <a:lnTo>
                      <a:pt x="1224631" y="224015"/>
                    </a:lnTo>
                    <a:lnTo>
                      <a:pt x="1225274" y="207761"/>
                    </a:lnTo>
                    <a:lnTo>
                      <a:pt x="1220738" y="196713"/>
                    </a:lnTo>
                    <a:lnTo>
                      <a:pt x="1222685" y="183709"/>
                    </a:lnTo>
                    <a:lnTo>
                      <a:pt x="1219435" y="175254"/>
                    </a:lnTo>
                    <a:lnTo>
                      <a:pt x="1209685" y="166156"/>
                    </a:lnTo>
                    <a:lnTo>
                      <a:pt x="1194079" y="164205"/>
                    </a:lnTo>
                    <a:lnTo>
                      <a:pt x="1187579" y="170053"/>
                    </a:lnTo>
                    <a:lnTo>
                      <a:pt x="1177830" y="172656"/>
                    </a:lnTo>
                    <a:lnTo>
                      <a:pt x="1157670" y="170053"/>
                    </a:lnTo>
                    <a:lnTo>
                      <a:pt x="1144671" y="163554"/>
                    </a:lnTo>
                    <a:lnTo>
                      <a:pt x="1133618" y="149903"/>
                    </a:lnTo>
                    <a:lnTo>
                      <a:pt x="1128422" y="134952"/>
                    </a:lnTo>
                    <a:lnTo>
                      <a:pt x="1123868" y="128449"/>
                    </a:lnTo>
                    <a:lnTo>
                      <a:pt x="1121904" y="116092"/>
                    </a:lnTo>
                    <a:lnTo>
                      <a:pt x="1117369" y="103097"/>
                    </a:lnTo>
                    <a:lnTo>
                      <a:pt x="1118654" y="86839"/>
                    </a:lnTo>
                    <a:lnTo>
                      <a:pt x="1116708" y="77085"/>
                    </a:lnTo>
                    <a:lnTo>
                      <a:pt x="1090710" y="50430"/>
                    </a:lnTo>
                    <a:lnTo>
                      <a:pt x="1090049" y="39382"/>
                    </a:lnTo>
                    <a:lnTo>
                      <a:pt x="1086156" y="28333"/>
                    </a:lnTo>
                    <a:lnTo>
                      <a:pt x="1082246" y="0"/>
                    </a:lnTo>
                    <a:lnTo>
                      <a:pt x="1001411" y="54966"/>
                    </a:lnTo>
                    <a:lnTo>
                      <a:pt x="713980" y="50801"/>
                    </a:lnTo>
                    <a:lnTo>
                      <a:pt x="715176" y="50234"/>
                    </a:lnTo>
                    <a:lnTo>
                      <a:pt x="471493" y="50234"/>
                    </a:lnTo>
                    <a:lnTo>
                      <a:pt x="464618" y="50832"/>
                    </a:lnTo>
                    <a:lnTo>
                      <a:pt x="453297" y="64291"/>
                    </a:lnTo>
                    <a:lnTo>
                      <a:pt x="486527" y="178798"/>
                    </a:lnTo>
                    <a:lnTo>
                      <a:pt x="489813" y="177147"/>
                    </a:lnTo>
                    <a:lnTo>
                      <a:pt x="499884" y="201641"/>
                    </a:lnTo>
                    <a:lnTo>
                      <a:pt x="419442" y="296265"/>
                    </a:lnTo>
                    <a:lnTo>
                      <a:pt x="353213" y="400358"/>
                    </a:lnTo>
                    <a:lnTo>
                      <a:pt x="318697" y="428294"/>
                    </a:lnTo>
                    <a:lnTo>
                      <a:pt x="311769" y="448632"/>
                    </a:lnTo>
                    <a:lnTo>
                      <a:pt x="252951" y="468238"/>
                    </a:lnTo>
                    <a:lnTo>
                      <a:pt x="274146" y="651188"/>
                    </a:lnTo>
                    <a:lnTo>
                      <a:pt x="214846" y="681620"/>
                    </a:lnTo>
                    <a:lnTo>
                      <a:pt x="241523" y="738773"/>
                    </a:lnTo>
                    <a:lnTo>
                      <a:pt x="169116" y="738773"/>
                    </a:lnTo>
                    <a:lnTo>
                      <a:pt x="131011" y="765446"/>
                    </a:lnTo>
                    <a:lnTo>
                      <a:pt x="73853" y="841656"/>
                    </a:lnTo>
                    <a:lnTo>
                      <a:pt x="16713" y="982639"/>
                    </a:lnTo>
                    <a:lnTo>
                      <a:pt x="0" y="1021633"/>
                    </a:lnTo>
                    <a:lnTo>
                      <a:pt x="278592" y="1027753"/>
                    </a:lnTo>
                    <a:lnTo>
                      <a:pt x="325340" y="1028365"/>
                    </a:lnTo>
                    <a:lnTo>
                      <a:pt x="462511" y="1116003"/>
                    </a:lnTo>
                    <a:lnTo>
                      <a:pt x="416799" y="1173156"/>
                    </a:lnTo>
                    <a:lnTo>
                      <a:pt x="432459" y="1187740"/>
                    </a:lnTo>
                    <a:lnTo>
                      <a:pt x="465904" y="1207029"/>
                    </a:lnTo>
                    <a:lnTo>
                      <a:pt x="527293" y="1268414"/>
                    </a:lnTo>
                    <a:lnTo>
                      <a:pt x="534918" y="1420830"/>
                    </a:lnTo>
                    <a:lnTo>
                      <a:pt x="832652" y="1418504"/>
                    </a:lnTo>
                    <a:lnTo>
                      <a:pt x="851454" y="1429343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04395" tIns="14725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3" name="shp_Region_Stann_Creek_$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2BF0100}"/>
                  </a:ext>
                </a:extLst>
              </p:cNvPr>
              <p:cNvSpPr/>
              <p:nvPr/>
            </p:nvSpPr>
            <p:spPr>
              <a:xfrm>
                <a:off x="2682015" y="3277096"/>
                <a:ext cx="49409" cy="47458"/>
              </a:xfrm>
              <a:custGeom>
                <a:avLst/>
                <a:gdLst/>
                <a:ahLst/>
                <a:cxnLst/>
                <a:rect l="0" t="0" r="0" b="0"/>
                <a:pathLst>
                  <a:path w="49409" h="47458">
                    <a:moveTo>
                      <a:pt x="29909" y="0"/>
                    </a:moveTo>
                    <a:lnTo>
                      <a:pt x="14303" y="4553"/>
                    </a:lnTo>
                    <a:lnTo>
                      <a:pt x="9749" y="10401"/>
                    </a:lnTo>
                    <a:lnTo>
                      <a:pt x="7160" y="27949"/>
                    </a:lnTo>
                    <a:lnTo>
                      <a:pt x="2607" y="29904"/>
                    </a:lnTo>
                    <a:lnTo>
                      <a:pt x="0" y="40957"/>
                    </a:lnTo>
                    <a:lnTo>
                      <a:pt x="1946" y="47457"/>
                    </a:lnTo>
                    <a:lnTo>
                      <a:pt x="16249" y="40306"/>
                    </a:lnTo>
                    <a:lnTo>
                      <a:pt x="43569" y="41609"/>
                    </a:lnTo>
                    <a:lnTo>
                      <a:pt x="48765" y="34458"/>
                    </a:lnTo>
                    <a:lnTo>
                      <a:pt x="49408" y="23409"/>
                    </a:lnTo>
                    <a:lnTo>
                      <a:pt x="44212" y="20802"/>
                    </a:lnTo>
                    <a:lnTo>
                      <a:pt x="44212" y="10401"/>
                    </a:lnTo>
                    <a:lnTo>
                      <a:pt x="2990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6377" tIns="4744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4" name="shp_Region_Stann_Creek_$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3BF0100}"/>
                  </a:ext>
                </a:extLst>
              </p:cNvPr>
              <p:cNvSpPr/>
              <p:nvPr/>
            </p:nvSpPr>
            <p:spPr>
              <a:xfrm>
                <a:off x="2732084" y="3477335"/>
                <a:ext cx="12339" cy="18853"/>
              </a:xfrm>
              <a:custGeom>
                <a:avLst/>
                <a:gdLst/>
                <a:ahLst/>
                <a:cxnLst/>
                <a:rect l="0" t="0" r="0" b="0"/>
                <a:pathLst>
                  <a:path w="12339" h="18853">
                    <a:moveTo>
                      <a:pt x="11053" y="0"/>
                    </a:moveTo>
                    <a:lnTo>
                      <a:pt x="0" y="1299"/>
                    </a:lnTo>
                    <a:lnTo>
                      <a:pt x="0" y="17553"/>
                    </a:lnTo>
                    <a:lnTo>
                      <a:pt x="12338" y="188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1582" tIns="1884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5" name="shp_Region_Stann_Creek_$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4BF0100}"/>
                  </a:ext>
                </a:extLst>
              </p:cNvPr>
              <p:cNvSpPr/>
              <p:nvPr/>
            </p:nvSpPr>
            <p:spPr>
              <a:xfrm>
                <a:off x="2666408" y="3543644"/>
                <a:ext cx="25357" cy="12357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2357">
                    <a:moveTo>
                      <a:pt x="14964" y="0"/>
                    </a:moveTo>
                    <a:lnTo>
                      <a:pt x="1304" y="3254"/>
                    </a:lnTo>
                    <a:lnTo>
                      <a:pt x="0" y="7799"/>
                    </a:lnTo>
                    <a:lnTo>
                      <a:pt x="9768" y="12356"/>
                    </a:lnTo>
                    <a:lnTo>
                      <a:pt x="23410" y="8459"/>
                    </a:lnTo>
                    <a:lnTo>
                      <a:pt x="25356" y="3254"/>
                    </a:lnTo>
                    <a:lnTo>
                      <a:pt x="1496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3801" tIns="123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6" name="shp_Region_Stann_Creek_$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5BF0100}"/>
                  </a:ext>
                </a:extLst>
              </p:cNvPr>
              <p:cNvSpPr/>
              <p:nvPr/>
            </p:nvSpPr>
            <p:spPr>
              <a:xfrm>
                <a:off x="2581895" y="3572254"/>
                <a:ext cx="14304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4304" h="11706">
                    <a:moveTo>
                      <a:pt x="7803" y="0"/>
                    </a:moveTo>
                    <a:lnTo>
                      <a:pt x="0" y="5843"/>
                    </a:lnTo>
                    <a:lnTo>
                      <a:pt x="4553" y="11705"/>
                    </a:lnTo>
                    <a:lnTo>
                      <a:pt x="14303" y="7152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3426" tIns="117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7" name="shp_Region_Stann_Creek_$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6BF0100}"/>
                  </a:ext>
                </a:extLst>
              </p:cNvPr>
              <p:cNvSpPr/>
              <p:nvPr/>
            </p:nvSpPr>
            <p:spPr>
              <a:xfrm>
                <a:off x="2585806" y="3718532"/>
                <a:ext cx="32499" cy="79965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79965">
                    <a:moveTo>
                      <a:pt x="32498" y="0"/>
                    </a:moveTo>
                    <a:lnTo>
                      <a:pt x="25998" y="647"/>
                    </a:lnTo>
                    <a:lnTo>
                      <a:pt x="15588" y="12348"/>
                    </a:lnTo>
                    <a:lnTo>
                      <a:pt x="7142" y="17548"/>
                    </a:lnTo>
                    <a:lnTo>
                      <a:pt x="3892" y="24052"/>
                    </a:lnTo>
                    <a:lnTo>
                      <a:pt x="4553" y="33154"/>
                    </a:lnTo>
                    <a:lnTo>
                      <a:pt x="13642" y="31855"/>
                    </a:lnTo>
                    <a:lnTo>
                      <a:pt x="14302" y="40306"/>
                    </a:lnTo>
                    <a:lnTo>
                      <a:pt x="7803" y="52002"/>
                    </a:lnTo>
                    <a:lnTo>
                      <a:pt x="12999" y="56560"/>
                    </a:lnTo>
                    <a:lnTo>
                      <a:pt x="7142" y="70862"/>
                    </a:lnTo>
                    <a:lnTo>
                      <a:pt x="0" y="74112"/>
                    </a:lnTo>
                    <a:lnTo>
                      <a:pt x="2589" y="79964"/>
                    </a:lnTo>
                    <a:lnTo>
                      <a:pt x="13642" y="66961"/>
                    </a:lnTo>
                    <a:lnTo>
                      <a:pt x="15588" y="59809"/>
                    </a:lnTo>
                    <a:lnTo>
                      <a:pt x="14945" y="42257"/>
                    </a:lnTo>
                    <a:lnTo>
                      <a:pt x="16249" y="31208"/>
                    </a:lnTo>
                    <a:lnTo>
                      <a:pt x="25998" y="18852"/>
                    </a:lnTo>
                    <a:lnTo>
                      <a:pt x="27945" y="7147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0504" tIns="7994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8" name="shp_Region_Stann_Creek_$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7BF0100}"/>
                  </a:ext>
                </a:extLst>
              </p:cNvPr>
              <p:cNvSpPr/>
              <p:nvPr/>
            </p:nvSpPr>
            <p:spPr>
              <a:xfrm>
                <a:off x="2546147" y="3888862"/>
                <a:ext cx="23393" cy="26660"/>
              </a:xfrm>
              <a:custGeom>
                <a:avLst/>
                <a:gdLst/>
                <a:ahLst/>
                <a:cxnLst/>
                <a:rect l="0" t="0" r="0" b="0"/>
                <a:pathLst>
                  <a:path w="23393" h="26660">
                    <a:moveTo>
                      <a:pt x="8446" y="0"/>
                    </a:moveTo>
                    <a:lnTo>
                      <a:pt x="3250" y="1299"/>
                    </a:lnTo>
                    <a:lnTo>
                      <a:pt x="0" y="9754"/>
                    </a:lnTo>
                    <a:lnTo>
                      <a:pt x="1304" y="16905"/>
                    </a:lnTo>
                    <a:lnTo>
                      <a:pt x="7803" y="26659"/>
                    </a:lnTo>
                    <a:lnTo>
                      <a:pt x="23392" y="19504"/>
                    </a:lnTo>
                    <a:lnTo>
                      <a:pt x="20142" y="5201"/>
                    </a:lnTo>
                    <a:lnTo>
                      <a:pt x="84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1957" tIns="266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39" name="shp_Region_Stann_Creek_$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8BF0100}"/>
                  </a:ext>
                </a:extLst>
              </p:cNvPr>
              <p:cNvSpPr/>
              <p:nvPr/>
            </p:nvSpPr>
            <p:spPr>
              <a:xfrm>
                <a:off x="2436921" y="3944123"/>
                <a:ext cx="25357" cy="1690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6902">
                    <a:moveTo>
                      <a:pt x="7803" y="0"/>
                    </a:moveTo>
                    <a:lnTo>
                      <a:pt x="3893" y="651"/>
                    </a:lnTo>
                    <a:lnTo>
                      <a:pt x="0" y="14302"/>
                    </a:lnTo>
                    <a:lnTo>
                      <a:pt x="5857" y="16901"/>
                    </a:lnTo>
                    <a:lnTo>
                      <a:pt x="12999" y="11700"/>
                    </a:lnTo>
                    <a:lnTo>
                      <a:pt x="25356" y="7803"/>
                    </a:lnTo>
                    <a:lnTo>
                      <a:pt x="23409" y="1950"/>
                    </a:lnTo>
                    <a:lnTo>
                      <a:pt x="11696" y="5200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3801" tIns="1689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0" name="shp_Region_Stann_Creek_$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9BF0100}"/>
                  </a:ext>
                </a:extLst>
              </p:cNvPr>
              <p:cNvSpPr/>
              <p:nvPr/>
            </p:nvSpPr>
            <p:spPr>
              <a:xfrm>
                <a:off x="3142954" y="4154116"/>
                <a:ext cx="31857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31857" h="27303">
                    <a:moveTo>
                      <a:pt x="30552" y="0"/>
                    </a:moveTo>
                    <a:lnTo>
                      <a:pt x="19499" y="11048"/>
                    </a:lnTo>
                    <a:lnTo>
                      <a:pt x="9750" y="10397"/>
                    </a:lnTo>
                    <a:lnTo>
                      <a:pt x="0" y="19499"/>
                    </a:lnTo>
                    <a:lnTo>
                      <a:pt x="2607" y="27302"/>
                    </a:lnTo>
                    <a:lnTo>
                      <a:pt x="10411" y="25351"/>
                    </a:lnTo>
                    <a:lnTo>
                      <a:pt x="31856" y="3250"/>
                    </a:lnTo>
                    <a:lnTo>
                      <a:pt x="3055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902" tIns="272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1" name="shp_Region_Stann_Creek_$1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ABF0100}"/>
                  </a:ext>
                </a:extLst>
              </p:cNvPr>
              <p:cNvSpPr/>
              <p:nvPr/>
            </p:nvSpPr>
            <p:spPr>
              <a:xfrm>
                <a:off x="2392709" y="4175566"/>
                <a:ext cx="9750" cy="14303"/>
              </a:xfrm>
              <a:custGeom>
                <a:avLst/>
                <a:gdLst/>
                <a:ahLst/>
                <a:cxnLst/>
                <a:rect l="0" t="0" r="0" b="0"/>
                <a:pathLst>
                  <a:path w="9750" h="14303">
                    <a:moveTo>
                      <a:pt x="1946" y="0"/>
                    </a:moveTo>
                    <a:lnTo>
                      <a:pt x="0" y="7146"/>
                    </a:lnTo>
                    <a:lnTo>
                      <a:pt x="3250" y="14302"/>
                    </a:lnTo>
                    <a:lnTo>
                      <a:pt x="9749" y="8455"/>
                    </a:lnTo>
                    <a:lnTo>
                      <a:pt x="1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52" tIns="143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2" name="shp_Region_Stann_Creek_$1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BBF0100}"/>
                  </a:ext>
                </a:extLst>
              </p:cNvPr>
              <p:cNvSpPr/>
              <p:nvPr/>
            </p:nvSpPr>
            <p:spPr>
              <a:xfrm>
                <a:off x="2395316" y="4220420"/>
                <a:ext cx="7804" cy="28612"/>
              </a:xfrm>
              <a:custGeom>
                <a:avLst/>
                <a:gdLst/>
                <a:ahLst/>
                <a:cxnLst/>
                <a:rect l="0" t="0" r="0" b="0"/>
                <a:pathLst>
                  <a:path w="7804" h="28612">
                    <a:moveTo>
                      <a:pt x="4553" y="0"/>
                    </a:moveTo>
                    <a:lnTo>
                      <a:pt x="0" y="1304"/>
                    </a:lnTo>
                    <a:lnTo>
                      <a:pt x="0" y="28611"/>
                    </a:lnTo>
                    <a:lnTo>
                      <a:pt x="7803" y="10406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325" tIns="286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3" name="shp_Region_Stann_Creek_$1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CBF0100}"/>
                  </a:ext>
                </a:extLst>
              </p:cNvPr>
              <p:cNvSpPr/>
              <p:nvPr/>
            </p:nvSpPr>
            <p:spPr>
              <a:xfrm>
                <a:off x="2351104" y="4229527"/>
                <a:ext cx="11697" cy="13005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3005">
                    <a:moveTo>
                      <a:pt x="5857" y="0"/>
                    </a:moveTo>
                    <a:lnTo>
                      <a:pt x="0" y="10401"/>
                    </a:lnTo>
                    <a:lnTo>
                      <a:pt x="11053" y="13004"/>
                    </a:lnTo>
                    <a:lnTo>
                      <a:pt x="11696" y="3902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979" tIns="130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4" name="shp_Region_Stann_Creek_$1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DBF0100}"/>
                  </a:ext>
                </a:extLst>
              </p:cNvPr>
              <p:cNvSpPr/>
              <p:nvPr/>
            </p:nvSpPr>
            <p:spPr>
              <a:xfrm>
                <a:off x="2347211" y="4264632"/>
                <a:ext cx="14947" cy="14300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4300">
                    <a:moveTo>
                      <a:pt x="5839" y="0"/>
                    </a:moveTo>
                    <a:lnTo>
                      <a:pt x="0" y="652"/>
                    </a:lnTo>
                    <a:lnTo>
                      <a:pt x="7803" y="14299"/>
                    </a:lnTo>
                    <a:lnTo>
                      <a:pt x="14946" y="12352"/>
                    </a:lnTo>
                    <a:lnTo>
                      <a:pt x="11696" y="652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030" tIns="142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5" name="shp_Region_Stann_Creek_$1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EBF0100}"/>
                  </a:ext>
                </a:extLst>
              </p:cNvPr>
              <p:cNvSpPr/>
              <p:nvPr/>
            </p:nvSpPr>
            <p:spPr>
              <a:xfrm>
                <a:off x="2347211" y="4278931"/>
                <a:ext cx="8447" cy="10411"/>
              </a:xfrm>
              <a:custGeom>
                <a:avLst/>
                <a:gdLst/>
                <a:ahLst/>
                <a:cxnLst/>
                <a:rect l="0" t="0" r="0" b="0"/>
                <a:pathLst>
                  <a:path w="8447" h="10411">
                    <a:moveTo>
                      <a:pt x="5839" y="0"/>
                    </a:moveTo>
                    <a:lnTo>
                      <a:pt x="0" y="0"/>
                    </a:lnTo>
                    <a:lnTo>
                      <a:pt x="1286" y="10410"/>
                    </a:lnTo>
                    <a:lnTo>
                      <a:pt x="8446" y="5200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929" tIns="104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6" name="shp_Region_Stann_Creek_$1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3FBF0100}"/>
                  </a:ext>
                </a:extLst>
              </p:cNvPr>
              <p:cNvSpPr/>
              <p:nvPr/>
            </p:nvSpPr>
            <p:spPr>
              <a:xfrm>
                <a:off x="2364103" y="4292591"/>
                <a:ext cx="13661" cy="16250"/>
              </a:xfrm>
              <a:custGeom>
                <a:avLst/>
                <a:gdLst/>
                <a:ahLst/>
                <a:cxnLst/>
                <a:rect l="0" t="0" r="0" b="0"/>
                <a:pathLst>
                  <a:path w="13661" h="16250">
                    <a:moveTo>
                      <a:pt x="6500" y="0"/>
                    </a:moveTo>
                    <a:lnTo>
                      <a:pt x="0" y="3249"/>
                    </a:lnTo>
                    <a:lnTo>
                      <a:pt x="661" y="10401"/>
                    </a:lnTo>
                    <a:lnTo>
                      <a:pt x="6500" y="16249"/>
                    </a:lnTo>
                    <a:lnTo>
                      <a:pt x="13660" y="14950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823" tIns="1624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7" name="shp_Region_Stann_Creek_$1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40BF0100}"/>
                  </a:ext>
                </a:extLst>
              </p:cNvPr>
              <p:cNvSpPr/>
              <p:nvPr/>
            </p:nvSpPr>
            <p:spPr>
              <a:xfrm>
                <a:off x="2412226" y="4330294"/>
                <a:ext cx="11036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11036" h="18206">
                    <a:moveTo>
                      <a:pt x="5839" y="0"/>
                    </a:moveTo>
                    <a:lnTo>
                      <a:pt x="0" y="5852"/>
                    </a:lnTo>
                    <a:lnTo>
                      <a:pt x="643" y="18205"/>
                    </a:lnTo>
                    <a:lnTo>
                      <a:pt x="11035" y="9107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59" tIns="182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8" name="shp_Region_Stann_Creek_$1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41BF0100}"/>
                  </a:ext>
                </a:extLst>
              </p:cNvPr>
              <p:cNvSpPr/>
              <p:nvPr/>
            </p:nvSpPr>
            <p:spPr>
              <a:xfrm>
                <a:off x="2304946" y="4357601"/>
                <a:ext cx="11054" cy="117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705">
                    <a:moveTo>
                      <a:pt x="5856" y="0"/>
                    </a:moveTo>
                    <a:lnTo>
                      <a:pt x="0" y="7147"/>
                    </a:lnTo>
                    <a:lnTo>
                      <a:pt x="7160" y="11704"/>
                    </a:lnTo>
                    <a:lnTo>
                      <a:pt x="11053" y="5852"/>
                    </a:lnTo>
                    <a:lnTo>
                      <a:pt x="58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117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49" name="shp_Region_Stann_Creek_$1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42BF0100}"/>
                  </a:ext>
                </a:extLst>
              </p:cNvPr>
              <p:cNvSpPr/>
              <p:nvPr/>
            </p:nvSpPr>
            <p:spPr>
              <a:xfrm>
                <a:off x="1999391" y="4431713"/>
                <a:ext cx="1560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5607" h="14955">
                    <a:moveTo>
                      <a:pt x="15606" y="0"/>
                    </a:moveTo>
                    <a:lnTo>
                      <a:pt x="5196" y="1955"/>
                    </a:lnTo>
                    <a:lnTo>
                      <a:pt x="0" y="6504"/>
                    </a:lnTo>
                    <a:lnTo>
                      <a:pt x="7803" y="14954"/>
                    </a:lnTo>
                    <a:lnTo>
                      <a:pt x="9749" y="4553"/>
                    </a:lnTo>
                    <a:lnTo>
                      <a:pt x="156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649" tIns="149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50" name="shp_Region_Stann_Creek_$1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43BF0100}"/>
                  </a:ext>
                </a:extLst>
              </p:cNvPr>
              <p:cNvSpPr/>
              <p:nvPr/>
            </p:nvSpPr>
            <p:spPr>
              <a:xfrm>
                <a:off x="2286090" y="4437569"/>
                <a:ext cx="1496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4964" h="7805">
                    <a:moveTo>
                      <a:pt x="11053" y="0"/>
                    </a:moveTo>
                    <a:lnTo>
                      <a:pt x="0" y="1300"/>
                    </a:lnTo>
                    <a:lnTo>
                      <a:pt x="4553" y="7804"/>
                    </a:lnTo>
                    <a:lnTo>
                      <a:pt x="14963" y="7804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046" tIns="78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51" name="shp_Region_Stann_Creek_$2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44BF0100}"/>
                  </a:ext>
                </a:extLst>
              </p:cNvPr>
              <p:cNvSpPr/>
              <p:nvPr/>
            </p:nvSpPr>
            <p:spPr>
              <a:xfrm>
                <a:off x="2123563" y="4623501"/>
                <a:ext cx="32499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18206">
                    <a:moveTo>
                      <a:pt x="14945" y="0"/>
                    </a:moveTo>
                    <a:lnTo>
                      <a:pt x="5856" y="5201"/>
                    </a:lnTo>
                    <a:lnTo>
                      <a:pt x="0" y="12352"/>
                    </a:lnTo>
                    <a:lnTo>
                      <a:pt x="19499" y="13656"/>
                    </a:lnTo>
                    <a:lnTo>
                      <a:pt x="28605" y="18205"/>
                    </a:lnTo>
                    <a:lnTo>
                      <a:pt x="32498" y="7152"/>
                    </a:lnTo>
                    <a:lnTo>
                      <a:pt x="22748" y="9755"/>
                    </a:lnTo>
                    <a:lnTo>
                      <a:pt x="1494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0504" tIns="182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52" name="shp_Region_Stann_Creek_$2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0000000-0008-0000-0C00-000045BF0100}"/>
                  </a:ext>
                </a:extLst>
              </p:cNvPr>
              <p:cNvSpPr/>
              <p:nvPr/>
            </p:nvSpPr>
            <p:spPr>
              <a:xfrm>
                <a:off x="2298446" y="4671611"/>
                <a:ext cx="20161" cy="2276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22763">
                    <a:moveTo>
                      <a:pt x="20160" y="0"/>
                    </a:moveTo>
                    <a:lnTo>
                      <a:pt x="0" y="18204"/>
                    </a:lnTo>
                    <a:lnTo>
                      <a:pt x="3893" y="22762"/>
                    </a:lnTo>
                    <a:lnTo>
                      <a:pt x="2016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924" tIns="227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</p:grpSp>
        <p:grpSp>
          <p:nvGrpSpPr>
            <p:cNvPr id="10" name="shp_Region_Toledo" descr="Admin1_Id=&quot;BLZ&quot;&#10;Admin1_Label=&quot;Belize&quot;&#10;Admin2_Id=&quot;BLZ.6_1&quot;&#10;Admin2_Label=&quot;Toledo&quot;&#10;" title="Toledo">
              <a:extLst>
                <a:ext uri="{FF2B5EF4-FFF2-40B4-BE49-F238E27FC236}">
                  <a16:creationId xmlns:a16="http://schemas.microsoft.com/office/drawing/2014/main" id="{00000000-0008-0000-0C00-000021BF0100}"/>
                </a:ext>
              </a:extLst>
            </p:cNvPr>
            <p:cNvGrpSpPr/>
            <p:nvPr/>
          </p:nvGrpSpPr>
          <p:grpSpPr>
            <a:xfrm>
              <a:off x="0" y="4197374"/>
              <a:ext cx="1846247" cy="1897357"/>
              <a:chOff x="0" y="4197374"/>
              <a:chExt cx="1966967" cy="1897752"/>
            </a:xfrm>
            <a:solidFill>
              <a:srgbClr val="FFC000"/>
            </a:solidFill>
          </p:grpSpPr>
          <p:sp>
            <p:nvSpPr>
              <p:cNvPr id="11" name="shp_Region_Toledo_$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2BF0100}"/>
                  </a:ext>
                </a:extLst>
              </p:cNvPr>
              <p:cNvSpPr/>
              <p:nvPr/>
            </p:nvSpPr>
            <p:spPr>
              <a:xfrm>
                <a:off x="0" y="4197374"/>
                <a:ext cx="1966967" cy="1897752"/>
              </a:xfrm>
              <a:custGeom>
                <a:avLst/>
                <a:gdLst/>
                <a:ahLst/>
                <a:cxnLst/>
                <a:rect l="0" t="0" r="0" b="0"/>
                <a:pathLst>
                  <a:path w="1966967" h="1897752">
                    <a:moveTo>
                      <a:pt x="85138" y="644099"/>
                    </a:moveTo>
                    <a:lnTo>
                      <a:pt x="61443" y="997973"/>
                    </a:lnTo>
                    <a:lnTo>
                      <a:pt x="48587" y="1189918"/>
                    </a:lnTo>
                    <a:lnTo>
                      <a:pt x="21142" y="1599611"/>
                    </a:lnTo>
                    <a:lnTo>
                      <a:pt x="18428" y="1639676"/>
                    </a:lnTo>
                    <a:lnTo>
                      <a:pt x="11499" y="1712884"/>
                    </a:lnTo>
                    <a:lnTo>
                      <a:pt x="0" y="1813626"/>
                    </a:lnTo>
                    <a:lnTo>
                      <a:pt x="3178" y="1874025"/>
                    </a:lnTo>
                    <a:lnTo>
                      <a:pt x="11785" y="1875038"/>
                    </a:lnTo>
                    <a:lnTo>
                      <a:pt x="14214" y="1886118"/>
                    </a:lnTo>
                    <a:lnTo>
                      <a:pt x="26177" y="1891798"/>
                    </a:lnTo>
                    <a:lnTo>
                      <a:pt x="79853" y="1872351"/>
                    </a:lnTo>
                    <a:lnTo>
                      <a:pt x="97763" y="1872243"/>
                    </a:lnTo>
                    <a:lnTo>
                      <a:pt x="102512" y="1852171"/>
                    </a:lnTo>
                    <a:lnTo>
                      <a:pt x="109066" y="1850345"/>
                    </a:lnTo>
                    <a:lnTo>
                      <a:pt x="119547" y="1852972"/>
                    </a:lnTo>
                    <a:lnTo>
                      <a:pt x="148885" y="1878020"/>
                    </a:lnTo>
                    <a:lnTo>
                      <a:pt x="173187" y="1887017"/>
                    </a:lnTo>
                    <a:lnTo>
                      <a:pt x="186954" y="1883205"/>
                    </a:lnTo>
                    <a:lnTo>
                      <a:pt x="210864" y="1864610"/>
                    </a:lnTo>
                    <a:lnTo>
                      <a:pt x="227720" y="1879261"/>
                    </a:lnTo>
                    <a:lnTo>
                      <a:pt x="244790" y="1876518"/>
                    </a:lnTo>
                    <a:lnTo>
                      <a:pt x="250879" y="1881839"/>
                    </a:lnTo>
                    <a:lnTo>
                      <a:pt x="260272" y="1883946"/>
                    </a:lnTo>
                    <a:lnTo>
                      <a:pt x="271003" y="1873203"/>
                    </a:lnTo>
                    <a:lnTo>
                      <a:pt x="265075" y="1859793"/>
                    </a:lnTo>
                    <a:lnTo>
                      <a:pt x="286038" y="1852765"/>
                    </a:lnTo>
                    <a:lnTo>
                      <a:pt x="307519" y="1852126"/>
                    </a:lnTo>
                    <a:lnTo>
                      <a:pt x="318037" y="1857441"/>
                    </a:lnTo>
                    <a:lnTo>
                      <a:pt x="334161" y="1886838"/>
                    </a:lnTo>
                    <a:lnTo>
                      <a:pt x="340750" y="1886272"/>
                    </a:lnTo>
                    <a:lnTo>
                      <a:pt x="343857" y="1880303"/>
                    </a:lnTo>
                    <a:lnTo>
                      <a:pt x="350517" y="1879732"/>
                    </a:lnTo>
                    <a:lnTo>
                      <a:pt x="352213" y="1857298"/>
                    </a:lnTo>
                    <a:lnTo>
                      <a:pt x="370480" y="1877571"/>
                    </a:lnTo>
                    <a:lnTo>
                      <a:pt x="377658" y="1879689"/>
                    </a:lnTo>
                    <a:lnTo>
                      <a:pt x="376533" y="1869511"/>
                    </a:lnTo>
                    <a:lnTo>
                      <a:pt x="387729" y="1873085"/>
                    </a:lnTo>
                    <a:lnTo>
                      <a:pt x="386604" y="1862893"/>
                    </a:lnTo>
                    <a:lnTo>
                      <a:pt x="390426" y="1853227"/>
                    </a:lnTo>
                    <a:lnTo>
                      <a:pt x="387622" y="1842522"/>
                    </a:lnTo>
                    <a:lnTo>
                      <a:pt x="391461" y="1835522"/>
                    </a:lnTo>
                    <a:lnTo>
                      <a:pt x="403711" y="1837602"/>
                    </a:lnTo>
                    <a:lnTo>
                      <a:pt x="411067" y="1862775"/>
                    </a:lnTo>
                    <a:lnTo>
                      <a:pt x="413139" y="1864157"/>
                    </a:lnTo>
                    <a:lnTo>
                      <a:pt x="425495" y="1847877"/>
                    </a:lnTo>
                    <a:lnTo>
                      <a:pt x="445530" y="1845497"/>
                    </a:lnTo>
                    <a:lnTo>
                      <a:pt x="468850" y="1854398"/>
                    </a:lnTo>
                    <a:lnTo>
                      <a:pt x="478171" y="1862108"/>
                    </a:lnTo>
                    <a:lnTo>
                      <a:pt x="486188" y="1883370"/>
                    </a:lnTo>
                    <a:lnTo>
                      <a:pt x="496152" y="1883982"/>
                    </a:lnTo>
                    <a:lnTo>
                      <a:pt x="521990" y="1869719"/>
                    </a:lnTo>
                    <a:lnTo>
                      <a:pt x="530615" y="1869043"/>
                    </a:lnTo>
                    <a:lnTo>
                      <a:pt x="559845" y="1884122"/>
                    </a:lnTo>
                    <a:lnTo>
                      <a:pt x="598361" y="1887876"/>
                    </a:lnTo>
                    <a:lnTo>
                      <a:pt x="642180" y="1897751"/>
                    </a:lnTo>
                    <a:lnTo>
                      <a:pt x="665197" y="1896008"/>
                    </a:lnTo>
                    <a:lnTo>
                      <a:pt x="701962" y="1884745"/>
                    </a:lnTo>
                    <a:lnTo>
                      <a:pt x="725300" y="1873728"/>
                    </a:lnTo>
                    <a:lnTo>
                      <a:pt x="727836" y="1869837"/>
                    </a:lnTo>
                    <a:lnTo>
                      <a:pt x="725229" y="1852939"/>
                    </a:lnTo>
                    <a:lnTo>
                      <a:pt x="719372" y="1848390"/>
                    </a:lnTo>
                    <a:lnTo>
                      <a:pt x="705069" y="1821083"/>
                    </a:lnTo>
                    <a:lnTo>
                      <a:pt x="692070" y="1778820"/>
                    </a:lnTo>
                    <a:lnTo>
                      <a:pt x="688178" y="1772972"/>
                    </a:lnTo>
                    <a:lnTo>
                      <a:pt x="684928" y="1758669"/>
                    </a:lnTo>
                    <a:lnTo>
                      <a:pt x="676464" y="1732012"/>
                    </a:lnTo>
                    <a:lnTo>
                      <a:pt x="678428" y="1719658"/>
                    </a:lnTo>
                    <a:lnTo>
                      <a:pt x="679071" y="1698210"/>
                    </a:lnTo>
                    <a:lnTo>
                      <a:pt x="685571" y="1676754"/>
                    </a:lnTo>
                    <a:lnTo>
                      <a:pt x="692731" y="1667650"/>
                    </a:lnTo>
                    <a:lnTo>
                      <a:pt x="707034" y="1665703"/>
                    </a:lnTo>
                    <a:lnTo>
                      <a:pt x="723283" y="1642948"/>
                    </a:lnTo>
                    <a:lnTo>
                      <a:pt x="747335" y="1631247"/>
                    </a:lnTo>
                    <a:lnTo>
                      <a:pt x="770084" y="1624739"/>
                    </a:lnTo>
                    <a:lnTo>
                      <a:pt x="796743" y="1611739"/>
                    </a:lnTo>
                    <a:lnTo>
                      <a:pt x="810403" y="1601990"/>
                    </a:lnTo>
                    <a:lnTo>
                      <a:pt x="814956" y="1596142"/>
                    </a:lnTo>
                    <a:lnTo>
                      <a:pt x="835098" y="1588344"/>
                    </a:lnTo>
                    <a:lnTo>
                      <a:pt x="855901" y="1577281"/>
                    </a:lnTo>
                    <a:lnTo>
                      <a:pt x="863704" y="1565581"/>
                    </a:lnTo>
                    <a:lnTo>
                      <a:pt x="868918" y="1531128"/>
                    </a:lnTo>
                    <a:lnTo>
                      <a:pt x="866954" y="1523981"/>
                    </a:lnTo>
                    <a:lnTo>
                      <a:pt x="868918" y="1509674"/>
                    </a:lnTo>
                    <a:lnTo>
                      <a:pt x="875417" y="1508370"/>
                    </a:lnTo>
                    <a:lnTo>
                      <a:pt x="881256" y="1501219"/>
                    </a:lnTo>
                    <a:lnTo>
                      <a:pt x="888417" y="1498621"/>
                    </a:lnTo>
                    <a:lnTo>
                      <a:pt x="892309" y="1489518"/>
                    </a:lnTo>
                    <a:lnTo>
                      <a:pt x="910523" y="1482367"/>
                    </a:lnTo>
                    <a:lnTo>
                      <a:pt x="911808" y="1474564"/>
                    </a:lnTo>
                    <a:lnTo>
                      <a:pt x="921576" y="1460913"/>
                    </a:lnTo>
                    <a:lnTo>
                      <a:pt x="928075" y="1458962"/>
                    </a:lnTo>
                    <a:lnTo>
                      <a:pt x="940414" y="1460261"/>
                    </a:lnTo>
                    <a:lnTo>
                      <a:pt x="950824" y="1457663"/>
                    </a:lnTo>
                    <a:lnTo>
                      <a:pt x="956020" y="1461564"/>
                    </a:lnTo>
                    <a:lnTo>
                      <a:pt x="966430" y="1460261"/>
                    </a:lnTo>
                    <a:lnTo>
                      <a:pt x="972287" y="1449212"/>
                    </a:lnTo>
                    <a:lnTo>
                      <a:pt x="974234" y="1431655"/>
                    </a:lnTo>
                    <a:lnTo>
                      <a:pt x="983322" y="1416054"/>
                    </a:lnTo>
                    <a:lnTo>
                      <a:pt x="991786" y="1410853"/>
                    </a:lnTo>
                    <a:lnTo>
                      <a:pt x="993090" y="1395247"/>
                    </a:lnTo>
                    <a:lnTo>
                      <a:pt x="996982" y="1393300"/>
                    </a:lnTo>
                    <a:lnTo>
                      <a:pt x="996340" y="1378997"/>
                    </a:lnTo>
                    <a:lnTo>
                      <a:pt x="1004143" y="1366645"/>
                    </a:lnTo>
                    <a:lnTo>
                      <a:pt x="1028195" y="1361445"/>
                    </a:lnTo>
                    <a:lnTo>
                      <a:pt x="1037284" y="1352994"/>
                    </a:lnTo>
                    <a:lnTo>
                      <a:pt x="1049640" y="1347142"/>
                    </a:lnTo>
                    <a:lnTo>
                      <a:pt x="1073693" y="1339990"/>
                    </a:lnTo>
                    <a:lnTo>
                      <a:pt x="1089960" y="1333482"/>
                    </a:lnTo>
                    <a:lnTo>
                      <a:pt x="1097745" y="1327639"/>
                    </a:lnTo>
                    <a:lnTo>
                      <a:pt x="1109459" y="1323090"/>
                    </a:lnTo>
                    <a:lnTo>
                      <a:pt x="1110101" y="1314635"/>
                    </a:lnTo>
                    <a:lnTo>
                      <a:pt x="1099048" y="1297082"/>
                    </a:lnTo>
                    <a:lnTo>
                      <a:pt x="1099709" y="1289931"/>
                    </a:lnTo>
                    <a:lnTo>
                      <a:pt x="1108155" y="1283436"/>
                    </a:lnTo>
                    <a:lnTo>
                      <a:pt x="1114655" y="1282779"/>
                    </a:lnTo>
                    <a:lnTo>
                      <a:pt x="1114012" y="1262624"/>
                    </a:lnTo>
                    <a:lnTo>
                      <a:pt x="1127654" y="1255473"/>
                    </a:lnTo>
                    <a:lnTo>
                      <a:pt x="1141314" y="1244420"/>
                    </a:lnTo>
                    <a:lnTo>
                      <a:pt x="1141957" y="1240527"/>
                    </a:lnTo>
                    <a:lnTo>
                      <a:pt x="1130904" y="1229465"/>
                    </a:lnTo>
                    <a:lnTo>
                      <a:pt x="1122458" y="1208663"/>
                    </a:lnTo>
                    <a:lnTo>
                      <a:pt x="1128958" y="1202163"/>
                    </a:lnTo>
                    <a:lnTo>
                      <a:pt x="1123761" y="1188512"/>
                    </a:lnTo>
                    <a:lnTo>
                      <a:pt x="1118565" y="1182008"/>
                    </a:lnTo>
                    <a:lnTo>
                      <a:pt x="1112708" y="1165107"/>
                    </a:lnTo>
                    <a:lnTo>
                      <a:pt x="1117262" y="1155353"/>
                    </a:lnTo>
                    <a:lnTo>
                      <a:pt x="1112048" y="1143001"/>
                    </a:lnTo>
                    <a:lnTo>
                      <a:pt x="1114655" y="1133899"/>
                    </a:lnTo>
                    <a:lnTo>
                      <a:pt x="1130904" y="1128056"/>
                    </a:lnTo>
                    <a:lnTo>
                      <a:pt x="1142617" y="1127399"/>
                    </a:lnTo>
                    <a:lnTo>
                      <a:pt x="1149760" y="1122199"/>
                    </a:lnTo>
                    <a:lnTo>
                      <a:pt x="1154313" y="1104646"/>
                    </a:lnTo>
                    <a:lnTo>
                      <a:pt x="1166009" y="1088397"/>
                    </a:lnTo>
                    <a:lnTo>
                      <a:pt x="1186169" y="1090343"/>
                    </a:lnTo>
                    <a:lnTo>
                      <a:pt x="1206971" y="1094892"/>
                    </a:lnTo>
                    <a:lnTo>
                      <a:pt x="1228434" y="1091642"/>
                    </a:lnTo>
                    <a:lnTo>
                      <a:pt x="1234934" y="1086442"/>
                    </a:lnTo>
                    <a:lnTo>
                      <a:pt x="1221274" y="1082540"/>
                    </a:lnTo>
                    <a:lnTo>
                      <a:pt x="1233631" y="1072139"/>
                    </a:lnTo>
                    <a:lnTo>
                      <a:pt x="1258986" y="1072791"/>
                    </a:lnTo>
                    <a:lnTo>
                      <a:pt x="1265486" y="1071487"/>
                    </a:lnTo>
                    <a:lnTo>
                      <a:pt x="1279146" y="1059135"/>
                    </a:lnTo>
                    <a:lnTo>
                      <a:pt x="1287592" y="1059787"/>
                    </a:lnTo>
                    <a:lnTo>
                      <a:pt x="1295395" y="1051336"/>
                    </a:lnTo>
                    <a:lnTo>
                      <a:pt x="1299948" y="1050684"/>
                    </a:lnTo>
                    <a:lnTo>
                      <a:pt x="1309037" y="1061738"/>
                    </a:lnTo>
                    <a:lnTo>
                      <a:pt x="1318144" y="1063037"/>
                    </a:lnTo>
                    <a:lnTo>
                      <a:pt x="1325304" y="1055890"/>
                    </a:lnTo>
                    <a:lnTo>
                      <a:pt x="1335696" y="1040931"/>
                    </a:lnTo>
                    <a:lnTo>
                      <a:pt x="1334393" y="1025976"/>
                    </a:lnTo>
                    <a:lnTo>
                      <a:pt x="1324001" y="1021427"/>
                    </a:lnTo>
                    <a:lnTo>
                      <a:pt x="1324001" y="1006477"/>
                    </a:lnTo>
                    <a:lnTo>
                      <a:pt x="1329197" y="992822"/>
                    </a:lnTo>
                    <a:lnTo>
                      <a:pt x="1344142" y="983072"/>
                    </a:lnTo>
                    <a:lnTo>
                      <a:pt x="1370802" y="982420"/>
                    </a:lnTo>
                    <a:lnTo>
                      <a:pt x="1397461" y="1001277"/>
                    </a:lnTo>
                    <a:lnTo>
                      <a:pt x="1411764" y="1012977"/>
                    </a:lnTo>
                    <a:lnTo>
                      <a:pt x="1424763" y="1029882"/>
                    </a:lnTo>
                    <a:lnTo>
                      <a:pt x="1426067" y="1037038"/>
                    </a:lnTo>
                    <a:lnTo>
                      <a:pt x="1435173" y="1044185"/>
                    </a:lnTo>
                    <a:lnTo>
                      <a:pt x="1448173" y="1040284"/>
                    </a:lnTo>
                    <a:lnTo>
                      <a:pt x="1455976" y="1044832"/>
                    </a:lnTo>
                    <a:lnTo>
                      <a:pt x="1466368" y="1043533"/>
                    </a:lnTo>
                    <a:lnTo>
                      <a:pt x="1466368" y="1035083"/>
                    </a:lnTo>
                    <a:lnTo>
                      <a:pt x="1459868" y="1031181"/>
                    </a:lnTo>
                    <a:lnTo>
                      <a:pt x="1457279" y="1024034"/>
                    </a:lnTo>
                    <a:lnTo>
                      <a:pt x="1464422" y="1013629"/>
                    </a:lnTo>
                    <a:lnTo>
                      <a:pt x="1476118" y="1005826"/>
                    </a:lnTo>
                    <a:lnTo>
                      <a:pt x="1477421" y="1024034"/>
                    </a:lnTo>
                    <a:lnTo>
                      <a:pt x="1471582" y="1029235"/>
                    </a:lnTo>
                    <a:lnTo>
                      <a:pt x="1470279" y="1042881"/>
                    </a:lnTo>
                    <a:lnTo>
                      <a:pt x="1463779" y="1046783"/>
                    </a:lnTo>
                    <a:lnTo>
                      <a:pt x="1468332" y="1054586"/>
                    </a:lnTo>
                    <a:lnTo>
                      <a:pt x="1474171" y="1048734"/>
                    </a:lnTo>
                    <a:lnTo>
                      <a:pt x="1474171" y="1042230"/>
                    </a:lnTo>
                    <a:lnTo>
                      <a:pt x="1479367" y="1035730"/>
                    </a:lnTo>
                    <a:lnTo>
                      <a:pt x="1493670" y="1035730"/>
                    </a:lnTo>
                    <a:lnTo>
                      <a:pt x="1499527" y="1045484"/>
                    </a:lnTo>
                    <a:lnTo>
                      <a:pt x="1481974" y="1059787"/>
                    </a:lnTo>
                    <a:lnTo>
                      <a:pt x="1480671" y="1065639"/>
                    </a:lnTo>
                    <a:lnTo>
                      <a:pt x="1491724" y="1081893"/>
                    </a:lnTo>
                    <a:lnTo>
                      <a:pt x="1500830" y="1080589"/>
                    </a:lnTo>
                    <a:lnTo>
                      <a:pt x="1499527" y="1070188"/>
                    </a:lnTo>
                    <a:lnTo>
                      <a:pt x="1509937" y="1050028"/>
                    </a:lnTo>
                    <a:lnTo>
                      <a:pt x="1509937" y="1040284"/>
                    </a:lnTo>
                    <a:lnTo>
                      <a:pt x="1517740" y="1020775"/>
                    </a:lnTo>
                    <a:lnTo>
                      <a:pt x="1526186" y="1015575"/>
                    </a:lnTo>
                    <a:lnTo>
                      <a:pt x="1537882" y="1016227"/>
                    </a:lnTo>
                    <a:lnTo>
                      <a:pt x="1543739" y="1010379"/>
                    </a:lnTo>
                    <a:lnTo>
                      <a:pt x="1588594" y="1010379"/>
                    </a:lnTo>
                    <a:lnTo>
                      <a:pt x="1591843" y="1008428"/>
                    </a:lnTo>
                    <a:lnTo>
                      <a:pt x="1591201" y="967475"/>
                    </a:lnTo>
                    <a:lnTo>
                      <a:pt x="1592504" y="948614"/>
                    </a:lnTo>
                    <a:lnTo>
                      <a:pt x="1601593" y="935619"/>
                    </a:lnTo>
                    <a:lnTo>
                      <a:pt x="1618503" y="930410"/>
                    </a:lnTo>
                    <a:lnTo>
                      <a:pt x="1632163" y="920009"/>
                    </a:lnTo>
                    <a:lnTo>
                      <a:pt x="1647108" y="905058"/>
                    </a:lnTo>
                    <a:lnTo>
                      <a:pt x="1650358" y="890756"/>
                    </a:lnTo>
                    <a:lnTo>
                      <a:pt x="1654912" y="888153"/>
                    </a:lnTo>
                    <a:lnTo>
                      <a:pt x="1667911" y="873855"/>
                    </a:lnTo>
                    <a:lnTo>
                      <a:pt x="1681571" y="865395"/>
                    </a:lnTo>
                    <a:lnTo>
                      <a:pt x="1690017" y="856298"/>
                    </a:lnTo>
                    <a:lnTo>
                      <a:pt x="1701713" y="851749"/>
                    </a:lnTo>
                    <a:lnTo>
                      <a:pt x="1714069" y="843294"/>
                    </a:lnTo>
                    <a:lnTo>
                      <a:pt x="1715373" y="836799"/>
                    </a:lnTo>
                    <a:lnTo>
                      <a:pt x="1728372" y="810787"/>
                    </a:lnTo>
                    <a:lnTo>
                      <a:pt x="1732282" y="792587"/>
                    </a:lnTo>
                    <a:lnTo>
                      <a:pt x="1743317" y="783485"/>
                    </a:lnTo>
                    <a:lnTo>
                      <a:pt x="1743317" y="770481"/>
                    </a:lnTo>
                    <a:lnTo>
                      <a:pt x="1740068" y="760080"/>
                    </a:lnTo>
                    <a:lnTo>
                      <a:pt x="1743978" y="747076"/>
                    </a:lnTo>
                    <a:lnTo>
                      <a:pt x="1751121" y="741224"/>
                    </a:lnTo>
                    <a:lnTo>
                      <a:pt x="1748531" y="719774"/>
                    </a:lnTo>
                    <a:lnTo>
                      <a:pt x="1754370" y="715220"/>
                    </a:lnTo>
                    <a:lnTo>
                      <a:pt x="1754370" y="708074"/>
                    </a:lnTo>
                    <a:lnTo>
                      <a:pt x="1773887" y="698967"/>
                    </a:lnTo>
                    <a:lnTo>
                      <a:pt x="1781030" y="689865"/>
                    </a:lnTo>
                    <a:lnTo>
                      <a:pt x="1784940" y="690517"/>
                    </a:lnTo>
                    <a:lnTo>
                      <a:pt x="1789476" y="707413"/>
                    </a:lnTo>
                    <a:lnTo>
                      <a:pt x="1782976" y="719774"/>
                    </a:lnTo>
                    <a:lnTo>
                      <a:pt x="1792743" y="723023"/>
                    </a:lnTo>
                    <a:lnTo>
                      <a:pt x="1812242" y="707413"/>
                    </a:lnTo>
                    <a:lnTo>
                      <a:pt x="1820688" y="708074"/>
                    </a:lnTo>
                    <a:lnTo>
                      <a:pt x="1826545" y="704168"/>
                    </a:lnTo>
                    <a:lnTo>
                      <a:pt x="1834991" y="692467"/>
                    </a:lnTo>
                    <a:lnTo>
                      <a:pt x="1840187" y="692467"/>
                    </a:lnTo>
                    <a:lnTo>
                      <a:pt x="1846687" y="683365"/>
                    </a:lnTo>
                    <a:lnTo>
                      <a:pt x="1836937" y="683365"/>
                    </a:lnTo>
                    <a:lnTo>
                      <a:pt x="1827188" y="687267"/>
                    </a:lnTo>
                    <a:lnTo>
                      <a:pt x="1821992" y="695717"/>
                    </a:lnTo>
                    <a:lnTo>
                      <a:pt x="1805743" y="690517"/>
                    </a:lnTo>
                    <a:lnTo>
                      <a:pt x="1804439" y="683365"/>
                    </a:lnTo>
                    <a:lnTo>
                      <a:pt x="1816135" y="664509"/>
                    </a:lnTo>
                    <a:lnTo>
                      <a:pt x="1810296" y="659308"/>
                    </a:lnTo>
                    <a:lnTo>
                      <a:pt x="1812242" y="653460"/>
                    </a:lnTo>
                    <a:lnTo>
                      <a:pt x="1821349" y="658009"/>
                    </a:lnTo>
                    <a:lnTo>
                      <a:pt x="1817438" y="614458"/>
                    </a:lnTo>
                    <a:lnTo>
                      <a:pt x="1823938" y="620301"/>
                    </a:lnTo>
                    <a:lnTo>
                      <a:pt x="1836295" y="625502"/>
                    </a:lnTo>
                    <a:lnTo>
                      <a:pt x="1838902" y="607949"/>
                    </a:lnTo>
                    <a:lnTo>
                      <a:pt x="1846044" y="606650"/>
                    </a:lnTo>
                    <a:lnTo>
                      <a:pt x="1853205" y="598847"/>
                    </a:lnTo>
                    <a:lnTo>
                      <a:pt x="1860347" y="607302"/>
                    </a:lnTo>
                    <a:lnTo>
                      <a:pt x="1870097" y="610552"/>
                    </a:lnTo>
                    <a:lnTo>
                      <a:pt x="1880507" y="605994"/>
                    </a:lnTo>
                    <a:lnTo>
                      <a:pt x="1879203" y="598195"/>
                    </a:lnTo>
                    <a:lnTo>
                      <a:pt x="1884399" y="587799"/>
                    </a:lnTo>
                    <a:lnTo>
                      <a:pt x="1883757" y="579995"/>
                    </a:lnTo>
                    <a:lnTo>
                      <a:pt x="1878560" y="569594"/>
                    </a:lnTo>
                    <a:lnTo>
                      <a:pt x="1879846" y="551390"/>
                    </a:lnTo>
                    <a:lnTo>
                      <a:pt x="1886346" y="543587"/>
                    </a:lnTo>
                    <a:lnTo>
                      <a:pt x="1890256" y="533837"/>
                    </a:lnTo>
                    <a:lnTo>
                      <a:pt x="1888310" y="526039"/>
                    </a:lnTo>
                    <a:lnTo>
                      <a:pt x="1907809" y="513030"/>
                    </a:lnTo>
                    <a:lnTo>
                      <a:pt x="1907809" y="500031"/>
                    </a:lnTo>
                    <a:lnTo>
                      <a:pt x="1912362" y="492880"/>
                    </a:lnTo>
                    <a:lnTo>
                      <a:pt x="1911059" y="474675"/>
                    </a:lnTo>
                    <a:lnTo>
                      <a:pt x="1918862" y="470122"/>
                    </a:lnTo>
                    <a:lnTo>
                      <a:pt x="1934468" y="473376"/>
                    </a:lnTo>
                    <a:lnTo>
                      <a:pt x="1950057" y="468823"/>
                    </a:lnTo>
                    <a:lnTo>
                      <a:pt x="1946807" y="459069"/>
                    </a:lnTo>
                    <a:lnTo>
                      <a:pt x="1936414" y="457127"/>
                    </a:lnTo>
                    <a:lnTo>
                      <a:pt x="1937057" y="446721"/>
                    </a:lnTo>
                    <a:lnTo>
                      <a:pt x="1934468" y="438266"/>
                    </a:lnTo>
                    <a:lnTo>
                      <a:pt x="1954610" y="432419"/>
                    </a:lnTo>
                    <a:lnTo>
                      <a:pt x="1966966" y="409014"/>
                    </a:lnTo>
                    <a:lnTo>
                      <a:pt x="1960467" y="405112"/>
                    </a:lnTo>
                    <a:lnTo>
                      <a:pt x="1950717" y="410313"/>
                    </a:lnTo>
                    <a:lnTo>
                      <a:pt x="1935754" y="409014"/>
                    </a:lnTo>
                    <a:lnTo>
                      <a:pt x="1937718" y="418759"/>
                    </a:lnTo>
                    <a:lnTo>
                      <a:pt x="1922754" y="421361"/>
                    </a:lnTo>
                    <a:lnTo>
                      <a:pt x="1911701" y="416160"/>
                    </a:lnTo>
                    <a:lnTo>
                      <a:pt x="1922754" y="407710"/>
                    </a:lnTo>
                    <a:lnTo>
                      <a:pt x="1903952" y="396871"/>
                    </a:lnTo>
                    <a:lnTo>
                      <a:pt x="1606218" y="399197"/>
                    </a:lnTo>
                    <a:lnTo>
                      <a:pt x="1598593" y="246781"/>
                    </a:lnTo>
                    <a:lnTo>
                      <a:pt x="1537204" y="185396"/>
                    </a:lnTo>
                    <a:lnTo>
                      <a:pt x="1503759" y="166107"/>
                    </a:lnTo>
                    <a:lnTo>
                      <a:pt x="1488099" y="151523"/>
                    </a:lnTo>
                    <a:lnTo>
                      <a:pt x="1533811" y="94370"/>
                    </a:lnTo>
                    <a:lnTo>
                      <a:pt x="1396640" y="6732"/>
                    </a:lnTo>
                    <a:lnTo>
                      <a:pt x="1349892" y="6120"/>
                    </a:lnTo>
                    <a:lnTo>
                      <a:pt x="1071300" y="0"/>
                    </a:lnTo>
                    <a:lnTo>
                      <a:pt x="1065139" y="14352"/>
                    </a:lnTo>
                    <a:lnTo>
                      <a:pt x="998500" y="64336"/>
                    </a:lnTo>
                    <a:lnTo>
                      <a:pt x="982001" y="64220"/>
                    </a:lnTo>
                    <a:lnTo>
                      <a:pt x="963877" y="88397"/>
                    </a:lnTo>
                    <a:lnTo>
                      <a:pt x="963877" y="109244"/>
                    </a:lnTo>
                    <a:lnTo>
                      <a:pt x="970823" y="143992"/>
                    </a:lnTo>
                    <a:lnTo>
                      <a:pt x="908273" y="241290"/>
                    </a:lnTo>
                    <a:lnTo>
                      <a:pt x="797082" y="296890"/>
                    </a:lnTo>
                    <a:lnTo>
                      <a:pt x="678928" y="324688"/>
                    </a:lnTo>
                    <a:lnTo>
                      <a:pt x="678928" y="387238"/>
                    </a:lnTo>
                    <a:lnTo>
                      <a:pt x="581630" y="449788"/>
                    </a:lnTo>
                    <a:lnTo>
                      <a:pt x="505187" y="408085"/>
                    </a:lnTo>
                    <a:lnTo>
                      <a:pt x="414835" y="498433"/>
                    </a:lnTo>
                    <a:lnTo>
                      <a:pt x="261950" y="526235"/>
                    </a:lnTo>
                    <a:lnTo>
                      <a:pt x="85138" y="644099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46247" tIns="18973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2" name="shp_Region_Toledo_$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3BF0100}"/>
                  </a:ext>
                </a:extLst>
              </p:cNvPr>
              <p:cNvSpPr/>
              <p:nvPr/>
            </p:nvSpPr>
            <p:spPr>
              <a:xfrm>
                <a:off x="1909755" y="4712351"/>
                <a:ext cx="25357" cy="1561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5612">
                    <a:moveTo>
                      <a:pt x="8446" y="15611"/>
                    </a:moveTo>
                    <a:lnTo>
                      <a:pt x="25356" y="5200"/>
                    </a:lnTo>
                    <a:lnTo>
                      <a:pt x="24052" y="0"/>
                    </a:lnTo>
                    <a:lnTo>
                      <a:pt x="0" y="14307"/>
                    </a:lnTo>
                    <a:lnTo>
                      <a:pt x="8446" y="15611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3801" tIns="156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" name="shp_Region_Toledo_$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4BF0100}"/>
                  </a:ext>
                </a:extLst>
              </p:cNvPr>
              <p:cNvSpPr/>
              <p:nvPr/>
            </p:nvSpPr>
            <p:spPr>
              <a:xfrm>
                <a:off x="1837598" y="4836532"/>
                <a:ext cx="11697" cy="162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6254">
                    <a:moveTo>
                      <a:pt x="1304" y="0"/>
                    </a:moveTo>
                    <a:lnTo>
                      <a:pt x="0" y="11052"/>
                    </a:lnTo>
                    <a:lnTo>
                      <a:pt x="5839" y="16253"/>
                    </a:lnTo>
                    <a:lnTo>
                      <a:pt x="11696" y="8450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979" tIns="162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4" name="shp_Region_Toledo_$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5BF0100}"/>
                  </a:ext>
                </a:extLst>
              </p:cNvPr>
              <p:cNvSpPr/>
              <p:nvPr/>
            </p:nvSpPr>
            <p:spPr>
              <a:xfrm>
                <a:off x="1392265" y="5282512"/>
                <a:ext cx="11054" cy="17558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7558">
                    <a:moveTo>
                      <a:pt x="7142" y="0"/>
                    </a:moveTo>
                    <a:lnTo>
                      <a:pt x="0" y="17557"/>
                    </a:lnTo>
                    <a:lnTo>
                      <a:pt x="8446" y="13004"/>
                    </a:lnTo>
                    <a:lnTo>
                      <a:pt x="11053" y="4549"/>
                    </a:lnTo>
                    <a:lnTo>
                      <a:pt x="714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5" name="shp_Region_Toledo_$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6BF0100}"/>
                  </a:ext>
                </a:extLst>
              </p:cNvPr>
              <p:cNvSpPr/>
              <p:nvPr/>
            </p:nvSpPr>
            <p:spPr>
              <a:xfrm>
                <a:off x="1365606" y="5310471"/>
                <a:ext cx="2210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22107" h="19504">
                    <a:moveTo>
                      <a:pt x="22106" y="0"/>
                    </a:moveTo>
                    <a:lnTo>
                      <a:pt x="642" y="10401"/>
                    </a:lnTo>
                    <a:lnTo>
                      <a:pt x="0" y="17557"/>
                    </a:lnTo>
                    <a:lnTo>
                      <a:pt x="6499" y="19503"/>
                    </a:lnTo>
                    <a:lnTo>
                      <a:pt x="13642" y="14959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0750" tIns="195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6" name="shp_Region_Toledo_$6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7BF0100}"/>
                  </a:ext>
                </a:extLst>
              </p:cNvPr>
              <p:cNvSpPr/>
              <p:nvPr/>
            </p:nvSpPr>
            <p:spPr>
              <a:xfrm>
                <a:off x="1282396" y="5315020"/>
                <a:ext cx="35106" cy="38360"/>
              </a:xfrm>
              <a:custGeom>
                <a:avLst/>
                <a:gdLst/>
                <a:ahLst/>
                <a:cxnLst/>
                <a:rect l="0" t="0" r="0" b="0"/>
                <a:pathLst>
                  <a:path w="35106" h="38360">
                    <a:moveTo>
                      <a:pt x="32498" y="0"/>
                    </a:moveTo>
                    <a:lnTo>
                      <a:pt x="24695" y="2606"/>
                    </a:lnTo>
                    <a:lnTo>
                      <a:pt x="24052" y="11052"/>
                    </a:lnTo>
                    <a:lnTo>
                      <a:pt x="11053" y="22757"/>
                    </a:lnTo>
                    <a:lnTo>
                      <a:pt x="1946" y="23400"/>
                    </a:lnTo>
                    <a:lnTo>
                      <a:pt x="0" y="32506"/>
                    </a:lnTo>
                    <a:lnTo>
                      <a:pt x="8446" y="38359"/>
                    </a:lnTo>
                    <a:lnTo>
                      <a:pt x="21445" y="24708"/>
                    </a:lnTo>
                    <a:lnTo>
                      <a:pt x="35105" y="29257"/>
                    </a:lnTo>
                    <a:lnTo>
                      <a:pt x="35105" y="11052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2951" tIns="383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8" name="shp_Region_Toledo_$7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8BF0100}"/>
                  </a:ext>
                </a:extLst>
              </p:cNvPr>
              <p:cNvSpPr/>
              <p:nvPr/>
            </p:nvSpPr>
            <p:spPr>
              <a:xfrm>
                <a:off x="1476118" y="5316966"/>
                <a:ext cx="13018" cy="9759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9759">
                    <a:moveTo>
                      <a:pt x="13017" y="0"/>
                    </a:moveTo>
                    <a:lnTo>
                      <a:pt x="0" y="4557"/>
                    </a:lnTo>
                    <a:lnTo>
                      <a:pt x="9106" y="9758"/>
                    </a:lnTo>
                    <a:lnTo>
                      <a:pt x="1301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219" tIns="97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9" name="shp_Region_Toledo_$8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9BF0100}"/>
                  </a:ext>
                </a:extLst>
              </p:cNvPr>
              <p:cNvSpPr/>
              <p:nvPr/>
            </p:nvSpPr>
            <p:spPr>
              <a:xfrm>
                <a:off x="1370159" y="5342978"/>
                <a:ext cx="11054" cy="182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8205">
                    <a:moveTo>
                      <a:pt x="9749" y="0"/>
                    </a:moveTo>
                    <a:lnTo>
                      <a:pt x="4553" y="1299"/>
                    </a:lnTo>
                    <a:lnTo>
                      <a:pt x="0" y="14950"/>
                    </a:lnTo>
                    <a:lnTo>
                      <a:pt x="5839" y="18204"/>
                    </a:lnTo>
                    <a:lnTo>
                      <a:pt x="11053" y="6504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0376" tIns="1820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0" name="shp_Region_Toledo_$9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ABF0100}"/>
                  </a:ext>
                </a:extLst>
              </p:cNvPr>
              <p:cNvSpPr/>
              <p:nvPr/>
            </p:nvSpPr>
            <p:spPr>
              <a:xfrm>
                <a:off x="1262879" y="5370280"/>
                <a:ext cx="9108" cy="11710"/>
              </a:xfrm>
              <a:custGeom>
                <a:avLst/>
                <a:gdLst/>
                <a:ahLst/>
                <a:cxnLst/>
                <a:rect l="0" t="0" r="0" b="0"/>
                <a:pathLst>
                  <a:path w="9108" h="11710">
                    <a:moveTo>
                      <a:pt x="5857" y="0"/>
                    </a:moveTo>
                    <a:lnTo>
                      <a:pt x="0" y="11709"/>
                    </a:lnTo>
                    <a:lnTo>
                      <a:pt x="9107" y="9754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549" tIns="1170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4" name="shp_Region_Toledo_$10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BBF0100}"/>
                  </a:ext>
                </a:extLst>
              </p:cNvPr>
              <p:cNvSpPr/>
              <p:nvPr/>
            </p:nvSpPr>
            <p:spPr>
              <a:xfrm>
                <a:off x="1324001" y="5392386"/>
                <a:ext cx="17553" cy="16906"/>
              </a:xfrm>
              <a:custGeom>
                <a:avLst/>
                <a:gdLst/>
                <a:ahLst/>
                <a:cxnLst/>
                <a:rect l="0" t="0" r="0" b="0"/>
                <a:pathLst>
                  <a:path w="17553" h="16906">
                    <a:moveTo>
                      <a:pt x="0" y="0"/>
                    </a:moveTo>
                    <a:lnTo>
                      <a:pt x="10392" y="8450"/>
                    </a:lnTo>
                    <a:lnTo>
                      <a:pt x="8446" y="16905"/>
                    </a:lnTo>
                    <a:lnTo>
                      <a:pt x="17552" y="16258"/>
                    </a:lnTo>
                    <a:lnTo>
                      <a:pt x="13642" y="8450"/>
                    </a:lnTo>
                    <a:lnTo>
                      <a:pt x="5839" y="12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6476" tIns="169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7" name="shp_Region_Toledo_$1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CBF0100}"/>
                  </a:ext>
                </a:extLst>
              </p:cNvPr>
              <p:cNvSpPr/>
              <p:nvPr/>
            </p:nvSpPr>
            <p:spPr>
              <a:xfrm>
                <a:off x="1238827" y="5393685"/>
                <a:ext cx="13000" cy="19500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19500">
                    <a:moveTo>
                      <a:pt x="4553" y="0"/>
                    </a:moveTo>
                    <a:lnTo>
                      <a:pt x="0" y="9754"/>
                    </a:lnTo>
                    <a:lnTo>
                      <a:pt x="5196" y="19499"/>
                    </a:lnTo>
                    <a:lnTo>
                      <a:pt x="12999" y="7151"/>
                    </a:lnTo>
                    <a:lnTo>
                      <a:pt x="6499" y="7151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2202" tIns="1949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8" name="shp_Region_Toledo_$1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DBF0100}"/>
                  </a:ext>
                </a:extLst>
              </p:cNvPr>
              <p:cNvSpPr/>
              <p:nvPr/>
            </p:nvSpPr>
            <p:spPr>
              <a:xfrm>
                <a:off x="1212828" y="5404090"/>
                <a:ext cx="20804" cy="16251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6251">
                    <a:moveTo>
                      <a:pt x="14946" y="0"/>
                    </a:moveTo>
                    <a:lnTo>
                      <a:pt x="9107" y="5849"/>
                    </a:lnTo>
                    <a:lnTo>
                      <a:pt x="0" y="9094"/>
                    </a:lnTo>
                    <a:lnTo>
                      <a:pt x="11696" y="16250"/>
                    </a:lnTo>
                    <a:lnTo>
                      <a:pt x="20142" y="15602"/>
                    </a:lnTo>
                    <a:lnTo>
                      <a:pt x="20803" y="3893"/>
                    </a:lnTo>
                    <a:lnTo>
                      <a:pt x="14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9527" tIns="1624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9" name="shp_Region_Toledo_$1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EBF0100}"/>
                  </a:ext>
                </a:extLst>
              </p:cNvPr>
              <p:cNvSpPr/>
              <p:nvPr/>
            </p:nvSpPr>
            <p:spPr>
              <a:xfrm>
                <a:off x="1303841" y="5404738"/>
                <a:ext cx="2016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12353">
                    <a:moveTo>
                      <a:pt x="12356" y="0"/>
                    </a:moveTo>
                    <a:lnTo>
                      <a:pt x="0" y="3906"/>
                    </a:lnTo>
                    <a:lnTo>
                      <a:pt x="2607" y="12352"/>
                    </a:lnTo>
                    <a:lnTo>
                      <a:pt x="20160" y="11709"/>
                    </a:lnTo>
                    <a:lnTo>
                      <a:pt x="18856" y="4553"/>
                    </a:lnTo>
                    <a:lnTo>
                      <a:pt x="123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924" tIns="123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30" name="shp_Region_Toledo_$1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2FBF0100}"/>
                  </a:ext>
                </a:extLst>
              </p:cNvPr>
              <p:cNvSpPr/>
              <p:nvPr/>
            </p:nvSpPr>
            <p:spPr>
              <a:xfrm>
                <a:off x="1325304" y="5420340"/>
                <a:ext cx="10393" cy="13656"/>
              </a:xfrm>
              <a:custGeom>
                <a:avLst/>
                <a:gdLst/>
                <a:ahLst/>
                <a:cxnLst/>
                <a:rect l="0" t="0" r="0" b="0"/>
                <a:pathLst>
                  <a:path w="10393" h="13656">
                    <a:moveTo>
                      <a:pt x="5839" y="0"/>
                    </a:moveTo>
                    <a:lnTo>
                      <a:pt x="0" y="5205"/>
                    </a:lnTo>
                    <a:lnTo>
                      <a:pt x="0" y="13655"/>
                    </a:lnTo>
                    <a:lnTo>
                      <a:pt x="10392" y="8455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755" tIns="136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31" name="shp_Region_Toledo_$1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0000000-0008-0000-0C00-000030BF0100}"/>
                  </a:ext>
                </a:extLst>
              </p:cNvPr>
              <p:cNvSpPr/>
              <p:nvPr/>
            </p:nvSpPr>
            <p:spPr>
              <a:xfrm>
                <a:off x="1169920" y="5443745"/>
                <a:ext cx="20803" cy="18857"/>
              </a:xfrm>
              <a:custGeom>
                <a:avLst/>
                <a:gdLst/>
                <a:ahLst/>
                <a:cxnLst/>
                <a:rect l="0" t="0" r="0" b="0"/>
                <a:pathLst>
                  <a:path w="20803" h="18857">
                    <a:moveTo>
                      <a:pt x="20802" y="0"/>
                    </a:moveTo>
                    <a:lnTo>
                      <a:pt x="7803" y="10401"/>
                    </a:lnTo>
                    <a:lnTo>
                      <a:pt x="0" y="11704"/>
                    </a:lnTo>
                    <a:lnTo>
                      <a:pt x="1946" y="18856"/>
                    </a:lnTo>
                    <a:lnTo>
                      <a:pt x="20802" y="3901"/>
                    </a:lnTo>
                    <a:lnTo>
                      <a:pt x="2080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9526" tIns="188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</p:grpSp>
      </p:grpSp>
      <p:grpSp>
        <p:nvGrpSpPr>
          <p:cNvPr id="121" name="shp_Map_OVERALL_RISK">
            <a:extLst>
              <a:ext uri="{FF2B5EF4-FFF2-40B4-BE49-F238E27FC236}">
                <a16:creationId xmlns:a16="http://schemas.microsoft.com/office/drawing/2014/main" id="{EF76B233-8111-45E0-8183-D1CE0F16D6C9}"/>
              </a:ext>
            </a:extLst>
          </p:cNvPr>
          <p:cNvGrpSpPr/>
          <p:nvPr/>
        </p:nvGrpSpPr>
        <p:grpSpPr>
          <a:xfrm>
            <a:off x="6785675" y="1145139"/>
            <a:ext cx="2873483" cy="4641394"/>
            <a:chOff x="0" y="0"/>
            <a:chExt cx="4055820" cy="6096001"/>
          </a:xfrm>
        </p:grpSpPr>
        <p:grpSp>
          <p:nvGrpSpPr>
            <p:cNvPr id="122" name="shp_Region_Belize" descr="Admin1_Id=&quot;BLZ&quot;&#10;Admin1_Label=&quot;Belize&quot;&#10;Admin2_Id=&quot;BLZ.1_1&quot;&#10;Admin2_Label=&quot;Belize&quot;&#10;" title="Belize">
              <a:extLst>
                <a:ext uri="{FF2B5EF4-FFF2-40B4-BE49-F238E27FC236}">
                  <a16:creationId xmlns:a16="http://schemas.microsoft.com/office/drawing/2014/main" id="{0FCD2088-0B46-F834-0CEF-9692CB3D2276}"/>
                </a:ext>
              </a:extLst>
            </p:cNvPr>
            <p:cNvGrpSpPr/>
            <p:nvPr/>
          </p:nvGrpSpPr>
          <p:grpSpPr>
            <a:xfrm>
              <a:off x="1405586" y="1189977"/>
              <a:ext cx="2650234" cy="3466690"/>
              <a:chOff x="1405586" y="1189977"/>
              <a:chExt cx="2650234" cy="3466690"/>
            </a:xfrm>
            <a:solidFill>
              <a:srgbClr val="FF0000"/>
            </a:solidFill>
          </p:grpSpPr>
          <p:sp>
            <p:nvSpPr>
              <p:cNvPr id="174" name="shp_Region_Belize_$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5F9910D4-B668-2E73-35FC-A1E4A979DC7A}"/>
                  </a:ext>
                </a:extLst>
              </p:cNvPr>
              <p:cNvSpPr/>
              <p:nvPr/>
            </p:nvSpPr>
            <p:spPr>
              <a:xfrm>
                <a:off x="1405586" y="1189977"/>
                <a:ext cx="1107495" cy="2041606"/>
              </a:xfrm>
              <a:custGeom>
                <a:avLst/>
                <a:gdLst/>
                <a:ahLst/>
                <a:cxnLst/>
                <a:rect l="0" t="0" r="0" b="0"/>
                <a:pathLst>
                  <a:path w="1107495" h="2041606">
                    <a:moveTo>
                      <a:pt x="747960" y="1986639"/>
                    </a:moveTo>
                    <a:lnTo>
                      <a:pt x="747317" y="1959056"/>
                    </a:lnTo>
                    <a:lnTo>
                      <a:pt x="745370" y="1933053"/>
                    </a:lnTo>
                    <a:lnTo>
                      <a:pt x="745370" y="1894046"/>
                    </a:lnTo>
                    <a:lnTo>
                      <a:pt x="747317" y="1873239"/>
                    </a:lnTo>
                    <a:lnTo>
                      <a:pt x="746674" y="1827737"/>
                    </a:lnTo>
                    <a:lnTo>
                      <a:pt x="747960" y="1819929"/>
                    </a:lnTo>
                    <a:lnTo>
                      <a:pt x="747960" y="1789373"/>
                    </a:lnTo>
                    <a:lnTo>
                      <a:pt x="749924" y="1780922"/>
                    </a:lnTo>
                    <a:lnTo>
                      <a:pt x="747960" y="1749067"/>
                    </a:lnTo>
                    <a:lnTo>
                      <a:pt x="757066" y="1685356"/>
                    </a:lnTo>
                    <a:lnTo>
                      <a:pt x="761620" y="1669750"/>
                    </a:lnTo>
                    <a:lnTo>
                      <a:pt x="764869" y="1641144"/>
                    </a:lnTo>
                    <a:lnTo>
                      <a:pt x="771369" y="1618391"/>
                    </a:lnTo>
                    <a:lnTo>
                      <a:pt x="773976" y="1603441"/>
                    </a:lnTo>
                    <a:lnTo>
                      <a:pt x="782422" y="1580678"/>
                    </a:lnTo>
                    <a:lnTo>
                      <a:pt x="784368" y="1567679"/>
                    </a:lnTo>
                    <a:lnTo>
                      <a:pt x="788922" y="1558581"/>
                    </a:lnTo>
                    <a:lnTo>
                      <a:pt x="791529" y="1546225"/>
                    </a:lnTo>
                    <a:lnTo>
                      <a:pt x="814278" y="1470814"/>
                    </a:lnTo>
                    <a:lnTo>
                      <a:pt x="816885" y="1449360"/>
                    </a:lnTo>
                    <a:lnTo>
                      <a:pt x="820777" y="1439606"/>
                    </a:lnTo>
                    <a:lnTo>
                      <a:pt x="822081" y="1423357"/>
                    </a:lnTo>
                    <a:lnTo>
                      <a:pt x="828580" y="1392148"/>
                    </a:lnTo>
                    <a:lnTo>
                      <a:pt x="840294" y="1364846"/>
                    </a:lnTo>
                    <a:lnTo>
                      <a:pt x="840294" y="1355735"/>
                    </a:lnTo>
                    <a:lnTo>
                      <a:pt x="848079" y="1333638"/>
                    </a:lnTo>
                    <a:lnTo>
                      <a:pt x="850686" y="1321282"/>
                    </a:lnTo>
                    <a:lnTo>
                      <a:pt x="852633" y="1289426"/>
                    </a:lnTo>
                    <a:lnTo>
                      <a:pt x="857186" y="1273177"/>
                    </a:lnTo>
                    <a:lnTo>
                      <a:pt x="859132" y="1254973"/>
                    </a:lnTo>
                    <a:lnTo>
                      <a:pt x="866293" y="1238067"/>
                    </a:lnTo>
                    <a:lnTo>
                      <a:pt x="870846" y="1222461"/>
                    </a:lnTo>
                    <a:lnTo>
                      <a:pt x="879935" y="1202962"/>
                    </a:lnTo>
                    <a:lnTo>
                      <a:pt x="887095" y="1197110"/>
                    </a:lnTo>
                    <a:lnTo>
                      <a:pt x="899451" y="1180856"/>
                    </a:lnTo>
                    <a:lnTo>
                      <a:pt x="900094" y="1176959"/>
                    </a:lnTo>
                    <a:lnTo>
                      <a:pt x="910504" y="1173700"/>
                    </a:lnTo>
                    <a:lnTo>
                      <a:pt x="917004" y="1167857"/>
                    </a:lnTo>
                    <a:lnTo>
                      <a:pt x="930003" y="1167857"/>
                    </a:lnTo>
                    <a:lnTo>
                      <a:pt x="941056" y="1175656"/>
                    </a:lnTo>
                    <a:lnTo>
                      <a:pt x="952109" y="1180209"/>
                    </a:lnTo>
                    <a:lnTo>
                      <a:pt x="957306" y="1186708"/>
                    </a:lnTo>
                    <a:lnTo>
                      <a:pt x="993071" y="1189958"/>
                    </a:lnTo>
                    <a:lnTo>
                      <a:pt x="998910" y="1182807"/>
                    </a:lnTo>
                    <a:lnTo>
                      <a:pt x="1009963" y="1175656"/>
                    </a:lnTo>
                    <a:lnTo>
                      <a:pt x="1023623" y="1174356"/>
                    </a:lnTo>
                    <a:lnTo>
                      <a:pt x="1025570" y="1160054"/>
                    </a:lnTo>
                    <a:lnTo>
                      <a:pt x="1032069" y="1163299"/>
                    </a:lnTo>
                    <a:lnTo>
                      <a:pt x="1036623" y="1157455"/>
                    </a:lnTo>
                    <a:lnTo>
                      <a:pt x="1032730" y="1146402"/>
                    </a:lnTo>
                    <a:lnTo>
                      <a:pt x="1021016" y="1137948"/>
                    </a:lnTo>
                    <a:lnTo>
                      <a:pt x="1019713" y="1130149"/>
                    </a:lnTo>
                    <a:lnTo>
                      <a:pt x="1022963" y="1117797"/>
                    </a:lnTo>
                    <a:lnTo>
                      <a:pt x="1017124" y="1115195"/>
                    </a:lnTo>
                    <a:lnTo>
                      <a:pt x="993714" y="1096343"/>
                    </a:lnTo>
                    <a:lnTo>
                      <a:pt x="985268" y="1103494"/>
                    </a:lnTo>
                    <a:lnTo>
                      <a:pt x="976162" y="1104789"/>
                    </a:lnTo>
                    <a:lnTo>
                      <a:pt x="963162" y="1111293"/>
                    </a:lnTo>
                    <a:lnTo>
                      <a:pt x="940414" y="1103494"/>
                    </a:lnTo>
                    <a:lnTo>
                      <a:pt x="932610" y="1103494"/>
                    </a:lnTo>
                    <a:lnTo>
                      <a:pt x="918950" y="1098294"/>
                    </a:lnTo>
                    <a:lnTo>
                      <a:pt x="912451" y="1089839"/>
                    </a:lnTo>
                    <a:lnTo>
                      <a:pt x="912451" y="1084638"/>
                    </a:lnTo>
                    <a:lnTo>
                      <a:pt x="902701" y="1075540"/>
                    </a:lnTo>
                    <a:lnTo>
                      <a:pt x="904648" y="1064487"/>
                    </a:lnTo>
                    <a:lnTo>
                      <a:pt x="910504" y="1059287"/>
                    </a:lnTo>
                    <a:lnTo>
                      <a:pt x="897505" y="1046930"/>
                    </a:lnTo>
                    <a:lnTo>
                      <a:pt x="894898" y="1051483"/>
                    </a:lnTo>
                    <a:lnTo>
                      <a:pt x="885792" y="1052135"/>
                    </a:lnTo>
                    <a:lnTo>
                      <a:pt x="870846" y="1039779"/>
                    </a:lnTo>
                    <a:lnTo>
                      <a:pt x="833134" y="1030681"/>
                    </a:lnTo>
                    <a:lnTo>
                      <a:pt x="811028" y="1013124"/>
                    </a:lnTo>
                    <a:lnTo>
                      <a:pt x="803225" y="998174"/>
                    </a:lnTo>
                    <a:lnTo>
                      <a:pt x="784368" y="994272"/>
                    </a:lnTo>
                    <a:lnTo>
                      <a:pt x="781119" y="983219"/>
                    </a:lnTo>
                    <a:lnTo>
                      <a:pt x="781119" y="964368"/>
                    </a:lnTo>
                    <a:lnTo>
                      <a:pt x="777869" y="953315"/>
                    </a:lnTo>
                    <a:lnTo>
                      <a:pt x="777226" y="929258"/>
                    </a:lnTo>
                    <a:lnTo>
                      <a:pt x="779833" y="905206"/>
                    </a:lnTo>
                    <a:lnTo>
                      <a:pt x="775922" y="901304"/>
                    </a:lnTo>
                    <a:lnTo>
                      <a:pt x="774619" y="881149"/>
                    </a:lnTo>
                    <a:lnTo>
                      <a:pt x="774619" y="855798"/>
                    </a:lnTo>
                    <a:lnTo>
                      <a:pt x="778529" y="845392"/>
                    </a:lnTo>
                    <a:lnTo>
                      <a:pt x="779172" y="826540"/>
                    </a:lnTo>
                    <a:lnTo>
                      <a:pt x="782422" y="818737"/>
                    </a:lnTo>
                    <a:lnTo>
                      <a:pt x="800635" y="814188"/>
                    </a:lnTo>
                    <a:lnTo>
                      <a:pt x="810385" y="805086"/>
                    </a:lnTo>
                    <a:lnTo>
                      <a:pt x="825331" y="805086"/>
                    </a:lnTo>
                    <a:lnTo>
                      <a:pt x="828580" y="802488"/>
                    </a:lnTo>
                    <a:lnTo>
                      <a:pt x="836383" y="773882"/>
                    </a:lnTo>
                    <a:lnTo>
                      <a:pt x="841580" y="762173"/>
                    </a:lnTo>
                    <a:lnTo>
                      <a:pt x="814278" y="756973"/>
                    </a:lnTo>
                    <a:lnTo>
                      <a:pt x="818831" y="762173"/>
                    </a:lnTo>
                    <a:lnTo>
                      <a:pt x="817527" y="772579"/>
                    </a:lnTo>
                    <a:lnTo>
                      <a:pt x="809724" y="774530"/>
                    </a:lnTo>
                    <a:lnTo>
                      <a:pt x="794136" y="772579"/>
                    </a:lnTo>
                    <a:lnTo>
                      <a:pt x="784368" y="773882"/>
                    </a:lnTo>
                    <a:lnTo>
                      <a:pt x="782422" y="763477"/>
                    </a:lnTo>
                    <a:lnTo>
                      <a:pt x="786975" y="758276"/>
                    </a:lnTo>
                    <a:lnTo>
                      <a:pt x="799332" y="756325"/>
                    </a:lnTo>
                    <a:lnTo>
                      <a:pt x="798671" y="736179"/>
                    </a:lnTo>
                    <a:lnTo>
                      <a:pt x="805171" y="730318"/>
                    </a:lnTo>
                    <a:lnTo>
                      <a:pt x="811028" y="730978"/>
                    </a:lnTo>
                    <a:lnTo>
                      <a:pt x="827937" y="742674"/>
                    </a:lnTo>
                    <a:lnTo>
                      <a:pt x="843544" y="749174"/>
                    </a:lnTo>
                    <a:lnTo>
                      <a:pt x="854597" y="730978"/>
                    </a:lnTo>
                    <a:lnTo>
                      <a:pt x="872149" y="727068"/>
                    </a:lnTo>
                    <a:lnTo>
                      <a:pt x="870846" y="710819"/>
                    </a:lnTo>
                    <a:lnTo>
                      <a:pt x="874739" y="699766"/>
                    </a:lnTo>
                    <a:lnTo>
                      <a:pt x="880595" y="697810"/>
                    </a:lnTo>
                    <a:lnTo>
                      <a:pt x="889702" y="688066"/>
                    </a:lnTo>
                    <a:lnTo>
                      <a:pt x="894898" y="676361"/>
                    </a:lnTo>
                    <a:lnTo>
                      <a:pt x="901398" y="670508"/>
                    </a:lnTo>
                    <a:lnTo>
                      <a:pt x="905951" y="658156"/>
                    </a:lnTo>
                    <a:lnTo>
                      <a:pt x="915058" y="644505"/>
                    </a:lnTo>
                    <a:lnTo>
                      <a:pt x="919593" y="634100"/>
                    </a:lnTo>
                    <a:lnTo>
                      <a:pt x="930003" y="589245"/>
                    </a:lnTo>
                    <a:lnTo>
                      <a:pt x="932610" y="567139"/>
                    </a:lnTo>
                    <a:lnTo>
                      <a:pt x="935200" y="561938"/>
                    </a:lnTo>
                    <a:lnTo>
                      <a:pt x="937807" y="532685"/>
                    </a:lnTo>
                    <a:lnTo>
                      <a:pt x="939753" y="528132"/>
                    </a:lnTo>
                    <a:lnTo>
                      <a:pt x="943663" y="474180"/>
                    </a:lnTo>
                    <a:lnTo>
                      <a:pt x="949502" y="419562"/>
                    </a:lnTo>
                    <a:lnTo>
                      <a:pt x="952752" y="402661"/>
                    </a:lnTo>
                    <a:lnTo>
                      <a:pt x="953413" y="387055"/>
                    </a:lnTo>
                    <a:lnTo>
                      <a:pt x="958609" y="369502"/>
                    </a:lnTo>
                    <a:lnTo>
                      <a:pt x="960555" y="352601"/>
                    </a:lnTo>
                    <a:lnTo>
                      <a:pt x="963805" y="341548"/>
                    </a:lnTo>
                    <a:lnTo>
                      <a:pt x="963805" y="325946"/>
                    </a:lnTo>
                    <a:lnTo>
                      <a:pt x="961216" y="317492"/>
                    </a:lnTo>
                    <a:lnTo>
                      <a:pt x="966412" y="314242"/>
                    </a:lnTo>
                    <a:lnTo>
                      <a:pt x="970305" y="279788"/>
                    </a:lnTo>
                    <a:lnTo>
                      <a:pt x="973555" y="271333"/>
                    </a:lnTo>
                    <a:lnTo>
                      <a:pt x="982661" y="219974"/>
                    </a:lnTo>
                    <a:lnTo>
                      <a:pt x="997607" y="179669"/>
                    </a:lnTo>
                    <a:lnTo>
                      <a:pt x="998910" y="172517"/>
                    </a:lnTo>
                    <a:lnTo>
                      <a:pt x="1011910" y="149759"/>
                    </a:lnTo>
                    <a:lnTo>
                      <a:pt x="1022320" y="141965"/>
                    </a:lnTo>
                    <a:lnTo>
                      <a:pt x="1026213" y="129609"/>
                    </a:lnTo>
                    <a:lnTo>
                      <a:pt x="1032730" y="123756"/>
                    </a:lnTo>
                    <a:lnTo>
                      <a:pt x="1039872" y="122457"/>
                    </a:lnTo>
                    <a:lnTo>
                      <a:pt x="1042479" y="106851"/>
                    </a:lnTo>
                    <a:lnTo>
                      <a:pt x="1047676" y="91249"/>
                    </a:lnTo>
                    <a:lnTo>
                      <a:pt x="1054175" y="80201"/>
                    </a:lnTo>
                    <a:lnTo>
                      <a:pt x="1065871" y="71746"/>
                    </a:lnTo>
                    <a:lnTo>
                      <a:pt x="1081478" y="65246"/>
                    </a:lnTo>
                    <a:lnTo>
                      <a:pt x="1089281" y="59394"/>
                    </a:lnTo>
                    <a:lnTo>
                      <a:pt x="1099030" y="47042"/>
                    </a:lnTo>
                    <a:lnTo>
                      <a:pt x="1100334" y="37944"/>
                    </a:lnTo>
                    <a:lnTo>
                      <a:pt x="1107494" y="32739"/>
                    </a:lnTo>
                    <a:lnTo>
                      <a:pt x="1097084" y="23686"/>
                    </a:lnTo>
                    <a:lnTo>
                      <a:pt x="795850" y="4455"/>
                    </a:lnTo>
                    <a:lnTo>
                      <a:pt x="794868" y="2959"/>
                    </a:lnTo>
                    <a:lnTo>
                      <a:pt x="767244" y="0"/>
                    </a:lnTo>
                    <a:lnTo>
                      <a:pt x="615074" y="44953"/>
                    </a:lnTo>
                    <a:lnTo>
                      <a:pt x="350124" y="115926"/>
                    </a:lnTo>
                    <a:lnTo>
                      <a:pt x="170330" y="153777"/>
                    </a:lnTo>
                    <a:lnTo>
                      <a:pt x="184525" y="205823"/>
                    </a:lnTo>
                    <a:lnTo>
                      <a:pt x="146670" y="224746"/>
                    </a:lnTo>
                    <a:lnTo>
                      <a:pt x="146670" y="617453"/>
                    </a:lnTo>
                    <a:lnTo>
                      <a:pt x="179793" y="650572"/>
                    </a:lnTo>
                    <a:lnTo>
                      <a:pt x="141938" y="683695"/>
                    </a:lnTo>
                    <a:lnTo>
                      <a:pt x="47318" y="712082"/>
                    </a:lnTo>
                    <a:lnTo>
                      <a:pt x="9463" y="764128"/>
                    </a:lnTo>
                    <a:lnTo>
                      <a:pt x="0" y="901335"/>
                    </a:lnTo>
                    <a:lnTo>
                      <a:pt x="10195" y="1115400"/>
                    </a:lnTo>
                    <a:lnTo>
                      <a:pt x="12945" y="1115444"/>
                    </a:lnTo>
                    <a:lnTo>
                      <a:pt x="9463" y="1185222"/>
                    </a:lnTo>
                    <a:lnTo>
                      <a:pt x="7285" y="1186369"/>
                    </a:lnTo>
                    <a:lnTo>
                      <a:pt x="80424" y="1208877"/>
                    </a:lnTo>
                    <a:lnTo>
                      <a:pt x="123011" y="1133176"/>
                    </a:lnTo>
                    <a:lnTo>
                      <a:pt x="146670" y="1450181"/>
                    </a:lnTo>
                    <a:lnTo>
                      <a:pt x="160866" y="1729331"/>
                    </a:lnTo>
                    <a:lnTo>
                      <a:pt x="188829" y="1807407"/>
                    </a:lnTo>
                    <a:lnTo>
                      <a:pt x="164616" y="1855485"/>
                    </a:lnTo>
                    <a:lnTo>
                      <a:pt x="164634" y="1888180"/>
                    </a:lnTo>
                    <a:lnTo>
                      <a:pt x="166991" y="1918549"/>
                    </a:lnTo>
                    <a:lnTo>
                      <a:pt x="176312" y="1951243"/>
                    </a:lnTo>
                    <a:lnTo>
                      <a:pt x="176329" y="1983943"/>
                    </a:lnTo>
                    <a:lnTo>
                      <a:pt x="169366" y="1995621"/>
                    </a:lnTo>
                    <a:lnTo>
                      <a:pt x="157723" y="2009651"/>
                    </a:lnTo>
                    <a:lnTo>
                      <a:pt x="136814" y="2028355"/>
                    </a:lnTo>
                    <a:lnTo>
                      <a:pt x="130332" y="2037471"/>
                    </a:lnTo>
                    <a:lnTo>
                      <a:pt x="137207" y="2036873"/>
                    </a:lnTo>
                    <a:lnTo>
                      <a:pt x="380890" y="2036873"/>
                    </a:lnTo>
                    <a:lnTo>
                      <a:pt x="379694" y="2037440"/>
                    </a:lnTo>
                    <a:lnTo>
                      <a:pt x="667125" y="2041605"/>
                    </a:lnTo>
                    <a:lnTo>
                      <a:pt x="747960" y="198663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7495" tIns="20416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75" name="shp_Region_Belize_$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D9BC06F-CA2E-045E-5D0C-816F9728DCD1}"/>
                  </a:ext>
                </a:extLst>
              </p:cNvPr>
              <p:cNvSpPr/>
              <p:nvPr/>
            </p:nvSpPr>
            <p:spPr>
              <a:xfrm>
                <a:off x="2775066" y="1640747"/>
                <a:ext cx="46820" cy="158631"/>
              </a:xfrm>
              <a:custGeom>
                <a:avLst/>
                <a:gdLst/>
                <a:ahLst/>
                <a:cxnLst/>
                <a:rect l="0" t="0" r="0" b="0"/>
                <a:pathLst>
                  <a:path w="46820" h="158631">
                    <a:moveTo>
                      <a:pt x="45515" y="0"/>
                    </a:moveTo>
                    <a:lnTo>
                      <a:pt x="40319" y="1951"/>
                    </a:lnTo>
                    <a:lnTo>
                      <a:pt x="39016" y="11700"/>
                    </a:lnTo>
                    <a:lnTo>
                      <a:pt x="29909" y="19504"/>
                    </a:lnTo>
                    <a:lnTo>
                      <a:pt x="29909" y="32503"/>
                    </a:lnTo>
                    <a:lnTo>
                      <a:pt x="20802" y="48109"/>
                    </a:lnTo>
                    <a:lnTo>
                      <a:pt x="21463" y="70211"/>
                    </a:lnTo>
                    <a:lnTo>
                      <a:pt x="15606" y="89067"/>
                    </a:lnTo>
                    <a:lnTo>
                      <a:pt x="29266" y="100120"/>
                    </a:lnTo>
                    <a:lnTo>
                      <a:pt x="31213" y="114427"/>
                    </a:lnTo>
                    <a:lnTo>
                      <a:pt x="26659" y="126775"/>
                    </a:lnTo>
                    <a:lnTo>
                      <a:pt x="21463" y="132627"/>
                    </a:lnTo>
                    <a:lnTo>
                      <a:pt x="13660" y="126775"/>
                    </a:lnTo>
                    <a:lnTo>
                      <a:pt x="7160" y="126775"/>
                    </a:lnTo>
                    <a:lnTo>
                      <a:pt x="1964" y="133274"/>
                    </a:lnTo>
                    <a:lnTo>
                      <a:pt x="0" y="158630"/>
                    </a:lnTo>
                    <a:lnTo>
                      <a:pt x="15606" y="157327"/>
                    </a:lnTo>
                    <a:lnTo>
                      <a:pt x="24713" y="150175"/>
                    </a:lnTo>
                    <a:lnTo>
                      <a:pt x="35105" y="126123"/>
                    </a:lnTo>
                    <a:lnTo>
                      <a:pt x="35105" y="108570"/>
                    </a:lnTo>
                    <a:lnTo>
                      <a:pt x="31213" y="86460"/>
                    </a:lnTo>
                    <a:lnTo>
                      <a:pt x="31213" y="55908"/>
                    </a:lnTo>
                    <a:lnTo>
                      <a:pt x="40319" y="22102"/>
                    </a:lnTo>
                    <a:lnTo>
                      <a:pt x="46819" y="8451"/>
                    </a:lnTo>
                    <a:lnTo>
                      <a:pt x="4551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20" tIns="15863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76" name="shp_Region_Belize_$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C9DB278-18A2-5310-667D-C8CB8B3C5B58}"/>
                  </a:ext>
                </a:extLst>
              </p:cNvPr>
              <p:cNvSpPr/>
              <p:nvPr/>
            </p:nvSpPr>
            <p:spPr>
              <a:xfrm>
                <a:off x="2388890" y="1820179"/>
                <a:ext cx="250952" cy="185286"/>
              </a:xfrm>
              <a:custGeom>
                <a:avLst/>
                <a:gdLst/>
                <a:ahLst/>
                <a:cxnLst/>
                <a:rect l="0" t="0" r="0" b="0"/>
                <a:pathLst>
                  <a:path w="250952" h="185286">
                    <a:moveTo>
                      <a:pt x="141082" y="161233"/>
                    </a:moveTo>
                    <a:lnTo>
                      <a:pt x="145635" y="154729"/>
                    </a:lnTo>
                    <a:lnTo>
                      <a:pt x="136529" y="147577"/>
                    </a:lnTo>
                    <a:lnTo>
                      <a:pt x="125476" y="145631"/>
                    </a:lnTo>
                    <a:lnTo>
                      <a:pt x="136529" y="135230"/>
                    </a:lnTo>
                    <a:lnTo>
                      <a:pt x="143028" y="124824"/>
                    </a:lnTo>
                    <a:lnTo>
                      <a:pt x="144992" y="116374"/>
                    </a:lnTo>
                    <a:lnTo>
                      <a:pt x="156688" y="104669"/>
                    </a:lnTo>
                    <a:lnTo>
                      <a:pt x="172937" y="96866"/>
                    </a:lnTo>
                    <a:lnTo>
                      <a:pt x="182687" y="89067"/>
                    </a:lnTo>
                    <a:lnTo>
                      <a:pt x="189847" y="76068"/>
                    </a:lnTo>
                    <a:lnTo>
                      <a:pt x="200900" y="71514"/>
                    </a:lnTo>
                    <a:lnTo>
                      <a:pt x="213899" y="50060"/>
                    </a:lnTo>
                    <a:lnTo>
                      <a:pt x="230149" y="44860"/>
                    </a:lnTo>
                    <a:lnTo>
                      <a:pt x="237952" y="37056"/>
                    </a:lnTo>
                    <a:lnTo>
                      <a:pt x="249005" y="31856"/>
                    </a:lnTo>
                    <a:lnTo>
                      <a:pt x="250951" y="13004"/>
                    </a:lnTo>
                    <a:lnTo>
                      <a:pt x="249005" y="3898"/>
                    </a:lnTo>
                    <a:lnTo>
                      <a:pt x="242505" y="0"/>
                    </a:lnTo>
                    <a:lnTo>
                      <a:pt x="234059" y="5853"/>
                    </a:lnTo>
                    <a:lnTo>
                      <a:pt x="235363" y="14303"/>
                    </a:lnTo>
                    <a:lnTo>
                      <a:pt x="228845" y="25356"/>
                    </a:lnTo>
                    <a:lnTo>
                      <a:pt x="223649" y="27307"/>
                    </a:lnTo>
                    <a:lnTo>
                      <a:pt x="203489" y="56560"/>
                    </a:lnTo>
                    <a:lnTo>
                      <a:pt x="180741" y="68912"/>
                    </a:lnTo>
                    <a:lnTo>
                      <a:pt x="162545" y="75416"/>
                    </a:lnTo>
                    <a:lnTo>
                      <a:pt x="144992" y="77367"/>
                    </a:lnTo>
                    <a:lnTo>
                      <a:pt x="143689" y="94924"/>
                    </a:lnTo>
                    <a:lnTo>
                      <a:pt x="139778" y="99464"/>
                    </a:lnTo>
                    <a:lnTo>
                      <a:pt x="128083" y="100776"/>
                    </a:lnTo>
                    <a:lnTo>
                      <a:pt x="124833" y="96866"/>
                    </a:lnTo>
                    <a:lnTo>
                      <a:pt x="113137" y="92969"/>
                    </a:lnTo>
                    <a:lnTo>
                      <a:pt x="96227" y="102071"/>
                    </a:lnTo>
                    <a:lnTo>
                      <a:pt x="79978" y="128074"/>
                    </a:lnTo>
                    <a:lnTo>
                      <a:pt x="74121" y="139779"/>
                    </a:lnTo>
                    <a:lnTo>
                      <a:pt x="64372" y="153425"/>
                    </a:lnTo>
                    <a:lnTo>
                      <a:pt x="52676" y="162532"/>
                    </a:lnTo>
                    <a:lnTo>
                      <a:pt x="37070" y="170982"/>
                    </a:lnTo>
                    <a:lnTo>
                      <a:pt x="29266" y="165782"/>
                    </a:lnTo>
                    <a:lnTo>
                      <a:pt x="29266" y="149528"/>
                    </a:lnTo>
                    <a:lnTo>
                      <a:pt x="18856" y="148881"/>
                    </a:lnTo>
                    <a:lnTo>
                      <a:pt x="11714" y="163184"/>
                    </a:lnTo>
                    <a:lnTo>
                      <a:pt x="1304" y="168384"/>
                    </a:lnTo>
                    <a:lnTo>
                      <a:pt x="0" y="176835"/>
                    </a:lnTo>
                    <a:lnTo>
                      <a:pt x="8464" y="179437"/>
                    </a:lnTo>
                    <a:lnTo>
                      <a:pt x="9767" y="172286"/>
                    </a:lnTo>
                    <a:lnTo>
                      <a:pt x="22106" y="170335"/>
                    </a:lnTo>
                    <a:lnTo>
                      <a:pt x="24070" y="182687"/>
                    </a:lnTo>
                    <a:lnTo>
                      <a:pt x="37070" y="185285"/>
                    </a:lnTo>
                    <a:lnTo>
                      <a:pt x="38373" y="177486"/>
                    </a:lnTo>
                    <a:lnTo>
                      <a:pt x="49426" y="172933"/>
                    </a:lnTo>
                    <a:lnTo>
                      <a:pt x="68264" y="172286"/>
                    </a:lnTo>
                    <a:lnTo>
                      <a:pt x="77371" y="174884"/>
                    </a:lnTo>
                    <a:lnTo>
                      <a:pt x="83871" y="167733"/>
                    </a:lnTo>
                    <a:lnTo>
                      <a:pt x="77371" y="163826"/>
                    </a:lnTo>
                    <a:lnTo>
                      <a:pt x="72818" y="170335"/>
                    </a:lnTo>
                    <a:lnTo>
                      <a:pt x="62425" y="163184"/>
                    </a:lnTo>
                    <a:lnTo>
                      <a:pt x="66318" y="150827"/>
                    </a:lnTo>
                    <a:lnTo>
                      <a:pt x="72818" y="150180"/>
                    </a:lnTo>
                    <a:lnTo>
                      <a:pt x="80621" y="139127"/>
                    </a:lnTo>
                    <a:lnTo>
                      <a:pt x="89728" y="136529"/>
                    </a:lnTo>
                    <a:lnTo>
                      <a:pt x="97531" y="122873"/>
                    </a:lnTo>
                    <a:lnTo>
                      <a:pt x="98174" y="114423"/>
                    </a:lnTo>
                    <a:lnTo>
                      <a:pt x="110530" y="112472"/>
                    </a:lnTo>
                    <a:lnTo>
                      <a:pt x="113137" y="98174"/>
                    </a:lnTo>
                    <a:lnTo>
                      <a:pt x="118976" y="100776"/>
                    </a:lnTo>
                    <a:lnTo>
                      <a:pt x="126779" y="116374"/>
                    </a:lnTo>
                    <a:lnTo>
                      <a:pt x="137832" y="112472"/>
                    </a:lnTo>
                    <a:lnTo>
                      <a:pt x="141082" y="121570"/>
                    </a:lnTo>
                    <a:lnTo>
                      <a:pt x="134582" y="125476"/>
                    </a:lnTo>
                    <a:lnTo>
                      <a:pt x="131975" y="133275"/>
                    </a:lnTo>
                    <a:lnTo>
                      <a:pt x="118976" y="131324"/>
                    </a:lnTo>
                    <a:lnTo>
                      <a:pt x="113780" y="139127"/>
                    </a:lnTo>
                    <a:lnTo>
                      <a:pt x="103388" y="144328"/>
                    </a:lnTo>
                    <a:lnTo>
                      <a:pt x="102084" y="152778"/>
                    </a:lnTo>
                    <a:lnTo>
                      <a:pt x="118976" y="154082"/>
                    </a:lnTo>
                    <a:lnTo>
                      <a:pt x="128725" y="157983"/>
                    </a:lnTo>
                    <a:lnTo>
                      <a:pt x="134582" y="156680"/>
                    </a:lnTo>
                    <a:lnTo>
                      <a:pt x="141082" y="161233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0952" tIns="18528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77" name="shp_Region_Belize_$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609CC71-411B-7DD8-F2E9-6A35DC58CD46}"/>
                  </a:ext>
                </a:extLst>
              </p:cNvPr>
              <p:cNvSpPr/>
              <p:nvPr/>
            </p:nvSpPr>
            <p:spPr>
              <a:xfrm>
                <a:off x="2760763" y="1835781"/>
                <a:ext cx="11715" cy="57213"/>
              </a:xfrm>
              <a:custGeom>
                <a:avLst/>
                <a:gdLst/>
                <a:ahLst/>
                <a:cxnLst/>
                <a:rect l="0" t="0" r="0" b="0"/>
                <a:pathLst>
                  <a:path w="11715" h="57213">
                    <a:moveTo>
                      <a:pt x="11714" y="0"/>
                    </a:moveTo>
                    <a:lnTo>
                      <a:pt x="5857" y="15611"/>
                    </a:lnTo>
                    <a:lnTo>
                      <a:pt x="4553" y="26655"/>
                    </a:lnTo>
                    <a:lnTo>
                      <a:pt x="0" y="37708"/>
                    </a:lnTo>
                    <a:lnTo>
                      <a:pt x="1964" y="57212"/>
                    </a:lnTo>
                    <a:lnTo>
                      <a:pt x="9768" y="53962"/>
                    </a:lnTo>
                    <a:lnTo>
                      <a:pt x="11714" y="48761"/>
                    </a:lnTo>
                    <a:lnTo>
                      <a:pt x="1171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715" tIns="5721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78" name="shp_Region_Belize_$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D96CE0E-D823-CD94-2AEA-BFD848C5C5F2}"/>
                  </a:ext>
                </a:extLst>
              </p:cNvPr>
              <p:cNvSpPr/>
              <p:nvPr/>
            </p:nvSpPr>
            <p:spPr>
              <a:xfrm>
                <a:off x="2534525" y="1982711"/>
                <a:ext cx="11697" cy="110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1054">
                    <a:moveTo>
                      <a:pt x="5857" y="0"/>
                    </a:moveTo>
                    <a:lnTo>
                      <a:pt x="0" y="3901"/>
                    </a:lnTo>
                    <a:lnTo>
                      <a:pt x="5857" y="11053"/>
                    </a:lnTo>
                    <a:lnTo>
                      <a:pt x="11696" y="3250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10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79" name="shp_Region_Belize_$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201068F-DBD8-422E-C642-CBC2DC97E32C}"/>
                  </a:ext>
                </a:extLst>
              </p:cNvPr>
              <p:cNvSpPr/>
              <p:nvPr/>
            </p:nvSpPr>
            <p:spPr>
              <a:xfrm>
                <a:off x="2550132" y="1987912"/>
                <a:ext cx="55908" cy="43561"/>
              </a:xfrm>
              <a:custGeom>
                <a:avLst/>
                <a:gdLst/>
                <a:ahLst/>
                <a:cxnLst/>
                <a:rect l="0" t="0" r="0" b="0"/>
                <a:pathLst>
                  <a:path w="55908" h="43561">
                    <a:moveTo>
                      <a:pt x="3249" y="0"/>
                    </a:moveTo>
                    <a:lnTo>
                      <a:pt x="1303" y="4553"/>
                    </a:lnTo>
                    <a:lnTo>
                      <a:pt x="0" y="26659"/>
                    </a:lnTo>
                    <a:lnTo>
                      <a:pt x="16909" y="22748"/>
                    </a:lnTo>
                    <a:lnTo>
                      <a:pt x="31855" y="24704"/>
                    </a:lnTo>
                    <a:lnTo>
                      <a:pt x="42247" y="43560"/>
                    </a:lnTo>
                    <a:lnTo>
                      <a:pt x="55907" y="42908"/>
                    </a:lnTo>
                    <a:lnTo>
                      <a:pt x="44854" y="18204"/>
                    </a:lnTo>
                    <a:lnTo>
                      <a:pt x="41604" y="15601"/>
                    </a:lnTo>
                    <a:lnTo>
                      <a:pt x="29248" y="16253"/>
                    </a:lnTo>
                    <a:lnTo>
                      <a:pt x="14945" y="13651"/>
                    </a:lnTo>
                    <a:lnTo>
                      <a:pt x="8446" y="9102"/>
                    </a:lnTo>
                    <a:lnTo>
                      <a:pt x="32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5908" tIns="4356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0" name="shp_Region_Belize_$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2BDA2B9-4FC1-84B7-A671-6B1E2E6E4A8A}"/>
                  </a:ext>
                </a:extLst>
              </p:cNvPr>
              <p:cNvSpPr/>
              <p:nvPr/>
            </p:nvSpPr>
            <p:spPr>
              <a:xfrm>
                <a:off x="2696409" y="1996362"/>
                <a:ext cx="20804" cy="4876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48762">
                    <a:moveTo>
                      <a:pt x="16910" y="0"/>
                    </a:moveTo>
                    <a:lnTo>
                      <a:pt x="5857" y="5201"/>
                    </a:lnTo>
                    <a:lnTo>
                      <a:pt x="4554" y="18209"/>
                    </a:lnTo>
                    <a:lnTo>
                      <a:pt x="643" y="26655"/>
                    </a:lnTo>
                    <a:lnTo>
                      <a:pt x="0" y="44859"/>
                    </a:lnTo>
                    <a:lnTo>
                      <a:pt x="3893" y="48761"/>
                    </a:lnTo>
                    <a:lnTo>
                      <a:pt x="12357" y="42908"/>
                    </a:lnTo>
                    <a:lnTo>
                      <a:pt x="14946" y="20811"/>
                    </a:lnTo>
                    <a:lnTo>
                      <a:pt x="20803" y="15611"/>
                    </a:lnTo>
                    <a:lnTo>
                      <a:pt x="1691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4876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1" name="shp_Region_Belize_$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726DCAE9-1A94-AD89-02A4-0379CA559D6F}"/>
                  </a:ext>
                </a:extLst>
              </p:cNvPr>
              <p:cNvSpPr/>
              <p:nvPr/>
            </p:nvSpPr>
            <p:spPr>
              <a:xfrm>
                <a:off x="2617092" y="2033423"/>
                <a:ext cx="71515" cy="117021"/>
              </a:xfrm>
              <a:custGeom>
                <a:avLst/>
                <a:gdLst/>
                <a:ahLst/>
                <a:cxnLst/>
                <a:rect l="0" t="0" r="0" b="0"/>
                <a:pathLst>
                  <a:path w="71515" h="117021">
                    <a:moveTo>
                      <a:pt x="54604" y="112471"/>
                    </a:moveTo>
                    <a:lnTo>
                      <a:pt x="63068" y="117020"/>
                    </a:lnTo>
                    <a:lnTo>
                      <a:pt x="67622" y="113118"/>
                    </a:lnTo>
                    <a:lnTo>
                      <a:pt x="63711" y="106623"/>
                    </a:lnTo>
                    <a:lnTo>
                      <a:pt x="66318" y="96218"/>
                    </a:lnTo>
                    <a:lnTo>
                      <a:pt x="63068" y="89066"/>
                    </a:lnTo>
                    <a:lnTo>
                      <a:pt x="71514" y="81263"/>
                    </a:lnTo>
                    <a:lnTo>
                      <a:pt x="59158" y="62411"/>
                    </a:lnTo>
                    <a:lnTo>
                      <a:pt x="66961" y="50059"/>
                    </a:lnTo>
                    <a:lnTo>
                      <a:pt x="62408" y="44859"/>
                    </a:lnTo>
                    <a:lnTo>
                      <a:pt x="58515" y="19503"/>
                    </a:lnTo>
                    <a:lnTo>
                      <a:pt x="50712" y="15606"/>
                    </a:lnTo>
                    <a:lnTo>
                      <a:pt x="33159" y="1299"/>
                    </a:lnTo>
                    <a:lnTo>
                      <a:pt x="17553" y="3249"/>
                    </a:lnTo>
                    <a:lnTo>
                      <a:pt x="14303" y="0"/>
                    </a:lnTo>
                    <a:lnTo>
                      <a:pt x="1304" y="1299"/>
                    </a:lnTo>
                    <a:lnTo>
                      <a:pt x="0" y="5847"/>
                    </a:lnTo>
                    <a:lnTo>
                      <a:pt x="11053" y="11700"/>
                    </a:lnTo>
                    <a:lnTo>
                      <a:pt x="13660" y="17552"/>
                    </a:lnTo>
                    <a:lnTo>
                      <a:pt x="33802" y="39654"/>
                    </a:lnTo>
                    <a:lnTo>
                      <a:pt x="31213" y="50707"/>
                    </a:lnTo>
                    <a:lnTo>
                      <a:pt x="42266" y="62411"/>
                    </a:lnTo>
                    <a:lnTo>
                      <a:pt x="44212" y="72165"/>
                    </a:lnTo>
                    <a:lnTo>
                      <a:pt x="53319" y="71509"/>
                    </a:lnTo>
                    <a:lnTo>
                      <a:pt x="54604" y="76714"/>
                    </a:lnTo>
                    <a:lnTo>
                      <a:pt x="47462" y="86464"/>
                    </a:lnTo>
                    <a:lnTo>
                      <a:pt x="47462" y="93615"/>
                    </a:lnTo>
                    <a:lnTo>
                      <a:pt x="41605" y="100762"/>
                    </a:lnTo>
                    <a:lnTo>
                      <a:pt x="54604" y="11247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515" tIns="11702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2" name="shp_Region_Belize_$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F00A8BD-3EA2-A440-5D6A-0EBEA5016E4D}"/>
                  </a:ext>
                </a:extLst>
              </p:cNvPr>
              <p:cNvSpPr/>
              <p:nvPr/>
            </p:nvSpPr>
            <p:spPr>
              <a:xfrm>
                <a:off x="2210114" y="2052926"/>
                <a:ext cx="20804" cy="1365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3652">
                    <a:moveTo>
                      <a:pt x="6500" y="0"/>
                    </a:moveTo>
                    <a:lnTo>
                      <a:pt x="0" y="6500"/>
                    </a:lnTo>
                    <a:lnTo>
                      <a:pt x="8446" y="13651"/>
                    </a:lnTo>
                    <a:lnTo>
                      <a:pt x="17553" y="12352"/>
                    </a:lnTo>
                    <a:lnTo>
                      <a:pt x="20803" y="3902"/>
                    </a:lnTo>
                    <a:lnTo>
                      <a:pt x="6500" y="5848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136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3" name="shp_Region_Belize_$1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A960B52-6D6A-5666-F549-CD3A4EC81C34}"/>
                  </a:ext>
                </a:extLst>
              </p:cNvPr>
              <p:cNvSpPr/>
              <p:nvPr/>
            </p:nvSpPr>
            <p:spPr>
              <a:xfrm>
                <a:off x="2197758" y="2074380"/>
                <a:ext cx="13000" cy="26656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26656">
                    <a:moveTo>
                      <a:pt x="9106" y="0"/>
                    </a:moveTo>
                    <a:lnTo>
                      <a:pt x="8463" y="12352"/>
                    </a:lnTo>
                    <a:lnTo>
                      <a:pt x="0" y="26003"/>
                    </a:lnTo>
                    <a:lnTo>
                      <a:pt x="12356" y="26655"/>
                    </a:lnTo>
                    <a:lnTo>
                      <a:pt x="12999" y="13651"/>
                    </a:lnTo>
                    <a:lnTo>
                      <a:pt x="9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0" tIns="266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4" name="shp_Region_Belize_$1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0920D6D-035A-FC5E-641B-C6AD8637591D}"/>
                  </a:ext>
                </a:extLst>
              </p:cNvPr>
              <p:cNvSpPr/>
              <p:nvPr/>
            </p:nvSpPr>
            <p:spPr>
              <a:xfrm>
                <a:off x="2377855" y="2149791"/>
                <a:ext cx="18839" cy="21451"/>
              </a:xfrm>
              <a:custGeom>
                <a:avLst/>
                <a:gdLst/>
                <a:ahLst/>
                <a:cxnLst/>
                <a:rect l="0" t="0" r="0" b="0"/>
                <a:pathLst>
                  <a:path w="18839" h="21451">
                    <a:moveTo>
                      <a:pt x="18195" y="0"/>
                    </a:moveTo>
                    <a:lnTo>
                      <a:pt x="5839" y="1304"/>
                    </a:lnTo>
                    <a:lnTo>
                      <a:pt x="5839" y="11049"/>
                    </a:lnTo>
                    <a:lnTo>
                      <a:pt x="0" y="14303"/>
                    </a:lnTo>
                    <a:lnTo>
                      <a:pt x="3893" y="21450"/>
                    </a:lnTo>
                    <a:lnTo>
                      <a:pt x="11035" y="14303"/>
                    </a:lnTo>
                    <a:lnTo>
                      <a:pt x="18838" y="12352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839" tIns="214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5" name="shp_Region_Belize_$1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E0DE274-6532-CAF9-AB1A-751DCCE4170B}"/>
                  </a:ext>
                </a:extLst>
              </p:cNvPr>
              <p:cNvSpPr/>
              <p:nvPr/>
            </p:nvSpPr>
            <p:spPr>
              <a:xfrm>
                <a:off x="2676910" y="2153046"/>
                <a:ext cx="24054" cy="24705"/>
              </a:xfrm>
              <a:custGeom>
                <a:avLst/>
                <a:gdLst/>
                <a:ahLst/>
                <a:cxnLst/>
                <a:rect l="0" t="0" r="0" b="0"/>
                <a:pathLst>
                  <a:path w="24054" h="24705">
                    <a:moveTo>
                      <a:pt x="15589" y="0"/>
                    </a:moveTo>
                    <a:lnTo>
                      <a:pt x="1286" y="647"/>
                    </a:lnTo>
                    <a:lnTo>
                      <a:pt x="0" y="16253"/>
                    </a:lnTo>
                    <a:lnTo>
                      <a:pt x="10393" y="16253"/>
                    </a:lnTo>
                    <a:lnTo>
                      <a:pt x="18196" y="24704"/>
                    </a:lnTo>
                    <a:lnTo>
                      <a:pt x="24053" y="12352"/>
                    </a:lnTo>
                    <a:lnTo>
                      <a:pt x="1558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054" tIns="247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6" name="shp_Region_Belize_$1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62B313E-6F6C-7B9D-332F-3CFFAED972B1}"/>
                  </a:ext>
                </a:extLst>
              </p:cNvPr>
              <p:cNvSpPr/>
              <p:nvPr/>
            </p:nvSpPr>
            <p:spPr>
              <a:xfrm>
                <a:off x="2294627" y="2162143"/>
                <a:ext cx="21464" cy="21456"/>
              </a:xfrm>
              <a:custGeom>
                <a:avLst/>
                <a:gdLst/>
                <a:ahLst/>
                <a:cxnLst/>
                <a:rect l="0" t="0" r="0" b="0"/>
                <a:pathLst>
                  <a:path w="21464" h="21456">
                    <a:moveTo>
                      <a:pt x="21463" y="0"/>
                    </a:moveTo>
                    <a:lnTo>
                      <a:pt x="9107" y="2603"/>
                    </a:lnTo>
                    <a:lnTo>
                      <a:pt x="3250" y="9098"/>
                    </a:lnTo>
                    <a:lnTo>
                      <a:pt x="0" y="18205"/>
                    </a:lnTo>
                    <a:lnTo>
                      <a:pt x="9750" y="21455"/>
                    </a:lnTo>
                    <a:lnTo>
                      <a:pt x="11053" y="13004"/>
                    </a:lnTo>
                    <a:lnTo>
                      <a:pt x="20160" y="6500"/>
                    </a:lnTo>
                    <a:lnTo>
                      <a:pt x="2146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64" tIns="214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7" name="shp_Region_Belize_$1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1F66890-DBFD-4781-925E-C6AF7AA75080}"/>
                  </a:ext>
                </a:extLst>
              </p:cNvPr>
              <p:cNvSpPr/>
              <p:nvPr/>
            </p:nvSpPr>
            <p:spPr>
              <a:xfrm>
                <a:off x="2449369" y="2171893"/>
                <a:ext cx="21446" cy="29263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3">
                    <a:moveTo>
                      <a:pt x="18195" y="0"/>
                    </a:moveTo>
                    <a:lnTo>
                      <a:pt x="9750" y="1303"/>
                    </a:lnTo>
                    <a:lnTo>
                      <a:pt x="6500" y="13008"/>
                    </a:lnTo>
                    <a:lnTo>
                      <a:pt x="0" y="18856"/>
                    </a:lnTo>
                    <a:lnTo>
                      <a:pt x="0" y="25360"/>
                    </a:lnTo>
                    <a:lnTo>
                      <a:pt x="5839" y="29262"/>
                    </a:lnTo>
                    <a:lnTo>
                      <a:pt x="11696" y="20807"/>
                    </a:lnTo>
                    <a:lnTo>
                      <a:pt x="21445" y="15606"/>
                    </a:lnTo>
                    <a:lnTo>
                      <a:pt x="21445" y="5205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292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8" name="shp_Region_Belize_$1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3F40FB0-7195-E660-4CE8-423F08232D8F}"/>
                  </a:ext>
                </a:extLst>
              </p:cNvPr>
              <p:cNvSpPr/>
              <p:nvPr/>
            </p:nvSpPr>
            <p:spPr>
              <a:xfrm>
                <a:off x="2685356" y="2189450"/>
                <a:ext cx="16911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11706">
                    <a:moveTo>
                      <a:pt x="11053" y="0"/>
                    </a:moveTo>
                    <a:lnTo>
                      <a:pt x="0" y="5201"/>
                    </a:lnTo>
                    <a:lnTo>
                      <a:pt x="16910" y="11705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911" tIns="117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89" name="shp_Region_Belize_$1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F9D0114-D2C3-4F72-0C27-7E62213C16A3}"/>
                  </a:ext>
                </a:extLst>
              </p:cNvPr>
              <p:cNvSpPr/>
              <p:nvPr/>
            </p:nvSpPr>
            <p:spPr>
              <a:xfrm>
                <a:off x="2437012" y="2200503"/>
                <a:ext cx="11054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27303">
                    <a:moveTo>
                      <a:pt x="11053" y="0"/>
                    </a:moveTo>
                    <a:lnTo>
                      <a:pt x="7143" y="9107"/>
                    </a:lnTo>
                    <a:lnTo>
                      <a:pt x="0" y="14954"/>
                    </a:lnTo>
                    <a:lnTo>
                      <a:pt x="0" y="27302"/>
                    </a:lnTo>
                    <a:lnTo>
                      <a:pt x="9089" y="240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27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0" name="shp_Region_Belize_$1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E157B7B-5CED-8F6E-83CF-76D22F72B61B}"/>
                  </a:ext>
                </a:extLst>
              </p:cNvPr>
              <p:cNvSpPr/>
              <p:nvPr/>
            </p:nvSpPr>
            <p:spPr>
              <a:xfrm>
                <a:off x="3007161" y="2223256"/>
                <a:ext cx="416728" cy="598764"/>
              </a:xfrm>
              <a:custGeom>
                <a:avLst/>
                <a:gdLst/>
                <a:ahLst/>
                <a:cxnLst/>
                <a:rect l="0" t="0" r="0" b="0"/>
                <a:pathLst>
                  <a:path w="416728" h="598764">
                    <a:moveTo>
                      <a:pt x="298412" y="24704"/>
                    </a:moveTo>
                    <a:lnTo>
                      <a:pt x="295163" y="39663"/>
                    </a:lnTo>
                    <a:lnTo>
                      <a:pt x="288002" y="46810"/>
                    </a:lnTo>
                    <a:lnTo>
                      <a:pt x="278253" y="50712"/>
                    </a:lnTo>
                    <a:lnTo>
                      <a:pt x="269807" y="66309"/>
                    </a:lnTo>
                    <a:lnTo>
                      <a:pt x="268503" y="84518"/>
                    </a:lnTo>
                    <a:lnTo>
                      <a:pt x="260057" y="98165"/>
                    </a:lnTo>
                    <a:lnTo>
                      <a:pt x="278913" y="88420"/>
                    </a:lnTo>
                    <a:lnTo>
                      <a:pt x="278913" y="80616"/>
                    </a:lnTo>
                    <a:lnTo>
                      <a:pt x="282806" y="70215"/>
                    </a:lnTo>
                    <a:lnTo>
                      <a:pt x="284752" y="57211"/>
                    </a:lnTo>
                    <a:lnTo>
                      <a:pt x="295163" y="54613"/>
                    </a:lnTo>
                    <a:lnTo>
                      <a:pt x="294520" y="45516"/>
                    </a:lnTo>
                    <a:lnTo>
                      <a:pt x="299055" y="40958"/>
                    </a:lnTo>
                    <a:lnTo>
                      <a:pt x="306215" y="42909"/>
                    </a:lnTo>
                    <a:lnTo>
                      <a:pt x="311412" y="50712"/>
                    </a:lnTo>
                    <a:lnTo>
                      <a:pt x="328321" y="50060"/>
                    </a:lnTo>
                    <a:lnTo>
                      <a:pt x="331571" y="53310"/>
                    </a:lnTo>
                    <a:lnTo>
                      <a:pt x="331571" y="66309"/>
                    </a:lnTo>
                    <a:lnTo>
                      <a:pt x="324411" y="75416"/>
                    </a:lnTo>
                    <a:lnTo>
                      <a:pt x="325072" y="91018"/>
                    </a:lnTo>
                    <a:lnTo>
                      <a:pt x="345213" y="91018"/>
                    </a:lnTo>
                    <a:lnTo>
                      <a:pt x="345213" y="102071"/>
                    </a:lnTo>
                    <a:lnTo>
                      <a:pt x="348481" y="111173"/>
                    </a:lnTo>
                    <a:lnTo>
                      <a:pt x="330268" y="116373"/>
                    </a:lnTo>
                    <a:lnTo>
                      <a:pt x="315965" y="115074"/>
                    </a:lnTo>
                    <a:lnTo>
                      <a:pt x="312072" y="121574"/>
                    </a:lnTo>
                    <a:lnTo>
                      <a:pt x="302966" y="128725"/>
                    </a:lnTo>
                    <a:lnTo>
                      <a:pt x="288002" y="128074"/>
                    </a:lnTo>
                    <a:lnTo>
                      <a:pt x="284752" y="139778"/>
                    </a:lnTo>
                    <a:lnTo>
                      <a:pt x="274360" y="148881"/>
                    </a:lnTo>
                    <a:lnTo>
                      <a:pt x="280217" y="160581"/>
                    </a:lnTo>
                    <a:lnTo>
                      <a:pt x="286717" y="164482"/>
                    </a:lnTo>
                    <a:lnTo>
                      <a:pt x="284752" y="178133"/>
                    </a:lnTo>
                    <a:lnTo>
                      <a:pt x="278253" y="185937"/>
                    </a:lnTo>
                    <a:lnTo>
                      <a:pt x="270449" y="190485"/>
                    </a:lnTo>
                    <a:lnTo>
                      <a:pt x="258111" y="188535"/>
                    </a:lnTo>
                    <a:lnTo>
                      <a:pt x="241201" y="199583"/>
                    </a:lnTo>
                    <a:lnTo>
                      <a:pt x="230148" y="199583"/>
                    </a:lnTo>
                    <a:lnTo>
                      <a:pt x="228845" y="208043"/>
                    </a:lnTo>
                    <a:lnTo>
                      <a:pt x="209346" y="216493"/>
                    </a:lnTo>
                    <a:lnTo>
                      <a:pt x="167080" y="221042"/>
                    </a:lnTo>
                    <a:lnTo>
                      <a:pt x="157991" y="214542"/>
                    </a:lnTo>
                    <a:lnTo>
                      <a:pt x="170991" y="189182"/>
                    </a:lnTo>
                    <a:lnTo>
                      <a:pt x="200900" y="174232"/>
                    </a:lnTo>
                    <a:lnTo>
                      <a:pt x="196989" y="158630"/>
                    </a:lnTo>
                    <a:lnTo>
                      <a:pt x="208042" y="146278"/>
                    </a:lnTo>
                    <a:lnTo>
                      <a:pt x="200900" y="145631"/>
                    </a:lnTo>
                    <a:lnTo>
                      <a:pt x="191793" y="159282"/>
                    </a:lnTo>
                    <a:lnTo>
                      <a:pt x="182044" y="157331"/>
                    </a:lnTo>
                    <a:lnTo>
                      <a:pt x="175544" y="161233"/>
                    </a:lnTo>
                    <a:lnTo>
                      <a:pt x="168384" y="171634"/>
                    </a:lnTo>
                    <a:lnTo>
                      <a:pt x="162545" y="175535"/>
                    </a:lnTo>
                    <a:lnTo>
                      <a:pt x="157331" y="194383"/>
                    </a:lnTo>
                    <a:lnTo>
                      <a:pt x="146278" y="201538"/>
                    </a:lnTo>
                    <a:lnTo>
                      <a:pt x="137189" y="213243"/>
                    </a:lnTo>
                    <a:lnTo>
                      <a:pt x="137189" y="219743"/>
                    </a:lnTo>
                    <a:lnTo>
                      <a:pt x="124832" y="244447"/>
                    </a:lnTo>
                    <a:lnTo>
                      <a:pt x="107923" y="256799"/>
                    </a:lnTo>
                    <a:lnTo>
                      <a:pt x="107280" y="267852"/>
                    </a:lnTo>
                    <a:lnTo>
                      <a:pt x="100780" y="289306"/>
                    </a:lnTo>
                    <a:lnTo>
                      <a:pt x="92316" y="297757"/>
                    </a:lnTo>
                    <a:lnTo>
                      <a:pt x="87120" y="308158"/>
                    </a:lnTo>
                    <a:lnTo>
                      <a:pt x="81924" y="310760"/>
                    </a:lnTo>
                    <a:lnTo>
                      <a:pt x="64371" y="334813"/>
                    </a:lnTo>
                    <a:lnTo>
                      <a:pt x="59175" y="349763"/>
                    </a:lnTo>
                    <a:lnTo>
                      <a:pt x="46819" y="364070"/>
                    </a:lnTo>
                    <a:lnTo>
                      <a:pt x="46819" y="371873"/>
                    </a:lnTo>
                    <a:lnTo>
                      <a:pt x="37069" y="380975"/>
                    </a:lnTo>
                    <a:lnTo>
                      <a:pt x="36408" y="390725"/>
                    </a:lnTo>
                    <a:lnTo>
                      <a:pt x="43569" y="401126"/>
                    </a:lnTo>
                    <a:lnTo>
                      <a:pt x="34462" y="412831"/>
                    </a:lnTo>
                    <a:lnTo>
                      <a:pt x="40319" y="422585"/>
                    </a:lnTo>
                    <a:lnTo>
                      <a:pt x="40319" y="431682"/>
                    </a:lnTo>
                    <a:lnTo>
                      <a:pt x="44212" y="442084"/>
                    </a:lnTo>
                    <a:lnTo>
                      <a:pt x="57871" y="441436"/>
                    </a:lnTo>
                    <a:lnTo>
                      <a:pt x="55925" y="452485"/>
                    </a:lnTo>
                    <a:lnTo>
                      <a:pt x="70228" y="451842"/>
                    </a:lnTo>
                    <a:lnTo>
                      <a:pt x="75424" y="462239"/>
                    </a:lnTo>
                    <a:lnTo>
                      <a:pt x="72174" y="470689"/>
                    </a:lnTo>
                    <a:lnTo>
                      <a:pt x="59175" y="477836"/>
                    </a:lnTo>
                    <a:lnTo>
                      <a:pt x="51372" y="475238"/>
                    </a:lnTo>
                    <a:lnTo>
                      <a:pt x="50068" y="464190"/>
                    </a:lnTo>
                    <a:lnTo>
                      <a:pt x="44872" y="464841"/>
                    </a:lnTo>
                    <a:lnTo>
                      <a:pt x="44872" y="478497"/>
                    </a:lnTo>
                    <a:lnTo>
                      <a:pt x="50068" y="488242"/>
                    </a:lnTo>
                    <a:lnTo>
                      <a:pt x="42265" y="501246"/>
                    </a:lnTo>
                    <a:lnTo>
                      <a:pt x="43569" y="508397"/>
                    </a:lnTo>
                    <a:lnTo>
                      <a:pt x="34462" y="509696"/>
                    </a:lnTo>
                    <a:lnTo>
                      <a:pt x="28605" y="522700"/>
                    </a:lnTo>
                    <a:lnTo>
                      <a:pt x="28605" y="531798"/>
                    </a:lnTo>
                    <a:lnTo>
                      <a:pt x="20159" y="534400"/>
                    </a:lnTo>
                    <a:lnTo>
                      <a:pt x="21463" y="544154"/>
                    </a:lnTo>
                    <a:lnTo>
                      <a:pt x="12356" y="544154"/>
                    </a:lnTo>
                    <a:lnTo>
                      <a:pt x="6499" y="555207"/>
                    </a:lnTo>
                    <a:lnTo>
                      <a:pt x="12356" y="561707"/>
                    </a:lnTo>
                    <a:lnTo>
                      <a:pt x="12356" y="576010"/>
                    </a:lnTo>
                    <a:lnTo>
                      <a:pt x="660" y="579907"/>
                    </a:lnTo>
                    <a:lnTo>
                      <a:pt x="0" y="589665"/>
                    </a:lnTo>
                    <a:lnTo>
                      <a:pt x="4553" y="598763"/>
                    </a:lnTo>
                    <a:lnTo>
                      <a:pt x="11053" y="595513"/>
                    </a:lnTo>
                    <a:lnTo>
                      <a:pt x="21463" y="596165"/>
                    </a:lnTo>
                    <a:lnTo>
                      <a:pt x="24052" y="589013"/>
                    </a:lnTo>
                    <a:lnTo>
                      <a:pt x="41622" y="594214"/>
                    </a:lnTo>
                    <a:lnTo>
                      <a:pt x="50068" y="594214"/>
                    </a:lnTo>
                    <a:lnTo>
                      <a:pt x="38355" y="573411"/>
                    </a:lnTo>
                    <a:lnTo>
                      <a:pt x="27320" y="574715"/>
                    </a:lnTo>
                    <a:lnTo>
                      <a:pt x="22766" y="562358"/>
                    </a:lnTo>
                    <a:lnTo>
                      <a:pt x="25355" y="559756"/>
                    </a:lnTo>
                    <a:lnTo>
                      <a:pt x="38355" y="563010"/>
                    </a:lnTo>
                    <a:lnTo>
                      <a:pt x="42908" y="559756"/>
                    </a:lnTo>
                    <a:lnTo>
                      <a:pt x="39658" y="550658"/>
                    </a:lnTo>
                    <a:lnTo>
                      <a:pt x="42908" y="545458"/>
                    </a:lnTo>
                    <a:lnTo>
                      <a:pt x="42908" y="528552"/>
                    </a:lnTo>
                    <a:lnTo>
                      <a:pt x="48765" y="524003"/>
                    </a:lnTo>
                    <a:lnTo>
                      <a:pt x="48765" y="512299"/>
                    </a:lnTo>
                    <a:lnTo>
                      <a:pt x="53318" y="509696"/>
                    </a:lnTo>
                    <a:lnTo>
                      <a:pt x="59175" y="497344"/>
                    </a:lnTo>
                    <a:lnTo>
                      <a:pt x="61121" y="487595"/>
                    </a:lnTo>
                    <a:lnTo>
                      <a:pt x="68264" y="483698"/>
                    </a:lnTo>
                    <a:lnTo>
                      <a:pt x="79978" y="490193"/>
                    </a:lnTo>
                    <a:lnTo>
                      <a:pt x="79317" y="478497"/>
                    </a:lnTo>
                    <a:lnTo>
                      <a:pt x="85174" y="473939"/>
                    </a:lnTo>
                    <a:lnTo>
                      <a:pt x="87120" y="459641"/>
                    </a:lnTo>
                    <a:lnTo>
                      <a:pt x="98816" y="445333"/>
                    </a:lnTo>
                    <a:lnTo>
                      <a:pt x="102084" y="431035"/>
                    </a:lnTo>
                    <a:lnTo>
                      <a:pt x="98173" y="415429"/>
                    </a:lnTo>
                    <a:lnTo>
                      <a:pt x="89727" y="406978"/>
                    </a:lnTo>
                    <a:lnTo>
                      <a:pt x="98173" y="397876"/>
                    </a:lnTo>
                    <a:lnTo>
                      <a:pt x="107280" y="381618"/>
                    </a:lnTo>
                    <a:lnTo>
                      <a:pt x="105333" y="376417"/>
                    </a:lnTo>
                    <a:lnTo>
                      <a:pt x="95566" y="371221"/>
                    </a:lnTo>
                    <a:lnTo>
                      <a:pt x="89066" y="362119"/>
                    </a:lnTo>
                    <a:lnTo>
                      <a:pt x="89727" y="345866"/>
                    </a:lnTo>
                    <a:lnTo>
                      <a:pt x="102726" y="330264"/>
                    </a:lnTo>
                    <a:lnTo>
                      <a:pt x="108583" y="308810"/>
                    </a:lnTo>
                    <a:lnTo>
                      <a:pt x="105976" y="297757"/>
                    </a:lnTo>
                    <a:lnTo>
                      <a:pt x="107923" y="289958"/>
                    </a:lnTo>
                    <a:lnTo>
                      <a:pt x="119636" y="286056"/>
                    </a:lnTo>
                    <a:lnTo>
                      <a:pt x="124832" y="280200"/>
                    </a:lnTo>
                    <a:lnTo>
                      <a:pt x="143028" y="279552"/>
                    </a:lnTo>
                    <a:lnTo>
                      <a:pt x="150831" y="282802"/>
                    </a:lnTo>
                    <a:lnTo>
                      <a:pt x="154081" y="293203"/>
                    </a:lnTo>
                    <a:lnTo>
                      <a:pt x="160580" y="293203"/>
                    </a:lnTo>
                    <a:lnTo>
                      <a:pt x="169687" y="279552"/>
                    </a:lnTo>
                    <a:lnTo>
                      <a:pt x="167080" y="258098"/>
                    </a:lnTo>
                    <a:lnTo>
                      <a:pt x="174883" y="261348"/>
                    </a:lnTo>
                    <a:lnTo>
                      <a:pt x="182044" y="252250"/>
                    </a:lnTo>
                    <a:lnTo>
                      <a:pt x="195043" y="254201"/>
                    </a:lnTo>
                    <a:lnTo>
                      <a:pt x="205453" y="246398"/>
                    </a:lnTo>
                    <a:lnTo>
                      <a:pt x="204792" y="241197"/>
                    </a:lnTo>
                    <a:lnTo>
                      <a:pt x="216506" y="235996"/>
                    </a:lnTo>
                    <a:lnTo>
                      <a:pt x="222345" y="243148"/>
                    </a:lnTo>
                    <a:lnTo>
                      <a:pt x="219756" y="249648"/>
                    </a:lnTo>
                    <a:lnTo>
                      <a:pt x="209988" y="252250"/>
                    </a:lnTo>
                    <a:lnTo>
                      <a:pt x="205453" y="257451"/>
                    </a:lnTo>
                    <a:lnTo>
                      <a:pt x="215845" y="271102"/>
                    </a:lnTo>
                    <a:lnTo>
                      <a:pt x="218452" y="284105"/>
                    </a:lnTo>
                    <a:lnTo>
                      <a:pt x="216506" y="295158"/>
                    </a:lnTo>
                    <a:lnTo>
                      <a:pt x="226898" y="293203"/>
                    </a:lnTo>
                    <a:lnTo>
                      <a:pt x="246397" y="296462"/>
                    </a:lnTo>
                    <a:lnTo>
                      <a:pt x="261361" y="285400"/>
                    </a:lnTo>
                    <a:lnTo>
                      <a:pt x="261361" y="280200"/>
                    </a:lnTo>
                    <a:lnTo>
                      <a:pt x="273057" y="267205"/>
                    </a:lnTo>
                    <a:lnTo>
                      <a:pt x="286056" y="262651"/>
                    </a:lnTo>
                    <a:lnTo>
                      <a:pt x="294520" y="252250"/>
                    </a:lnTo>
                    <a:lnTo>
                      <a:pt x="302966" y="249648"/>
                    </a:lnTo>
                    <a:lnTo>
                      <a:pt x="304912" y="241849"/>
                    </a:lnTo>
                    <a:lnTo>
                      <a:pt x="302305" y="235349"/>
                    </a:lnTo>
                    <a:lnTo>
                      <a:pt x="304269" y="213891"/>
                    </a:lnTo>
                    <a:lnTo>
                      <a:pt x="310769" y="206092"/>
                    </a:lnTo>
                    <a:lnTo>
                      <a:pt x="312072" y="195686"/>
                    </a:lnTo>
                    <a:lnTo>
                      <a:pt x="319875" y="180084"/>
                    </a:lnTo>
                    <a:lnTo>
                      <a:pt x="325714" y="174232"/>
                    </a:lnTo>
                    <a:lnTo>
                      <a:pt x="333518" y="156679"/>
                    </a:lnTo>
                    <a:lnTo>
                      <a:pt x="338714" y="150831"/>
                    </a:lnTo>
                    <a:lnTo>
                      <a:pt x="366033" y="135221"/>
                    </a:lnTo>
                    <a:lnTo>
                      <a:pt x="361480" y="131332"/>
                    </a:lnTo>
                    <a:lnTo>
                      <a:pt x="362123" y="122226"/>
                    </a:lnTo>
                    <a:lnTo>
                      <a:pt x="367319" y="118324"/>
                    </a:lnTo>
                    <a:lnTo>
                      <a:pt x="375783" y="118971"/>
                    </a:lnTo>
                    <a:lnTo>
                      <a:pt x="382925" y="112472"/>
                    </a:lnTo>
                    <a:lnTo>
                      <a:pt x="393336" y="111825"/>
                    </a:lnTo>
                    <a:lnTo>
                      <a:pt x="401139" y="102722"/>
                    </a:lnTo>
                    <a:lnTo>
                      <a:pt x="414781" y="101419"/>
                    </a:lnTo>
                    <a:lnTo>
                      <a:pt x="416727" y="91018"/>
                    </a:lnTo>
                    <a:lnTo>
                      <a:pt x="410228" y="85817"/>
                    </a:lnTo>
                    <a:lnTo>
                      <a:pt x="400478" y="94919"/>
                    </a:lnTo>
                    <a:lnTo>
                      <a:pt x="390086" y="98165"/>
                    </a:lnTo>
                    <a:lnTo>
                      <a:pt x="381622" y="104669"/>
                    </a:lnTo>
                    <a:lnTo>
                      <a:pt x="380979" y="92317"/>
                    </a:lnTo>
                    <a:lnTo>
                      <a:pt x="372533" y="87116"/>
                    </a:lnTo>
                    <a:lnTo>
                      <a:pt x="357570" y="89067"/>
                    </a:lnTo>
                    <a:lnTo>
                      <a:pt x="342624" y="76710"/>
                    </a:lnTo>
                    <a:lnTo>
                      <a:pt x="338714" y="67613"/>
                    </a:lnTo>
                    <a:lnTo>
                      <a:pt x="349767" y="65662"/>
                    </a:lnTo>
                    <a:lnTo>
                      <a:pt x="354320" y="59814"/>
                    </a:lnTo>
                    <a:lnTo>
                      <a:pt x="356927" y="48109"/>
                    </a:lnTo>
                    <a:lnTo>
                      <a:pt x="363427" y="42261"/>
                    </a:lnTo>
                    <a:lnTo>
                      <a:pt x="371873" y="41609"/>
                    </a:lnTo>
                    <a:lnTo>
                      <a:pt x="371230" y="32507"/>
                    </a:lnTo>
                    <a:lnTo>
                      <a:pt x="362784" y="30557"/>
                    </a:lnTo>
                    <a:lnTo>
                      <a:pt x="359516" y="37056"/>
                    </a:lnTo>
                    <a:lnTo>
                      <a:pt x="348481" y="44203"/>
                    </a:lnTo>
                    <a:lnTo>
                      <a:pt x="336124" y="47462"/>
                    </a:lnTo>
                    <a:lnTo>
                      <a:pt x="324411" y="46810"/>
                    </a:lnTo>
                    <a:lnTo>
                      <a:pt x="317911" y="34458"/>
                    </a:lnTo>
                    <a:lnTo>
                      <a:pt x="323768" y="28606"/>
                    </a:lnTo>
                    <a:lnTo>
                      <a:pt x="322464" y="16906"/>
                    </a:lnTo>
                    <a:lnTo>
                      <a:pt x="313358" y="17553"/>
                    </a:lnTo>
                    <a:lnTo>
                      <a:pt x="305572" y="13651"/>
                    </a:lnTo>
                    <a:lnTo>
                      <a:pt x="302966" y="1947"/>
                    </a:lnTo>
                    <a:lnTo>
                      <a:pt x="295163" y="0"/>
                    </a:lnTo>
                    <a:lnTo>
                      <a:pt x="298412" y="24704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16728" tIns="59876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1" name="shp_Region_Belize_$1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FC1696B-B460-51D4-EEF7-D00BE1887850}"/>
                  </a:ext>
                </a:extLst>
              </p:cNvPr>
              <p:cNvSpPr/>
              <p:nvPr/>
            </p:nvSpPr>
            <p:spPr>
              <a:xfrm>
                <a:off x="2425960" y="2229756"/>
                <a:ext cx="31195" cy="39017"/>
              </a:xfrm>
              <a:custGeom>
                <a:avLst/>
                <a:gdLst/>
                <a:ahLst/>
                <a:cxnLst/>
                <a:rect l="0" t="0" r="0" b="0"/>
                <a:pathLst>
                  <a:path w="31195" h="39017">
                    <a:moveTo>
                      <a:pt x="9749" y="0"/>
                    </a:moveTo>
                    <a:lnTo>
                      <a:pt x="5196" y="4553"/>
                    </a:lnTo>
                    <a:lnTo>
                      <a:pt x="9749" y="11704"/>
                    </a:lnTo>
                    <a:lnTo>
                      <a:pt x="8445" y="18204"/>
                    </a:lnTo>
                    <a:lnTo>
                      <a:pt x="0" y="26659"/>
                    </a:lnTo>
                    <a:lnTo>
                      <a:pt x="6499" y="37703"/>
                    </a:lnTo>
                    <a:lnTo>
                      <a:pt x="18195" y="39016"/>
                    </a:lnTo>
                    <a:lnTo>
                      <a:pt x="29248" y="29257"/>
                    </a:lnTo>
                    <a:lnTo>
                      <a:pt x="31194" y="18856"/>
                    </a:lnTo>
                    <a:lnTo>
                      <a:pt x="25998" y="15606"/>
                    </a:lnTo>
                    <a:lnTo>
                      <a:pt x="21445" y="2602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1195" tIns="390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2" name="shp_Region_Belize_$1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F05156F-888B-6460-F5B7-4FC0A997C564}"/>
                  </a:ext>
                </a:extLst>
              </p:cNvPr>
              <p:cNvSpPr/>
              <p:nvPr/>
            </p:nvSpPr>
            <p:spPr>
              <a:xfrm>
                <a:off x="2587844" y="2266816"/>
                <a:ext cx="133261" cy="183991"/>
              </a:xfrm>
              <a:custGeom>
                <a:avLst/>
                <a:gdLst/>
                <a:ahLst/>
                <a:cxnLst/>
                <a:rect l="0" t="0" r="0" b="0"/>
                <a:pathLst>
                  <a:path w="133261" h="183991">
                    <a:moveTo>
                      <a:pt x="98816" y="183339"/>
                    </a:moveTo>
                    <a:lnTo>
                      <a:pt x="106619" y="177482"/>
                    </a:lnTo>
                    <a:lnTo>
                      <a:pt x="118315" y="176835"/>
                    </a:lnTo>
                    <a:lnTo>
                      <a:pt x="124815" y="180084"/>
                    </a:lnTo>
                    <a:lnTo>
                      <a:pt x="131975" y="172933"/>
                    </a:lnTo>
                    <a:lnTo>
                      <a:pt x="133260" y="154077"/>
                    </a:lnTo>
                    <a:lnTo>
                      <a:pt x="126118" y="158630"/>
                    </a:lnTo>
                    <a:lnTo>
                      <a:pt x="118315" y="169031"/>
                    </a:lnTo>
                    <a:lnTo>
                      <a:pt x="105316" y="143676"/>
                    </a:lnTo>
                    <a:lnTo>
                      <a:pt x="106619" y="126775"/>
                    </a:lnTo>
                    <a:lnTo>
                      <a:pt x="109869" y="117021"/>
                    </a:lnTo>
                    <a:lnTo>
                      <a:pt x="115065" y="113771"/>
                    </a:lnTo>
                    <a:lnTo>
                      <a:pt x="114422" y="104017"/>
                    </a:lnTo>
                    <a:lnTo>
                      <a:pt x="122208" y="102071"/>
                    </a:lnTo>
                    <a:lnTo>
                      <a:pt x="130011" y="92973"/>
                    </a:lnTo>
                    <a:lnTo>
                      <a:pt x="133260" y="81916"/>
                    </a:lnTo>
                    <a:lnTo>
                      <a:pt x="125475" y="72162"/>
                    </a:lnTo>
                    <a:lnTo>
                      <a:pt x="98816" y="61109"/>
                    </a:lnTo>
                    <a:lnTo>
                      <a:pt x="77353" y="42257"/>
                    </a:lnTo>
                    <a:lnTo>
                      <a:pt x="57211" y="17553"/>
                    </a:lnTo>
                    <a:lnTo>
                      <a:pt x="39658" y="16254"/>
                    </a:lnTo>
                    <a:lnTo>
                      <a:pt x="27302" y="0"/>
                    </a:lnTo>
                    <a:lnTo>
                      <a:pt x="12338" y="13651"/>
                    </a:lnTo>
                    <a:lnTo>
                      <a:pt x="3892" y="15602"/>
                    </a:lnTo>
                    <a:lnTo>
                      <a:pt x="0" y="32503"/>
                    </a:lnTo>
                    <a:lnTo>
                      <a:pt x="12338" y="49404"/>
                    </a:lnTo>
                    <a:lnTo>
                      <a:pt x="24695" y="55265"/>
                    </a:lnTo>
                    <a:lnTo>
                      <a:pt x="24695" y="66314"/>
                    </a:lnTo>
                    <a:lnTo>
                      <a:pt x="31195" y="72813"/>
                    </a:lnTo>
                    <a:lnTo>
                      <a:pt x="40944" y="75411"/>
                    </a:lnTo>
                    <a:lnTo>
                      <a:pt x="52658" y="82563"/>
                    </a:lnTo>
                    <a:lnTo>
                      <a:pt x="62407" y="84514"/>
                    </a:lnTo>
                    <a:lnTo>
                      <a:pt x="73460" y="74112"/>
                    </a:lnTo>
                    <a:lnTo>
                      <a:pt x="81906" y="76715"/>
                    </a:lnTo>
                    <a:lnTo>
                      <a:pt x="73460" y="83866"/>
                    </a:lnTo>
                    <a:lnTo>
                      <a:pt x="74103" y="89714"/>
                    </a:lnTo>
                    <a:lnTo>
                      <a:pt x="63050" y="98174"/>
                    </a:lnTo>
                    <a:lnTo>
                      <a:pt x="64353" y="105968"/>
                    </a:lnTo>
                    <a:lnTo>
                      <a:pt x="70210" y="106620"/>
                    </a:lnTo>
                    <a:lnTo>
                      <a:pt x="65657" y="120922"/>
                    </a:lnTo>
                    <a:lnTo>
                      <a:pt x="71514" y="131975"/>
                    </a:lnTo>
                    <a:lnTo>
                      <a:pt x="72799" y="152778"/>
                    </a:lnTo>
                    <a:lnTo>
                      <a:pt x="79299" y="156023"/>
                    </a:lnTo>
                    <a:lnTo>
                      <a:pt x="84513" y="169031"/>
                    </a:lnTo>
                    <a:lnTo>
                      <a:pt x="92959" y="171634"/>
                    </a:lnTo>
                    <a:lnTo>
                      <a:pt x="87763" y="178134"/>
                    </a:lnTo>
                    <a:lnTo>
                      <a:pt x="89066" y="183990"/>
                    </a:lnTo>
                    <a:lnTo>
                      <a:pt x="98816" y="18333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3261" tIns="18399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3" name="shp_Region_Belize_$2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D275E85-F299-184A-3521-49DBA1096CA0}"/>
                  </a:ext>
                </a:extLst>
              </p:cNvPr>
              <p:cNvSpPr/>
              <p:nvPr/>
            </p:nvSpPr>
            <p:spPr>
              <a:xfrm>
                <a:off x="2487724" y="2287619"/>
                <a:ext cx="44856" cy="42909"/>
              </a:xfrm>
              <a:custGeom>
                <a:avLst/>
                <a:gdLst/>
                <a:ahLst/>
                <a:cxnLst/>
                <a:rect l="0" t="0" r="0" b="0"/>
                <a:pathLst>
                  <a:path w="44856" h="42909">
                    <a:moveTo>
                      <a:pt x="34445" y="0"/>
                    </a:moveTo>
                    <a:lnTo>
                      <a:pt x="0" y="652"/>
                    </a:lnTo>
                    <a:lnTo>
                      <a:pt x="0" y="5852"/>
                    </a:lnTo>
                    <a:lnTo>
                      <a:pt x="23392" y="30556"/>
                    </a:lnTo>
                    <a:lnTo>
                      <a:pt x="29249" y="42908"/>
                    </a:lnTo>
                    <a:lnTo>
                      <a:pt x="38355" y="39663"/>
                    </a:lnTo>
                    <a:lnTo>
                      <a:pt x="44855" y="25356"/>
                    </a:lnTo>
                    <a:lnTo>
                      <a:pt x="40302" y="23409"/>
                    </a:lnTo>
                    <a:lnTo>
                      <a:pt x="36409" y="13651"/>
                    </a:lnTo>
                    <a:lnTo>
                      <a:pt x="3444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4856" tIns="429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4" name="shp_Region_Belize_$2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97B6DEA2-63D5-7C81-ACA8-FB8FDDDC645E}"/>
                  </a:ext>
                </a:extLst>
              </p:cNvPr>
              <p:cNvSpPr/>
              <p:nvPr/>
            </p:nvSpPr>
            <p:spPr>
              <a:xfrm>
                <a:off x="2558578" y="2325327"/>
                <a:ext cx="14303" cy="10402"/>
              </a:xfrm>
              <a:custGeom>
                <a:avLst/>
                <a:gdLst/>
                <a:ahLst/>
                <a:cxnLst/>
                <a:rect l="0" t="0" r="0" b="0"/>
                <a:pathLst>
                  <a:path w="14303" h="10402">
                    <a:moveTo>
                      <a:pt x="7160" y="0"/>
                    </a:moveTo>
                    <a:lnTo>
                      <a:pt x="0" y="9754"/>
                    </a:lnTo>
                    <a:lnTo>
                      <a:pt x="14302" y="10401"/>
                    </a:lnTo>
                    <a:lnTo>
                      <a:pt x="716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303" tIns="104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5" name="shp_Region_Belize_$2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A8FA67BF-B40E-1D37-CBA3-5ACA3C92D779}"/>
                  </a:ext>
                </a:extLst>
              </p:cNvPr>
              <p:cNvSpPr/>
              <p:nvPr/>
            </p:nvSpPr>
            <p:spPr>
              <a:xfrm>
                <a:off x="3998607" y="2437798"/>
                <a:ext cx="57213" cy="47463"/>
              </a:xfrm>
              <a:custGeom>
                <a:avLst/>
                <a:gdLst/>
                <a:ahLst/>
                <a:cxnLst/>
                <a:rect l="0" t="0" r="0" b="0"/>
                <a:pathLst>
                  <a:path w="57213" h="47463">
                    <a:moveTo>
                      <a:pt x="29910" y="0"/>
                    </a:moveTo>
                    <a:lnTo>
                      <a:pt x="22106" y="2598"/>
                    </a:lnTo>
                    <a:lnTo>
                      <a:pt x="14946" y="10401"/>
                    </a:lnTo>
                    <a:lnTo>
                      <a:pt x="1304" y="18852"/>
                    </a:lnTo>
                    <a:lnTo>
                      <a:pt x="0" y="28606"/>
                    </a:lnTo>
                    <a:lnTo>
                      <a:pt x="5857" y="33807"/>
                    </a:lnTo>
                    <a:lnTo>
                      <a:pt x="16250" y="37056"/>
                    </a:lnTo>
                    <a:lnTo>
                      <a:pt x="33160" y="47462"/>
                    </a:lnTo>
                    <a:lnTo>
                      <a:pt x="46159" y="47462"/>
                    </a:lnTo>
                    <a:lnTo>
                      <a:pt x="50052" y="37708"/>
                    </a:lnTo>
                    <a:lnTo>
                      <a:pt x="56551" y="30557"/>
                    </a:lnTo>
                    <a:lnTo>
                      <a:pt x="57212" y="18209"/>
                    </a:lnTo>
                    <a:lnTo>
                      <a:pt x="44213" y="1299"/>
                    </a:lnTo>
                    <a:lnTo>
                      <a:pt x="34463" y="3902"/>
                    </a:lnTo>
                    <a:lnTo>
                      <a:pt x="2991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7213" tIns="474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6" name="shp_Region_Belize_$2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F1D13FF-871B-826D-DA3F-99335B9A550C}"/>
                  </a:ext>
                </a:extLst>
              </p:cNvPr>
              <p:cNvSpPr/>
              <p:nvPr/>
            </p:nvSpPr>
            <p:spPr>
              <a:xfrm>
                <a:off x="2693802" y="2447548"/>
                <a:ext cx="9751" cy="11058"/>
              </a:xfrm>
              <a:custGeom>
                <a:avLst/>
                <a:gdLst/>
                <a:ahLst/>
                <a:cxnLst/>
                <a:rect l="0" t="0" r="0" b="0"/>
                <a:pathLst>
                  <a:path w="9751" h="11058">
                    <a:moveTo>
                      <a:pt x="9750" y="0"/>
                    </a:moveTo>
                    <a:lnTo>
                      <a:pt x="0" y="6504"/>
                    </a:lnTo>
                    <a:lnTo>
                      <a:pt x="5214" y="11057"/>
                    </a:lnTo>
                    <a:lnTo>
                      <a:pt x="975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51" tIns="110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7" name="shp_Region_Belize_$2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AD0A92D7-4958-A82B-5732-6C1878847BB8}"/>
                  </a:ext>
                </a:extLst>
              </p:cNvPr>
              <p:cNvSpPr/>
              <p:nvPr/>
            </p:nvSpPr>
            <p:spPr>
              <a:xfrm>
                <a:off x="2700963" y="2454052"/>
                <a:ext cx="14946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14946" h="17554">
                    <a:moveTo>
                      <a:pt x="14302" y="0"/>
                    </a:moveTo>
                    <a:lnTo>
                      <a:pt x="0" y="11700"/>
                    </a:lnTo>
                    <a:lnTo>
                      <a:pt x="7803" y="17553"/>
                    </a:lnTo>
                    <a:lnTo>
                      <a:pt x="14945" y="9102"/>
                    </a:lnTo>
                    <a:lnTo>
                      <a:pt x="1430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6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8" name="shp_Region_Belize_$2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59FB583B-48CC-3CF8-3E48-94E80D27B5F1}"/>
                  </a:ext>
                </a:extLst>
              </p:cNvPr>
              <p:cNvSpPr/>
              <p:nvPr/>
            </p:nvSpPr>
            <p:spPr>
              <a:xfrm>
                <a:off x="2694463" y="2478104"/>
                <a:ext cx="16250" cy="14304"/>
              </a:xfrm>
              <a:custGeom>
                <a:avLst/>
                <a:gdLst/>
                <a:ahLst/>
                <a:cxnLst/>
                <a:rect l="0" t="0" r="0" b="0"/>
                <a:pathLst>
                  <a:path w="16250" h="14304">
                    <a:moveTo>
                      <a:pt x="16249" y="0"/>
                    </a:moveTo>
                    <a:lnTo>
                      <a:pt x="7803" y="0"/>
                    </a:lnTo>
                    <a:lnTo>
                      <a:pt x="643" y="5201"/>
                    </a:lnTo>
                    <a:lnTo>
                      <a:pt x="0" y="13004"/>
                    </a:lnTo>
                    <a:lnTo>
                      <a:pt x="7803" y="14303"/>
                    </a:lnTo>
                    <a:lnTo>
                      <a:pt x="16249" y="4558"/>
                    </a:lnTo>
                    <a:lnTo>
                      <a:pt x="162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0" tIns="143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199" name="shp_Region_Belize_$2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EBE1ECF-DB38-BCE1-C93F-EE87CEC43474}"/>
                  </a:ext>
                </a:extLst>
              </p:cNvPr>
              <p:cNvSpPr/>
              <p:nvPr/>
            </p:nvSpPr>
            <p:spPr>
              <a:xfrm>
                <a:off x="2697052" y="2495661"/>
                <a:ext cx="1300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12353">
                    <a:moveTo>
                      <a:pt x="13000" y="0"/>
                    </a:moveTo>
                    <a:lnTo>
                      <a:pt x="0" y="5201"/>
                    </a:lnTo>
                    <a:lnTo>
                      <a:pt x="0" y="12352"/>
                    </a:lnTo>
                    <a:lnTo>
                      <a:pt x="7803" y="11700"/>
                    </a:lnTo>
                    <a:lnTo>
                      <a:pt x="130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1" tIns="123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0" name="shp_Region_Belize_$2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F564787-024E-A888-341F-61CFD59FB045}"/>
                  </a:ext>
                </a:extLst>
              </p:cNvPr>
              <p:cNvSpPr/>
              <p:nvPr/>
            </p:nvSpPr>
            <p:spPr>
              <a:xfrm>
                <a:off x="3253558" y="2505411"/>
                <a:ext cx="95568" cy="288655"/>
              </a:xfrm>
              <a:custGeom>
                <a:avLst/>
                <a:gdLst/>
                <a:ahLst/>
                <a:cxnLst/>
                <a:rect l="0" t="0" r="0" b="0"/>
                <a:pathLst>
                  <a:path w="95568" h="288655">
                    <a:moveTo>
                      <a:pt x="68925" y="248348"/>
                    </a:moveTo>
                    <a:lnTo>
                      <a:pt x="76728" y="263950"/>
                    </a:lnTo>
                    <a:lnTo>
                      <a:pt x="72175" y="267852"/>
                    </a:lnTo>
                    <a:lnTo>
                      <a:pt x="62425" y="267200"/>
                    </a:lnTo>
                    <a:lnTo>
                      <a:pt x="57872" y="284752"/>
                    </a:lnTo>
                    <a:lnTo>
                      <a:pt x="76728" y="284752"/>
                    </a:lnTo>
                    <a:lnTo>
                      <a:pt x="74764" y="276302"/>
                    </a:lnTo>
                    <a:lnTo>
                      <a:pt x="79978" y="261999"/>
                    </a:lnTo>
                    <a:lnTo>
                      <a:pt x="86478" y="254843"/>
                    </a:lnTo>
                    <a:lnTo>
                      <a:pt x="94281" y="239250"/>
                    </a:lnTo>
                    <a:lnTo>
                      <a:pt x="95567" y="218443"/>
                    </a:lnTo>
                    <a:lnTo>
                      <a:pt x="92977" y="209341"/>
                    </a:lnTo>
                    <a:lnTo>
                      <a:pt x="84513" y="197636"/>
                    </a:lnTo>
                    <a:lnTo>
                      <a:pt x="81924" y="175535"/>
                    </a:lnTo>
                    <a:lnTo>
                      <a:pt x="65675" y="139778"/>
                    </a:lnTo>
                    <a:lnTo>
                      <a:pt x="65675" y="134573"/>
                    </a:lnTo>
                    <a:lnTo>
                      <a:pt x="58515" y="120274"/>
                    </a:lnTo>
                    <a:lnTo>
                      <a:pt x="58515" y="99463"/>
                    </a:lnTo>
                    <a:lnTo>
                      <a:pt x="53319" y="94919"/>
                    </a:lnTo>
                    <a:lnTo>
                      <a:pt x="48766" y="82567"/>
                    </a:lnTo>
                    <a:lnTo>
                      <a:pt x="46819" y="65010"/>
                    </a:lnTo>
                    <a:lnTo>
                      <a:pt x="36409" y="51359"/>
                    </a:lnTo>
                    <a:lnTo>
                      <a:pt x="36409" y="32507"/>
                    </a:lnTo>
                    <a:lnTo>
                      <a:pt x="42266" y="23405"/>
                    </a:lnTo>
                    <a:lnTo>
                      <a:pt x="42266" y="14954"/>
                    </a:lnTo>
                    <a:lnTo>
                      <a:pt x="54622" y="5200"/>
                    </a:lnTo>
                    <a:lnTo>
                      <a:pt x="50069" y="647"/>
                    </a:lnTo>
                    <a:lnTo>
                      <a:pt x="41605" y="7151"/>
                    </a:lnTo>
                    <a:lnTo>
                      <a:pt x="25356" y="0"/>
                    </a:lnTo>
                    <a:lnTo>
                      <a:pt x="21463" y="3901"/>
                    </a:lnTo>
                    <a:lnTo>
                      <a:pt x="16910" y="16905"/>
                    </a:lnTo>
                    <a:lnTo>
                      <a:pt x="9107" y="23405"/>
                    </a:lnTo>
                    <a:lnTo>
                      <a:pt x="12357" y="28605"/>
                    </a:lnTo>
                    <a:lnTo>
                      <a:pt x="7803" y="40953"/>
                    </a:lnTo>
                    <a:lnTo>
                      <a:pt x="0" y="46814"/>
                    </a:lnTo>
                    <a:lnTo>
                      <a:pt x="11714" y="52658"/>
                    </a:lnTo>
                    <a:lnTo>
                      <a:pt x="21463" y="48109"/>
                    </a:lnTo>
                    <a:lnTo>
                      <a:pt x="31213" y="52658"/>
                    </a:lnTo>
                    <a:lnTo>
                      <a:pt x="30570" y="61113"/>
                    </a:lnTo>
                    <a:lnTo>
                      <a:pt x="37070" y="66313"/>
                    </a:lnTo>
                    <a:lnTo>
                      <a:pt x="37070" y="78670"/>
                    </a:lnTo>
                    <a:lnTo>
                      <a:pt x="34463" y="91669"/>
                    </a:lnTo>
                    <a:lnTo>
                      <a:pt x="49408" y="104021"/>
                    </a:lnTo>
                    <a:lnTo>
                      <a:pt x="52658" y="109864"/>
                    </a:lnTo>
                    <a:lnTo>
                      <a:pt x="50712" y="123524"/>
                    </a:lnTo>
                    <a:lnTo>
                      <a:pt x="46158" y="131323"/>
                    </a:lnTo>
                    <a:lnTo>
                      <a:pt x="50069" y="141077"/>
                    </a:lnTo>
                    <a:lnTo>
                      <a:pt x="43569" y="146278"/>
                    </a:lnTo>
                    <a:lnTo>
                      <a:pt x="24713" y="145630"/>
                    </a:lnTo>
                    <a:lnTo>
                      <a:pt x="24052" y="157331"/>
                    </a:lnTo>
                    <a:lnTo>
                      <a:pt x="33159" y="163178"/>
                    </a:lnTo>
                    <a:lnTo>
                      <a:pt x="33159" y="182035"/>
                    </a:lnTo>
                    <a:lnTo>
                      <a:pt x="26017" y="200239"/>
                    </a:lnTo>
                    <a:lnTo>
                      <a:pt x="26017" y="211939"/>
                    </a:lnTo>
                    <a:lnTo>
                      <a:pt x="23410" y="221693"/>
                    </a:lnTo>
                    <a:lnTo>
                      <a:pt x="31213" y="232742"/>
                    </a:lnTo>
                    <a:lnTo>
                      <a:pt x="31856" y="242496"/>
                    </a:lnTo>
                    <a:lnTo>
                      <a:pt x="14964" y="256798"/>
                    </a:lnTo>
                    <a:lnTo>
                      <a:pt x="16267" y="269802"/>
                    </a:lnTo>
                    <a:lnTo>
                      <a:pt x="11053" y="275650"/>
                    </a:lnTo>
                    <a:lnTo>
                      <a:pt x="7803" y="287355"/>
                    </a:lnTo>
                    <a:lnTo>
                      <a:pt x="15606" y="288654"/>
                    </a:lnTo>
                    <a:lnTo>
                      <a:pt x="29909" y="256147"/>
                    </a:lnTo>
                    <a:lnTo>
                      <a:pt x="50712" y="248348"/>
                    </a:lnTo>
                    <a:lnTo>
                      <a:pt x="53319" y="241197"/>
                    </a:lnTo>
                    <a:lnTo>
                      <a:pt x="61122" y="241197"/>
                    </a:lnTo>
                    <a:lnTo>
                      <a:pt x="68925" y="248348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5568" tIns="2886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1" name="shp_Region_Belize_$2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59D8FC6-4358-11D8-5EC0-6CFA9C36864F}"/>
                  </a:ext>
                </a:extLst>
              </p:cNvPr>
              <p:cNvSpPr/>
              <p:nvPr/>
            </p:nvSpPr>
            <p:spPr>
              <a:xfrm>
                <a:off x="2684714" y="2513857"/>
                <a:ext cx="27303" cy="46815"/>
              </a:xfrm>
              <a:custGeom>
                <a:avLst/>
                <a:gdLst/>
                <a:ahLst/>
                <a:cxnLst/>
                <a:rect l="0" t="0" r="0" b="0"/>
                <a:pathLst>
                  <a:path w="27303" h="46815">
                    <a:moveTo>
                      <a:pt x="18195" y="0"/>
                    </a:moveTo>
                    <a:lnTo>
                      <a:pt x="11035" y="7807"/>
                    </a:lnTo>
                    <a:lnTo>
                      <a:pt x="11035" y="17557"/>
                    </a:lnTo>
                    <a:lnTo>
                      <a:pt x="1285" y="36413"/>
                    </a:lnTo>
                    <a:lnTo>
                      <a:pt x="0" y="43569"/>
                    </a:lnTo>
                    <a:lnTo>
                      <a:pt x="7785" y="46814"/>
                    </a:lnTo>
                    <a:lnTo>
                      <a:pt x="14302" y="40314"/>
                    </a:lnTo>
                    <a:lnTo>
                      <a:pt x="18838" y="29261"/>
                    </a:lnTo>
                    <a:lnTo>
                      <a:pt x="27302" y="20811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303" tIns="4681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2" name="shp_Region_Belize_$2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23632CA-9147-FDF8-56D3-A14BE3B6B72B}"/>
                  </a:ext>
                </a:extLst>
              </p:cNvPr>
              <p:cNvSpPr/>
              <p:nvPr/>
            </p:nvSpPr>
            <p:spPr>
              <a:xfrm>
                <a:off x="2696409" y="2587978"/>
                <a:ext cx="33803" cy="48757"/>
              </a:xfrm>
              <a:custGeom>
                <a:avLst/>
                <a:gdLst/>
                <a:ahLst/>
                <a:cxnLst/>
                <a:rect l="0" t="0" r="0" b="0"/>
                <a:pathLst>
                  <a:path w="33803" h="48757">
                    <a:moveTo>
                      <a:pt x="21446" y="0"/>
                    </a:moveTo>
                    <a:lnTo>
                      <a:pt x="9107" y="647"/>
                    </a:lnTo>
                    <a:lnTo>
                      <a:pt x="0" y="7151"/>
                    </a:lnTo>
                    <a:lnTo>
                      <a:pt x="0" y="18851"/>
                    </a:lnTo>
                    <a:lnTo>
                      <a:pt x="2607" y="40306"/>
                    </a:lnTo>
                    <a:lnTo>
                      <a:pt x="14303" y="48756"/>
                    </a:lnTo>
                    <a:lnTo>
                      <a:pt x="25356" y="45506"/>
                    </a:lnTo>
                    <a:lnTo>
                      <a:pt x="33802" y="35757"/>
                    </a:lnTo>
                    <a:lnTo>
                      <a:pt x="33802" y="27954"/>
                    </a:lnTo>
                    <a:lnTo>
                      <a:pt x="27945" y="18200"/>
                    </a:lnTo>
                    <a:lnTo>
                      <a:pt x="27945" y="6499"/>
                    </a:lnTo>
                    <a:lnTo>
                      <a:pt x="2144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3803" tIns="487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3" name="shp_Region_Belize_$3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B741F43-FB0B-834F-5ECC-63E20D66E395}"/>
                  </a:ext>
                </a:extLst>
              </p:cNvPr>
              <p:cNvSpPr/>
              <p:nvPr/>
            </p:nvSpPr>
            <p:spPr>
              <a:xfrm>
                <a:off x="3251612" y="2611383"/>
                <a:ext cx="1494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9504">
                    <a:moveTo>
                      <a:pt x="11696" y="0"/>
                    </a:moveTo>
                    <a:lnTo>
                      <a:pt x="0" y="4549"/>
                    </a:lnTo>
                    <a:lnTo>
                      <a:pt x="11696" y="19503"/>
                    </a:lnTo>
                    <a:lnTo>
                      <a:pt x="14946" y="1950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7" tIns="195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4" name="shp_Region_Belize_$3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9EEF0CD-07A9-6740-44E9-2616E7CEA35B}"/>
                  </a:ext>
                </a:extLst>
              </p:cNvPr>
              <p:cNvSpPr/>
              <p:nvPr/>
            </p:nvSpPr>
            <p:spPr>
              <a:xfrm>
                <a:off x="2410996" y="2645189"/>
                <a:ext cx="57873" cy="29910"/>
              </a:xfrm>
              <a:custGeom>
                <a:avLst/>
                <a:gdLst/>
                <a:ahLst/>
                <a:cxnLst/>
                <a:rect l="0" t="0" r="0" b="0"/>
                <a:pathLst>
                  <a:path w="57873" h="29910">
                    <a:moveTo>
                      <a:pt x="0" y="0"/>
                    </a:moveTo>
                    <a:lnTo>
                      <a:pt x="3250" y="7799"/>
                    </a:lnTo>
                    <a:lnTo>
                      <a:pt x="10410" y="13651"/>
                    </a:lnTo>
                    <a:lnTo>
                      <a:pt x="22106" y="13651"/>
                    </a:lnTo>
                    <a:lnTo>
                      <a:pt x="30570" y="29909"/>
                    </a:lnTo>
                    <a:lnTo>
                      <a:pt x="41623" y="29248"/>
                    </a:lnTo>
                    <a:lnTo>
                      <a:pt x="57872" y="18200"/>
                    </a:lnTo>
                    <a:lnTo>
                      <a:pt x="57872" y="14303"/>
                    </a:lnTo>
                    <a:lnTo>
                      <a:pt x="37712" y="20151"/>
                    </a:lnTo>
                    <a:lnTo>
                      <a:pt x="28606" y="12352"/>
                    </a:lnTo>
                    <a:lnTo>
                      <a:pt x="11714" y="11048"/>
                    </a:lnTo>
                    <a:lnTo>
                      <a:pt x="10410" y="58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7873" tIns="299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5" name="shp_Region_Belize_$3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5D8C7E83-046F-AF0C-BB42-6A6AC0875EEE}"/>
                  </a:ext>
                </a:extLst>
              </p:cNvPr>
              <p:cNvSpPr/>
              <p:nvPr/>
            </p:nvSpPr>
            <p:spPr>
              <a:xfrm>
                <a:off x="3037730" y="2678343"/>
                <a:ext cx="1039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0394" h="7805">
                    <a:moveTo>
                      <a:pt x="10393" y="0"/>
                    </a:moveTo>
                    <a:lnTo>
                      <a:pt x="0" y="1956"/>
                    </a:lnTo>
                    <a:lnTo>
                      <a:pt x="3250" y="7804"/>
                    </a:lnTo>
                    <a:lnTo>
                      <a:pt x="1039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394" tIns="7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6" name="shp_Region_Belize_$3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4EA2821-9D09-FE5F-4FB1-F78A47BD6AAC}"/>
                  </a:ext>
                </a:extLst>
              </p:cNvPr>
              <p:cNvSpPr/>
              <p:nvPr/>
            </p:nvSpPr>
            <p:spPr>
              <a:xfrm>
                <a:off x="3100781" y="2708900"/>
                <a:ext cx="1235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2357" h="14955">
                    <a:moveTo>
                      <a:pt x="11713" y="0"/>
                    </a:moveTo>
                    <a:lnTo>
                      <a:pt x="0" y="7151"/>
                    </a:lnTo>
                    <a:lnTo>
                      <a:pt x="2607" y="14954"/>
                    </a:lnTo>
                    <a:lnTo>
                      <a:pt x="12356" y="3901"/>
                    </a:lnTo>
                    <a:lnTo>
                      <a:pt x="1171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57" tIns="149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7" name="shp_Region_Belize_$3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7FE3E54-636B-EB96-26E7-ABF3044A3193}"/>
                  </a:ext>
                </a:extLst>
              </p:cNvPr>
              <p:cNvSpPr/>
              <p:nvPr/>
            </p:nvSpPr>
            <p:spPr>
              <a:xfrm>
                <a:off x="3170348" y="2749862"/>
                <a:ext cx="11054" cy="1169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697">
                    <a:moveTo>
                      <a:pt x="5197" y="0"/>
                    </a:moveTo>
                    <a:lnTo>
                      <a:pt x="643" y="1294"/>
                    </a:lnTo>
                    <a:lnTo>
                      <a:pt x="0" y="11696"/>
                    </a:lnTo>
                    <a:lnTo>
                      <a:pt x="11053" y="6495"/>
                    </a:lnTo>
                    <a:lnTo>
                      <a:pt x="519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16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8" name="shp_Region_Belize_$3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450817E-6C42-293A-DE45-556689917C34}"/>
                  </a:ext>
                </a:extLst>
              </p:cNvPr>
              <p:cNvSpPr/>
              <p:nvPr/>
            </p:nvSpPr>
            <p:spPr>
              <a:xfrm>
                <a:off x="3091674" y="2763508"/>
                <a:ext cx="9768" cy="13010"/>
              </a:xfrm>
              <a:custGeom>
                <a:avLst/>
                <a:gdLst/>
                <a:ahLst/>
                <a:cxnLst/>
                <a:rect l="0" t="0" r="0" b="0"/>
                <a:pathLst>
                  <a:path w="9768" h="13010">
                    <a:moveTo>
                      <a:pt x="9767" y="0"/>
                    </a:moveTo>
                    <a:lnTo>
                      <a:pt x="0" y="13009"/>
                    </a:lnTo>
                    <a:lnTo>
                      <a:pt x="8464" y="13009"/>
                    </a:lnTo>
                    <a:lnTo>
                      <a:pt x="976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68" tIns="130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09" name="shp_Region_Belize_$3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598A2A02-A624-F59E-9E79-EC0A4E9D3345}"/>
                  </a:ext>
                </a:extLst>
              </p:cNvPr>
              <p:cNvSpPr/>
              <p:nvPr/>
            </p:nvSpPr>
            <p:spPr>
              <a:xfrm>
                <a:off x="3179455" y="2799913"/>
                <a:ext cx="12340" cy="8456"/>
              </a:xfrm>
              <a:custGeom>
                <a:avLst/>
                <a:gdLst/>
                <a:ahLst/>
                <a:cxnLst/>
                <a:rect l="0" t="0" r="0" b="0"/>
                <a:pathLst>
                  <a:path w="12340" h="8456">
                    <a:moveTo>
                      <a:pt x="12339" y="0"/>
                    </a:moveTo>
                    <a:lnTo>
                      <a:pt x="0" y="656"/>
                    </a:lnTo>
                    <a:lnTo>
                      <a:pt x="4553" y="8455"/>
                    </a:lnTo>
                    <a:lnTo>
                      <a:pt x="1233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40" tIns="84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0" name="shp_Region_Belize_$3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AD9F6252-4200-5190-DC3E-A232A3BB8DF4}"/>
                  </a:ext>
                </a:extLst>
              </p:cNvPr>
              <p:cNvSpPr/>
              <p:nvPr/>
            </p:nvSpPr>
            <p:spPr>
              <a:xfrm>
                <a:off x="3197008" y="2801216"/>
                <a:ext cx="68908" cy="75417"/>
              </a:xfrm>
              <a:custGeom>
                <a:avLst/>
                <a:gdLst/>
                <a:ahLst/>
                <a:cxnLst/>
                <a:rect l="0" t="0" r="0" b="0"/>
                <a:pathLst>
                  <a:path w="68908" h="75417">
                    <a:moveTo>
                      <a:pt x="21445" y="0"/>
                    </a:moveTo>
                    <a:lnTo>
                      <a:pt x="24052" y="14303"/>
                    </a:lnTo>
                    <a:lnTo>
                      <a:pt x="21445" y="19504"/>
                    </a:lnTo>
                    <a:lnTo>
                      <a:pt x="33159" y="24704"/>
                    </a:lnTo>
                    <a:lnTo>
                      <a:pt x="21445" y="31208"/>
                    </a:lnTo>
                    <a:lnTo>
                      <a:pt x="20802" y="40958"/>
                    </a:lnTo>
                    <a:lnTo>
                      <a:pt x="13642" y="40958"/>
                    </a:lnTo>
                    <a:lnTo>
                      <a:pt x="9089" y="33802"/>
                    </a:lnTo>
                    <a:lnTo>
                      <a:pt x="8446" y="24057"/>
                    </a:lnTo>
                    <a:lnTo>
                      <a:pt x="0" y="29262"/>
                    </a:lnTo>
                    <a:lnTo>
                      <a:pt x="3892" y="39663"/>
                    </a:lnTo>
                    <a:lnTo>
                      <a:pt x="2589" y="46159"/>
                    </a:lnTo>
                    <a:lnTo>
                      <a:pt x="12999" y="46810"/>
                    </a:lnTo>
                    <a:lnTo>
                      <a:pt x="18856" y="52658"/>
                    </a:lnTo>
                    <a:lnTo>
                      <a:pt x="26659" y="53962"/>
                    </a:lnTo>
                    <a:lnTo>
                      <a:pt x="31194" y="63064"/>
                    </a:lnTo>
                    <a:lnTo>
                      <a:pt x="22106" y="72166"/>
                    </a:lnTo>
                    <a:lnTo>
                      <a:pt x="12356" y="67613"/>
                    </a:lnTo>
                    <a:lnTo>
                      <a:pt x="643" y="68264"/>
                    </a:lnTo>
                    <a:lnTo>
                      <a:pt x="3250" y="75416"/>
                    </a:lnTo>
                    <a:lnTo>
                      <a:pt x="11053" y="70215"/>
                    </a:lnTo>
                    <a:lnTo>
                      <a:pt x="22106" y="75416"/>
                    </a:lnTo>
                    <a:lnTo>
                      <a:pt x="30552" y="67613"/>
                    </a:lnTo>
                    <a:lnTo>
                      <a:pt x="35748" y="67613"/>
                    </a:lnTo>
                    <a:lnTo>
                      <a:pt x="41605" y="59814"/>
                    </a:lnTo>
                    <a:lnTo>
                      <a:pt x="57854" y="32508"/>
                    </a:lnTo>
                    <a:lnTo>
                      <a:pt x="64353" y="26655"/>
                    </a:lnTo>
                    <a:lnTo>
                      <a:pt x="63710" y="17553"/>
                    </a:lnTo>
                    <a:lnTo>
                      <a:pt x="68907" y="7152"/>
                    </a:lnTo>
                    <a:lnTo>
                      <a:pt x="51354" y="3902"/>
                    </a:lnTo>
                    <a:lnTo>
                      <a:pt x="28605" y="7152"/>
                    </a:lnTo>
                    <a:lnTo>
                      <a:pt x="2144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908" tIns="754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1" name="shp_Region_Belize_$3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364B4A5-85DA-282E-D1A7-170C37C9E37C}"/>
                  </a:ext>
                </a:extLst>
              </p:cNvPr>
              <p:cNvSpPr/>
              <p:nvPr/>
            </p:nvSpPr>
            <p:spPr>
              <a:xfrm>
                <a:off x="2654144" y="2812269"/>
                <a:ext cx="26660" cy="87773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87773">
                    <a:moveTo>
                      <a:pt x="22106" y="0"/>
                    </a:moveTo>
                    <a:lnTo>
                      <a:pt x="8464" y="3902"/>
                    </a:lnTo>
                    <a:lnTo>
                      <a:pt x="0" y="13004"/>
                    </a:lnTo>
                    <a:lnTo>
                      <a:pt x="660" y="20807"/>
                    </a:lnTo>
                    <a:lnTo>
                      <a:pt x="7803" y="35757"/>
                    </a:lnTo>
                    <a:lnTo>
                      <a:pt x="9749" y="48761"/>
                    </a:lnTo>
                    <a:lnTo>
                      <a:pt x="9106" y="59810"/>
                    </a:lnTo>
                    <a:lnTo>
                      <a:pt x="5214" y="66314"/>
                    </a:lnTo>
                    <a:lnTo>
                      <a:pt x="3910" y="81911"/>
                    </a:lnTo>
                    <a:lnTo>
                      <a:pt x="9106" y="87772"/>
                    </a:lnTo>
                    <a:lnTo>
                      <a:pt x="20159" y="76715"/>
                    </a:lnTo>
                    <a:lnTo>
                      <a:pt x="18856" y="59162"/>
                    </a:lnTo>
                    <a:lnTo>
                      <a:pt x="21463" y="55913"/>
                    </a:lnTo>
                    <a:lnTo>
                      <a:pt x="23409" y="40958"/>
                    </a:lnTo>
                    <a:lnTo>
                      <a:pt x="26659" y="31856"/>
                    </a:lnTo>
                    <a:lnTo>
                      <a:pt x="22766" y="13651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0" tIns="8777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2" name="shp_Region_Belize_$3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1F235D7-8FDA-A1EE-81A9-0C89881A47A6}"/>
                  </a:ext>
                </a:extLst>
              </p:cNvPr>
              <p:cNvSpPr/>
              <p:nvPr/>
            </p:nvSpPr>
            <p:spPr>
              <a:xfrm>
                <a:off x="3187258" y="2822671"/>
                <a:ext cx="128066" cy="93621"/>
              </a:xfrm>
              <a:custGeom>
                <a:avLst/>
                <a:gdLst/>
                <a:ahLst/>
                <a:cxnLst/>
                <a:rect l="0" t="0" r="0" b="0"/>
                <a:pathLst>
                  <a:path w="128066" h="93621">
                    <a:moveTo>
                      <a:pt x="119619" y="0"/>
                    </a:moveTo>
                    <a:lnTo>
                      <a:pt x="105316" y="7807"/>
                    </a:lnTo>
                    <a:lnTo>
                      <a:pt x="95566" y="19503"/>
                    </a:lnTo>
                    <a:lnTo>
                      <a:pt x="98816" y="23409"/>
                    </a:lnTo>
                    <a:lnTo>
                      <a:pt x="95566" y="31203"/>
                    </a:lnTo>
                    <a:lnTo>
                      <a:pt x="96209" y="44863"/>
                    </a:lnTo>
                    <a:lnTo>
                      <a:pt x="87763" y="55260"/>
                    </a:lnTo>
                    <a:lnTo>
                      <a:pt x="84514" y="63710"/>
                    </a:lnTo>
                    <a:lnTo>
                      <a:pt x="74103" y="58510"/>
                    </a:lnTo>
                    <a:lnTo>
                      <a:pt x="76710" y="51358"/>
                    </a:lnTo>
                    <a:lnTo>
                      <a:pt x="66300" y="47461"/>
                    </a:lnTo>
                    <a:lnTo>
                      <a:pt x="60461" y="63710"/>
                    </a:lnTo>
                    <a:lnTo>
                      <a:pt x="51997" y="65014"/>
                    </a:lnTo>
                    <a:lnTo>
                      <a:pt x="40302" y="59162"/>
                    </a:lnTo>
                    <a:lnTo>
                      <a:pt x="20142" y="61760"/>
                    </a:lnTo>
                    <a:lnTo>
                      <a:pt x="5839" y="60461"/>
                    </a:lnTo>
                    <a:lnTo>
                      <a:pt x="0" y="68911"/>
                    </a:lnTo>
                    <a:lnTo>
                      <a:pt x="1947" y="74768"/>
                    </a:lnTo>
                    <a:lnTo>
                      <a:pt x="9750" y="74768"/>
                    </a:lnTo>
                    <a:lnTo>
                      <a:pt x="18839" y="80616"/>
                    </a:lnTo>
                    <a:lnTo>
                      <a:pt x="23392" y="93620"/>
                    </a:lnTo>
                    <a:lnTo>
                      <a:pt x="49408" y="92316"/>
                    </a:lnTo>
                    <a:lnTo>
                      <a:pt x="51997" y="82567"/>
                    </a:lnTo>
                    <a:lnTo>
                      <a:pt x="63711" y="67612"/>
                    </a:lnTo>
                    <a:lnTo>
                      <a:pt x="71514" y="67612"/>
                    </a:lnTo>
                    <a:lnTo>
                      <a:pt x="79960" y="72170"/>
                    </a:lnTo>
                    <a:lnTo>
                      <a:pt x="87763" y="70857"/>
                    </a:lnTo>
                    <a:lnTo>
                      <a:pt x="95566" y="61112"/>
                    </a:lnTo>
                    <a:lnTo>
                      <a:pt x="96870" y="47461"/>
                    </a:lnTo>
                    <a:lnTo>
                      <a:pt x="101406" y="42908"/>
                    </a:lnTo>
                    <a:lnTo>
                      <a:pt x="109869" y="43560"/>
                    </a:lnTo>
                    <a:lnTo>
                      <a:pt x="115708" y="23409"/>
                    </a:lnTo>
                    <a:lnTo>
                      <a:pt x="126761" y="20155"/>
                    </a:lnTo>
                    <a:lnTo>
                      <a:pt x="128065" y="13008"/>
                    </a:lnTo>
                    <a:lnTo>
                      <a:pt x="121565" y="9102"/>
                    </a:lnTo>
                    <a:lnTo>
                      <a:pt x="11961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8066" tIns="9362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3" name="shp_Region_Belize_$4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8B60888-483C-1D3D-A82B-42B4F43DECE8}"/>
                  </a:ext>
                </a:extLst>
              </p:cNvPr>
              <p:cNvSpPr/>
              <p:nvPr/>
            </p:nvSpPr>
            <p:spPr>
              <a:xfrm>
                <a:off x="2990912" y="2830478"/>
                <a:ext cx="86478" cy="272397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272397">
                    <a:moveTo>
                      <a:pt x="21463" y="78661"/>
                    </a:moveTo>
                    <a:lnTo>
                      <a:pt x="14302" y="68907"/>
                    </a:lnTo>
                    <a:lnTo>
                      <a:pt x="11052" y="59162"/>
                    </a:lnTo>
                    <a:lnTo>
                      <a:pt x="14963" y="53305"/>
                    </a:lnTo>
                    <a:lnTo>
                      <a:pt x="20159" y="35753"/>
                    </a:lnTo>
                    <a:lnTo>
                      <a:pt x="33158" y="35753"/>
                    </a:lnTo>
                    <a:lnTo>
                      <a:pt x="41604" y="46154"/>
                    </a:lnTo>
                    <a:lnTo>
                      <a:pt x="52015" y="52006"/>
                    </a:lnTo>
                    <a:lnTo>
                      <a:pt x="43569" y="70206"/>
                    </a:lnTo>
                    <a:lnTo>
                      <a:pt x="52015" y="68907"/>
                    </a:lnTo>
                    <a:lnTo>
                      <a:pt x="58514" y="61756"/>
                    </a:lnTo>
                    <a:lnTo>
                      <a:pt x="61121" y="40953"/>
                    </a:lnTo>
                    <a:lnTo>
                      <a:pt x="57871" y="24048"/>
                    </a:lnTo>
                    <a:lnTo>
                      <a:pt x="48765" y="15602"/>
                    </a:lnTo>
                    <a:lnTo>
                      <a:pt x="47461" y="0"/>
                    </a:lnTo>
                    <a:lnTo>
                      <a:pt x="39658" y="2598"/>
                    </a:lnTo>
                    <a:lnTo>
                      <a:pt x="25998" y="27298"/>
                    </a:lnTo>
                    <a:lnTo>
                      <a:pt x="19498" y="21450"/>
                    </a:lnTo>
                    <a:lnTo>
                      <a:pt x="3249" y="33802"/>
                    </a:lnTo>
                    <a:lnTo>
                      <a:pt x="4553" y="46806"/>
                    </a:lnTo>
                    <a:lnTo>
                      <a:pt x="0" y="53305"/>
                    </a:lnTo>
                    <a:lnTo>
                      <a:pt x="0" y="66309"/>
                    </a:lnTo>
                    <a:lnTo>
                      <a:pt x="5856" y="78009"/>
                    </a:lnTo>
                    <a:lnTo>
                      <a:pt x="5196" y="95558"/>
                    </a:lnTo>
                    <a:lnTo>
                      <a:pt x="9106" y="115717"/>
                    </a:lnTo>
                    <a:lnTo>
                      <a:pt x="14963" y="126770"/>
                    </a:lnTo>
                    <a:lnTo>
                      <a:pt x="20802" y="146921"/>
                    </a:lnTo>
                    <a:lnTo>
                      <a:pt x="20159" y="161224"/>
                    </a:lnTo>
                    <a:lnTo>
                      <a:pt x="29909" y="174879"/>
                    </a:lnTo>
                    <a:lnTo>
                      <a:pt x="37051" y="176830"/>
                    </a:lnTo>
                    <a:lnTo>
                      <a:pt x="44854" y="188530"/>
                    </a:lnTo>
                    <a:lnTo>
                      <a:pt x="55907" y="187236"/>
                    </a:lnTo>
                    <a:lnTo>
                      <a:pt x="58514" y="195682"/>
                    </a:lnTo>
                    <a:lnTo>
                      <a:pt x="65014" y="204132"/>
                    </a:lnTo>
                    <a:lnTo>
                      <a:pt x="58514" y="212587"/>
                    </a:lnTo>
                    <a:lnTo>
                      <a:pt x="65014" y="217788"/>
                    </a:lnTo>
                    <a:lnTo>
                      <a:pt x="61764" y="230787"/>
                    </a:lnTo>
                    <a:lnTo>
                      <a:pt x="68907" y="239242"/>
                    </a:lnTo>
                    <a:lnTo>
                      <a:pt x="68907" y="252241"/>
                    </a:lnTo>
                    <a:lnTo>
                      <a:pt x="77370" y="267847"/>
                    </a:lnTo>
                    <a:lnTo>
                      <a:pt x="86477" y="272396"/>
                    </a:lnTo>
                    <a:lnTo>
                      <a:pt x="81263" y="255495"/>
                    </a:lnTo>
                    <a:lnTo>
                      <a:pt x="81263" y="242492"/>
                    </a:lnTo>
                    <a:lnTo>
                      <a:pt x="75424" y="233389"/>
                    </a:lnTo>
                    <a:lnTo>
                      <a:pt x="85816" y="224292"/>
                    </a:lnTo>
                    <a:lnTo>
                      <a:pt x="81924" y="213886"/>
                    </a:lnTo>
                    <a:lnTo>
                      <a:pt x="69567" y="208685"/>
                    </a:lnTo>
                    <a:lnTo>
                      <a:pt x="63710" y="198931"/>
                    </a:lnTo>
                    <a:lnTo>
                      <a:pt x="73460" y="185932"/>
                    </a:lnTo>
                    <a:lnTo>
                      <a:pt x="62407" y="175527"/>
                    </a:lnTo>
                    <a:lnTo>
                      <a:pt x="52657" y="174879"/>
                    </a:lnTo>
                    <a:lnTo>
                      <a:pt x="53318" y="159268"/>
                    </a:lnTo>
                    <a:lnTo>
                      <a:pt x="61764" y="154068"/>
                    </a:lnTo>
                    <a:lnTo>
                      <a:pt x="71513" y="159920"/>
                    </a:lnTo>
                    <a:lnTo>
                      <a:pt x="68264" y="141720"/>
                    </a:lnTo>
                    <a:lnTo>
                      <a:pt x="57211" y="138470"/>
                    </a:lnTo>
                    <a:lnTo>
                      <a:pt x="44211" y="141073"/>
                    </a:lnTo>
                    <a:lnTo>
                      <a:pt x="41604" y="150822"/>
                    </a:lnTo>
                    <a:lnTo>
                      <a:pt x="33801" y="148872"/>
                    </a:lnTo>
                    <a:lnTo>
                      <a:pt x="35105" y="131971"/>
                    </a:lnTo>
                    <a:lnTo>
                      <a:pt x="27302" y="121570"/>
                    </a:lnTo>
                    <a:lnTo>
                      <a:pt x="23409" y="109218"/>
                    </a:lnTo>
                    <a:lnTo>
                      <a:pt x="38355" y="97513"/>
                    </a:lnTo>
                    <a:lnTo>
                      <a:pt x="39658" y="89062"/>
                    </a:lnTo>
                    <a:lnTo>
                      <a:pt x="24052" y="86460"/>
                    </a:lnTo>
                    <a:lnTo>
                      <a:pt x="21463" y="7866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6478" tIns="2723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4" name="shp_Region_Belize_$4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F92FB0C-D4DC-4303-1CCE-950D3FD6E5AB}"/>
                  </a:ext>
                </a:extLst>
              </p:cNvPr>
              <p:cNvSpPr/>
              <p:nvPr/>
            </p:nvSpPr>
            <p:spPr>
              <a:xfrm>
                <a:off x="3137850" y="2870780"/>
                <a:ext cx="21446" cy="29262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2">
                    <a:moveTo>
                      <a:pt x="16892" y="0"/>
                    </a:moveTo>
                    <a:lnTo>
                      <a:pt x="11696" y="2602"/>
                    </a:lnTo>
                    <a:lnTo>
                      <a:pt x="12339" y="12352"/>
                    </a:lnTo>
                    <a:lnTo>
                      <a:pt x="7143" y="13651"/>
                    </a:lnTo>
                    <a:lnTo>
                      <a:pt x="0" y="24061"/>
                    </a:lnTo>
                    <a:lnTo>
                      <a:pt x="3250" y="29261"/>
                    </a:lnTo>
                    <a:lnTo>
                      <a:pt x="20803" y="14954"/>
                    </a:lnTo>
                    <a:lnTo>
                      <a:pt x="21445" y="7151"/>
                    </a:lnTo>
                    <a:lnTo>
                      <a:pt x="1689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2926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5" name="shp_Region_Belize_$4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C9671BD-91A2-CEFE-9325-8E449AB67B65}"/>
                  </a:ext>
                </a:extLst>
              </p:cNvPr>
              <p:cNvSpPr/>
              <p:nvPr/>
            </p:nvSpPr>
            <p:spPr>
              <a:xfrm>
                <a:off x="3115084" y="2927991"/>
                <a:ext cx="86478" cy="137828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137828">
                    <a:moveTo>
                      <a:pt x="36408" y="137827"/>
                    </a:moveTo>
                    <a:lnTo>
                      <a:pt x="49408" y="137827"/>
                    </a:lnTo>
                    <a:lnTo>
                      <a:pt x="55264" y="126118"/>
                    </a:lnTo>
                    <a:lnTo>
                      <a:pt x="68924" y="112471"/>
                    </a:lnTo>
                    <a:lnTo>
                      <a:pt x="65014" y="91017"/>
                    </a:lnTo>
                    <a:lnTo>
                      <a:pt x="56568" y="81263"/>
                    </a:lnTo>
                    <a:lnTo>
                      <a:pt x="65014" y="74764"/>
                    </a:lnTo>
                    <a:lnTo>
                      <a:pt x="67621" y="53961"/>
                    </a:lnTo>
                    <a:lnTo>
                      <a:pt x="76067" y="47457"/>
                    </a:lnTo>
                    <a:lnTo>
                      <a:pt x="73460" y="30561"/>
                    </a:lnTo>
                    <a:lnTo>
                      <a:pt x="86477" y="22753"/>
                    </a:lnTo>
                    <a:lnTo>
                      <a:pt x="86477" y="16901"/>
                    </a:lnTo>
                    <a:lnTo>
                      <a:pt x="72174" y="0"/>
                    </a:lnTo>
                    <a:lnTo>
                      <a:pt x="57871" y="7151"/>
                    </a:lnTo>
                    <a:lnTo>
                      <a:pt x="56568" y="15602"/>
                    </a:lnTo>
                    <a:lnTo>
                      <a:pt x="63068" y="24057"/>
                    </a:lnTo>
                    <a:lnTo>
                      <a:pt x="55907" y="35105"/>
                    </a:lnTo>
                    <a:lnTo>
                      <a:pt x="60461" y="48109"/>
                    </a:lnTo>
                    <a:lnTo>
                      <a:pt x="49408" y="53961"/>
                    </a:lnTo>
                    <a:lnTo>
                      <a:pt x="42908" y="51359"/>
                    </a:lnTo>
                    <a:lnTo>
                      <a:pt x="27302" y="53309"/>
                    </a:lnTo>
                    <a:lnTo>
                      <a:pt x="23409" y="50060"/>
                    </a:lnTo>
                    <a:lnTo>
                      <a:pt x="26016" y="37708"/>
                    </a:lnTo>
                    <a:lnTo>
                      <a:pt x="38355" y="37708"/>
                    </a:lnTo>
                    <a:lnTo>
                      <a:pt x="35765" y="29257"/>
                    </a:lnTo>
                    <a:lnTo>
                      <a:pt x="26659" y="29900"/>
                    </a:lnTo>
                    <a:lnTo>
                      <a:pt x="23409" y="20802"/>
                    </a:lnTo>
                    <a:lnTo>
                      <a:pt x="14963" y="24699"/>
                    </a:lnTo>
                    <a:lnTo>
                      <a:pt x="1946" y="26655"/>
                    </a:lnTo>
                    <a:lnTo>
                      <a:pt x="0" y="31855"/>
                    </a:lnTo>
                    <a:lnTo>
                      <a:pt x="8463" y="44207"/>
                    </a:lnTo>
                    <a:lnTo>
                      <a:pt x="5856" y="55260"/>
                    </a:lnTo>
                    <a:lnTo>
                      <a:pt x="14963" y="59162"/>
                    </a:lnTo>
                    <a:lnTo>
                      <a:pt x="14302" y="65666"/>
                    </a:lnTo>
                    <a:lnTo>
                      <a:pt x="3910" y="74764"/>
                    </a:lnTo>
                    <a:lnTo>
                      <a:pt x="11713" y="77366"/>
                    </a:lnTo>
                    <a:lnTo>
                      <a:pt x="18856" y="66313"/>
                    </a:lnTo>
                    <a:lnTo>
                      <a:pt x="30551" y="69563"/>
                    </a:lnTo>
                    <a:lnTo>
                      <a:pt x="40319" y="69563"/>
                    </a:lnTo>
                    <a:lnTo>
                      <a:pt x="39015" y="100124"/>
                    </a:lnTo>
                    <a:lnTo>
                      <a:pt x="47461" y="110516"/>
                    </a:lnTo>
                    <a:lnTo>
                      <a:pt x="36408" y="137827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6478" tIns="13782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6" name="shp_Region_Belize_$4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FD47C4B-1B96-9A3A-4C3D-2BC29AD955D1}"/>
                  </a:ext>
                </a:extLst>
              </p:cNvPr>
              <p:cNvSpPr/>
              <p:nvPr/>
            </p:nvSpPr>
            <p:spPr>
              <a:xfrm>
                <a:off x="3099477" y="2936441"/>
                <a:ext cx="13018" cy="20808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20808">
                    <a:moveTo>
                      <a:pt x="0" y="0"/>
                    </a:moveTo>
                    <a:lnTo>
                      <a:pt x="1964" y="20807"/>
                    </a:lnTo>
                    <a:lnTo>
                      <a:pt x="11053" y="12352"/>
                    </a:lnTo>
                    <a:lnTo>
                      <a:pt x="13017" y="32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18" tIns="2080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7" name="shp_Region_Belize_$4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49B7D4C-9BEA-0600-30F1-C6ACEA66A6B4}"/>
                  </a:ext>
                </a:extLst>
              </p:cNvPr>
              <p:cNvSpPr/>
              <p:nvPr/>
            </p:nvSpPr>
            <p:spPr>
              <a:xfrm>
                <a:off x="2654804" y="2949445"/>
                <a:ext cx="11697" cy="39660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39660">
                    <a:moveTo>
                      <a:pt x="11696" y="0"/>
                    </a:moveTo>
                    <a:lnTo>
                      <a:pt x="2590" y="7151"/>
                    </a:lnTo>
                    <a:lnTo>
                      <a:pt x="6500" y="18204"/>
                    </a:lnTo>
                    <a:lnTo>
                      <a:pt x="0" y="37708"/>
                    </a:lnTo>
                    <a:lnTo>
                      <a:pt x="7804" y="39659"/>
                    </a:lnTo>
                    <a:lnTo>
                      <a:pt x="11696" y="27954"/>
                    </a:lnTo>
                    <a:lnTo>
                      <a:pt x="10393" y="1755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396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8" name="shp_Region_Belize_$4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BB72234-4E67-58CC-FE83-B4A706F26E4C}"/>
                  </a:ext>
                </a:extLst>
              </p:cNvPr>
              <p:cNvSpPr/>
              <p:nvPr/>
            </p:nvSpPr>
            <p:spPr>
              <a:xfrm>
                <a:off x="3788619" y="2985207"/>
                <a:ext cx="46159" cy="72809"/>
              </a:xfrm>
              <a:custGeom>
                <a:avLst/>
                <a:gdLst/>
                <a:ahLst/>
                <a:cxnLst/>
                <a:rect l="0" t="0" r="0" b="0"/>
                <a:pathLst>
                  <a:path w="46159" h="72809">
                    <a:moveTo>
                      <a:pt x="28605" y="0"/>
                    </a:moveTo>
                    <a:lnTo>
                      <a:pt x="22749" y="0"/>
                    </a:lnTo>
                    <a:lnTo>
                      <a:pt x="22749" y="12347"/>
                    </a:lnTo>
                    <a:lnTo>
                      <a:pt x="12356" y="42908"/>
                    </a:lnTo>
                    <a:lnTo>
                      <a:pt x="11696" y="49403"/>
                    </a:lnTo>
                    <a:lnTo>
                      <a:pt x="4553" y="55255"/>
                    </a:lnTo>
                    <a:lnTo>
                      <a:pt x="0" y="66304"/>
                    </a:lnTo>
                    <a:lnTo>
                      <a:pt x="643" y="72808"/>
                    </a:lnTo>
                    <a:lnTo>
                      <a:pt x="16249" y="52006"/>
                    </a:lnTo>
                    <a:lnTo>
                      <a:pt x="31855" y="43555"/>
                    </a:lnTo>
                    <a:lnTo>
                      <a:pt x="42908" y="32507"/>
                    </a:lnTo>
                    <a:lnTo>
                      <a:pt x="46158" y="17548"/>
                    </a:lnTo>
                    <a:lnTo>
                      <a:pt x="36409" y="11695"/>
                    </a:lnTo>
                    <a:lnTo>
                      <a:pt x="36409" y="4539"/>
                    </a:lnTo>
                    <a:lnTo>
                      <a:pt x="2860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159" tIns="728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19" name="shp_Region_Belize_$4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5210017-7504-E59A-A44B-76083B9F7F97}"/>
                  </a:ext>
                </a:extLst>
              </p:cNvPr>
              <p:cNvSpPr/>
              <p:nvPr/>
            </p:nvSpPr>
            <p:spPr>
              <a:xfrm>
                <a:off x="3083889" y="3004054"/>
                <a:ext cx="9089" cy="9103"/>
              </a:xfrm>
              <a:custGeom>
                <a:avLst/>
                <a:gdLst/>
                <a:ahLst/>
                <a:cxnLst/>
                <a:rect l="0" t="0" r="0" b="0"/>
                <a:pathLst>
                  <a:path w="9089" h="9103">
                    <a:moveTo>
                      <a:pt x="3250" y="0"/>
                    </a:moveTo>
                    <a:lnTo>
                      <a:pt x="0" y="9102"/>
                    </a:lnTo>
                    <a:lnTo>
                      <a:pt x="9088" y="7798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89" tIns="91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20" name="shp_Region_Belize_$4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8EA49A5-2621-81CB-DE24-A83B97775F4B}"/>
                  </a:ext>
                </a:extLst>
              </p:cNvPr>
              <p:cNvSpPr/>
              <p:nvPr/>
            </p:nvSpPr>
            <p:spPr>
              <a:xfrm>
                <a:off x="2658054" y="3039163"/>
                <a:ext cx="13001" cy="29906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29906">
                    <a:moveTo>
                      <a:pt x="6500" y="0"/>
                    </a:moveTo>
                    <a:lnTo>
                      <a:pt x="0" y="17553"/>
                    </a:lnTo>
                    <a:lnTo>
                      <a:pt x="1947" y="29905"/>
                    </a:lnTo>
                    <a:lnTo>
                      <a:pt x="13000" y="26004"/>
                    </a:lnTo>
                    <a:lnTo>
                      <a:pt x="13000" y="7799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1" tIns="299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21" name="shp_Region_Belize_$4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FD1714F-9C21-65DB-1AD0-2582D6B627E0}"/>
                  </a:ext>
                </a:extLst>
              </p:cNvPr>
              <p:cNvSpPr/>
              <p:nvPr/>
            </p:nvSpPr>
            <p:spPr>
              <a:xfrm>
                <a:off x="3076728" y="3094424"/>
                <a:ext cx="21465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21465" h="17554">
                    <a:moveTo>
                      <a:pt x="18214" y="0"/>
                    </a:moveTo>
                    <a:lnTo>
                      <a:pt x="11696" y="647"/>
                    </a:lnTo>
                    <a:lnTo>
                      <a:pt x="0" y="14303"/>
                    </a:lnTo>
                    <a:lnTo>
                      <a:pt x="15607" y="17553"/>
                    </a:lnTo>
                    <a:lnTo>
                      <a:pt x="21464" y="13646"/>
                    </a:lnTo>
                    <a:lnTo>
                      <a:pt x="1821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65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22" name="shp_Region_Belize_$4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769CE802-B669-C833-2FD7-CA66DC4B765F}"/>
                  </a:ext>
                </a:extLst>
              </p:cNvPr>
              <p:cNvSpPr/>
              <p:nvPr/>
            </p:nvSpPr>
            <p:spPr>
              <a:xfrm>
                <a:off x="2676910" y="3183495"/>
                <a:ext cx="15590" cy="22098"/>
              </a:xfrm>
              <a:custGeom>
                <a:avLst/>
                <a:gdLst/>
                <a:ahLst/>
                <a:cxnLst/>
                <a:rect l="0" t="0" r="0" b="0"/>
                <a:pathLst>
                  <a:path w="15590" h="22098">
                    <a:moveTo>
                      <a:pt x="0" y="0"/>
                    </a:moveTo>
                    <a:lnTo>
                      <a:pt x="8446" y="7794"/>
                    </a:lnTo>
                    <a:lnTo>
                      <a:pt x="5197" y="22097"/>
                    </a:lnTo>
                    <a:lnTo>
                      <a:pt x="15589" y="18195"/>
                    </a:lnTo>
                    <a:lnTo>
                      <a:pt x="15589" y="12348"/>
                    </a:lnTo>
                    <a:lnTo>
                      <a:pt x="6500" y="25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590" tIns="2209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23" name="shp_Region_Belize_$5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2F5C50E-4B69-E18E-168F-E749559F0029}"/>
                  </a:ext>
                </a:extLst>
              </p:cNvPr>
              <p:cNvSpPr/>
              <p:nvPr/>
            </p:nvSpPr>
            <p:spPr>
              <a:xfrm>
                <a:off x="2017678" y="4638471"/>
                <a:ext cx="9107" cy="18196"/>
              </a:xfrm>
              <a:custGeom>
                <a:avLst/>
                <a:gdLst/>
                <a:ahLst/>
                <a:cxnLst/>
                <a:rect l="0" t="0" r="0" b="0"/>
                <a:pathLst>
                  <a:path w="9107" h="18196">
                    <a:moveTo>
                      <a:pt x="7803" y="0"/>
                    </a:moveTo>
                    <a:lnTo>
                      <a:pt x="0" y="1294"/>
                    </a:lnTo>
                    <a:lnTo>
                      <a:pt x="2607" y="17548"/>
                    </a:lnTo>
                    <a:lnTo>
                      <a:pt x="9106" y="18195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07" tIns="1819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</p:grpSp>
        <p:sp>
          <p:nvSpPr>
            <p:cNvPr id="123" name="shp_Region_Cayo" descr="Admin1_Id=&quot;BLZ&quot;&#10;Admin1_Label=&quot;Belize&quot;&#10;Admin2_Id=&quot;BLZ.2_1&quot;&#10;Admin2_Label=&quot;Cayo&quot;&#10;" title="Cayo">
              <a:extLst>
                <a:ext uri="{FF2B5EF4-FFF2-40B4-BE49-F238E27FC236}">
                  <a16:creationId xmlns:a16="http://schemas.microsoft.com/office/drawing/2014/main" id="{7B0E23AC-9168-3FC2-69DD-C8C76BBA79C6}"/>
                </a:ext>
              </a:extLst>
            </p:cNvPr>
            <p:cNvSpPr/>
            <p:nvPr/>
          </p:nvSpPr>
          <p:spPr>
            <a:xfrm>
              <a:off x="85138" y="2323153"/>
              <a:ext cx="1509278" cy="2519196"/>
            </a:xfrm>
            <a:custGeom>
              <a:avLst/>
              <a:gdLst/>
              <a:ahLst/>
              <a:cxnLst/>
              <a:rect l="0" t="0" r="0" b="0"/>
              <a:pathLst>
                <a:path w="1509278" h="2519196">
                  <a:moveTo>
                    <a:pt x="96067" y="409942"/>
                  </a:moveTo>
                  <a:lnTo>
                    <a:pt x="97459" y="1064510"/>
                  </a:lnTo>
                  <a:lnTo>
                    <a:pt x="79639" y="1330723"/>
                  </a:lnTo>
                  <a:lnTo>
                    <a:pt x="62051" y="1593289"/>
                  </a:lnTo>
                  <a:lnTo>
                    <a:pt x="39266" y="1933316"/>
                  </a:lnTo>
                  <a:lnTo>
                    <a:pt x="47712" y="1933369"/>
                  </a:lnTo>
                  <a:lnTo>
                    <a:pt x="21142" y="2324139"/>
                  </a:lnTo>
                  <a:lnTo>
                    <a:pt x="13053" y="2324532"/>
                  </a:lnTo>
                  <a:lnTo>
                    <a:pt x="0" y="2519195"/>
                  </a:lnTo>
                  <a:lnTo>
                    <a:pt x="176812" y="2401331"/>
                  </a:lnTo>
                  <a:lnTo>
                    <a:pt x="329697" y="2373529"/>
                  </a:lnTo>
                  <a:lnTo>
                    <a:pt x="420049" y="2283181"/>
                  </a:lnTo>
                  <a:lnTo>
                    <a:pt x="496492" y="2324884"/>
                  </a:lnTo>
                  <a:lnTo>
                    <a:pt x="593790" y="2262334"/>
                  </a:lnTo>
                  <a:lnTo>
                    <a:pt x="593790" y="2199784"/>
                  </a:lnTo>
                  <a:lnTo>
                    <a:pt x="711944" y="2171986"/>
                  </a:lnTo>
                  <a:lnTo>
                    <a:pt x="823135" y="2116386"/>
                  </a:lnTo>
                  <a:lnTo>
                    <a:pt x="885685" y="2019088"/>
                  </a:lnTo>
                  <a:lnTo>
                    <a:pt x="878739" y="1984340"/>
                  </a:lnTo>
                  <a:lnTo>
                    <a:pt x="878739" y="1963493"/>
                  </a:lnTo>
                  <a:lnTo>
                    <a:pt x="896863" y="1939316"/>
                  </a:lnTo>
                  <a:lnTo>
                    <a:pt x="913362" y="1939432"/>
                  </a:lnTo>
                  <a:lnTo>
                    <a:pt x="980001" y="1889448"/>
                  </a:lnTo>
                  <a:lnTo>
                    <a:pt x="986162" y="1875096"/>
                  </a:lnTo>
                  <a:lnTo>
                    <a:pt x="1002875" y="1836102"/>
                  </a:lnTo>
                  <a:lnTo>
                    <a:pt x="1060015" y="1695119"/>
                  </a:lnTo>
                  <a:lnTo>
                    <a:pt x="1117173" y="1618909"/>
                  </a:lnTo>
                  <a:lnTo>
                    <a:pt x="1155278" y="1592236"/>
                  </a:lnTo>
                  <a:lnTo>
                    <a:pt x="1227685" y="1592236"/>
                  </a:lnTo>
                  <a:lnTo>
                    <a:pt x="1201008" y="1535083"/>
                  </a:lnTo>
                  <a:lnTo>
                    <a:pt x="1260308" y="1504651"/>
                  </a:lnTo>
                  <a:lnTo>
                    <a:pt x="1239113" y="1321701"/>
                  </a:lnTo>
                  <a:lnTo>
                    <a:pt x="1297931" y="1302095"/>
                  </a:lnTo>
                  <a:lnTo>
                    <a:pt x="1304859" y="1281757"/>
                  </a:lnTo>
                  <a:lnTo>
                    <a:pt x="1339375" y="1253821"/>
                  </a:lnTo>
                  <a:lnTo>
                    <a:pt x="1405604" y="1149728"/>
                  </a:lnTo>
                  <a:lnTo>
                    <a:pt x="1486046" y="1055104"/>
                  </a:lnTo>
                  <a:lnTo>
                    <a:pt x="1475975" y="1030610"/>
                  </a:lnTo>
                  <a:lnTo>
                    <a:pt x="1472689" y="1032261"/>
                  </a:lnTo>
                  <a:lnTo>
                    <a:pt x="1439459" y="917754"/>
                  </a:lnTo>
                  <a:lnTo>
                    <a:pt x="1450780" y="904295"/>
                  </a:lnTo>
                  <a:lnTo>
                    <a:pt x="1457262" y="895179"/>
                  </a:lnTo>
                  <a:lnTo>
                    <a:pt x="1478171" y="876475"/>
                  </a:lnTo>
                  <a:lnTo>
                    <a:pt x="1489814" y="862445"/>
                  </a:lnTo>
                  <a:lnTo>
                    <a:pt x="1496777" y="850767"/>
                  </a:lnTo>
                  <a:lnTo>
                    <a:pt x="1496760" y="818067"/>
                  </a:lnTo>
                  <a:lnTo>
                    <a:pt x="1487439" y="785373"/>
                  </a:lnTo>
                  <a:lnTo>
                    <a:pt x="1485082" y="755004"/>
                  </a:lnTo>
                  <a:lnTo>
                    <a:pt x="1485064" y="722309"/>
                  </a:lnTo>
                  <a:lnTo>
                    <a:pt x="1509277" y="674231"/>
                  </a:lnTo>
                  <a:lnTo>
                    <a:pt x="1481314" y="596155"/>
                  </a:lnTo>
                  <a:lnTo>
                    <a:pt x="1467118" y="317005"/>
                  </a:lnTo>
                  <a:lnTo>
                    <a:pt x="1443459" y="0"/>
                  </a:lnTo>
                  <a:lnTo>
                    <a:pt x="1400872" y="75701"/>
                  </a:lnTo>
                  <a:lnTo>
                    <a:pt x="1327733" y="53193"/>
                  </a:lnTo>
                  <a:lnTo>
                    <a:pt x="1060211" y="193989"/>
                  </a:lnTo>
                  <a:lnTo>
                    <a:pt x="776334" y="212912"/>
                  </a:lnTo>
                  <a:lnTo>
                    <a:pt x="781066" y="175062"/>
                  </a:lnTo>
                  <a:lnTo>
                    <a:pt x="691178" y="269690"/>
                  </a:lnTo>
                  <a:lnTo>
                    <a:pt x="459333" y="269690"/>
                  </a:lnTo>
                  <a:lnTo>
                    <a:pt x="416746" y="312273"/>
                  </a:lnTo>
                  <a:lnTo>
                    <a:pt x="359981" y="321737"/>
                  </a:lnTo>
                  <a:lnTo>
                    <a:pt x="388355" y="283882"/>
                  </a:lnTo>
                  <a:lnTo>
                    <a:pt x="303198" y="283882"/>
                  </a:lnTo>
                  <a:lnTo>
                    <a:pt x="208561" y="326464"/>
                  </a:lnTo>
                  <a:lnTo>
                    <a:pt x="96067" y="40994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9278" tIns="2519196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>
                  <a:solidFill>
                    <a:srgbClr val="FFFFFF"/>
                  </a:solidFill>
                  <a:latin typeface="Arial" panose="020B0604020202020204" pitchFamily="34" charset="0"/>
                </a:rPr>
                <a:t>Cayo</a:t>
              </a:r>
            </a:p>
          </p:txBody>
        </p:sp>
        <p:grpSp>
          <p:nvGrpSpPr>
            <p:cNvPr id="124" name="shp_Region_Corozal" descr="Admin1_Id=&quot;BLZ&quot;&#10;Admin1_Label=&quot;Belize&quot;&#10;Admin2_Id=&quot;BLZ.3_1&quot;&#10;Admin2_Label=&quot;Corozal&quot;&#10;" title="Corozal">
              <a:extLst>
                <a:ext uri="{FF2B5EF4-FFF2-40B4-BE49-F238E27FC236}">
                  <a16:creationId xmlns:a16="http://schemas.microsoft.com/office/drawing/2014/main" id="{355D0A0A-6E1B-5160-F866-C6A28434D156}"/>
                </a:ext>
              </a:extLst>
            </p:cNvPr>
            <p:cNvGrpSpPr/>
            <p:nvPr/>
          </p:nvGrpSpPr>
          <p:grpSpPr>
            <a:xfrm>
              <a:off x="1450565" y="0"/>
              <a:ext cx="1818600" cy="1525027"/>
              <a:chOff x="1450565" y="0"/>
              <a:chExt cx="1818600" cy="1525027"/>
            </a:xfrm>
            <a:solidFill>
              <a:srgbClr val="92D050"/>
            </a:solidFill>
          </p:grpSpPr>
          <p:sp>
            <p:nvSpPr>
              <p:cNvPr id="164" name="shp_Region_Corozal_$1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42F0A01D-A883-040F-5A2C-2BFA1CB290AE}"/>
                  </a:ext>
                </a:extLst>
              </p:cNvPr>
              <p:cNvSpPr/>
              <p:nvPr/>
            </p:nvSpPr>
            <p:spPr>
              <a:xfrm>
                <a:off x="1450565" y="0"/>
                <a:ext cx="1206187" cy="1213664"/>
              </a:xfrm>
              <a:custGeom>
                <a:avLst/>
                <a:gdLst/>
                <a:ahLst/>
                <a:cxnLst/>
                <a:rect l="0" t="0" r="0" b="0"/>
                <a:pathLst>
                  <a:path w="1206187" h="1213664">
                    <a:moveTo>
                      <a:pt x="1052105" y="1213663"/>
                    </a:moveTo>
                    <a:lnTo>
                      <a:pt x="1050801" y="1199963"/>
                    </a:lnTo>
                    <a:lnTo>
                      <a:pt x="1057301" y="1165500"/>
                    </a:lnTo>
                    <a:lnTo>
                      <a:pt x="1059908" y="1158353"/>
                    </a:lnTo>
                    <a:lnTo>
                      <a:pt x="1081353" y="1138850"/>
                    </a:lnTo>
                    <a:lnTo>
                      <a:pt x="1089817" y="1125846"/>
                    </a:lnTo>
                    <a:lnTo>
                      <a:pt x="1104120" y="1110244"/>
                    </a:lnTo>
                    <a:lnTo>
                      <a:pt x="1111923" y="1085540"/>
                    </a:lnTo>
                    <a:lnTo>
                      <a:pt x="1116476" y="1054332"/>
                    </a:lnTo>
                    <a:lnTo>
                      <a:pt x="1122976" y="1031579"/>
                    </a:lnTo>
                    <a:lnTo>
                      <a:pt x="1127512" y="1020526"/>
                    </a:lnTo>
                    <a:lnTo>
                      <a:pt x="1128815" y="1004919"/>
                    </a:lnTo>
                    <a:lnTo>
                      <a:pt x="1141171" y="988023"/>
                    </a:lnTo>
                    <a:lnTo>
                      <a:pt x="1146368" y="954217"/>
                    </a:lnTo>
                    <a:lnTo>
                      <a:pt x="1148975" y="943164"/>
                    </a:lnTo>
                    <a:lnTo>
                      <a:pt x="1158081" y="930160"/>
                    </a:lnTo>
                    <a:lnTo>
                      <a:pt x="1167170" y="932111"/>
                    </a:lnTo>
                    <a:lnTo>
                      <a:pt x="1169777" y="902854"/>
                    </a:lnTo>
                    <a:lnTo>
                      <a:pt x="1178223" y="887252"/>
                    </a:lnTo>
                    <a:lnTo>
                      <a:pt x="1177580" y="854744"/>
                    </a:lnTo>
                    <a:lnTo>
                      <a:pt x="1182776" y="844339"/>
                    </a:lnTo>
                    <a:lnTo>
                      <a:pt x="1183437" y="824840"/>
                    </a:lnTo>
                    <a:lnTo>
                      <a:pt x="1188633" y="800788"/>
                    </a:lnTo>
                    <a:lnTo>
                      <a:pt x="1187990" y="776731"/>
                    </a:lnTo>
                    <a:lnTo>
                      <a:pt x="1192526" y="763727"/>
                    </a:lnTo>
                    <a:lnTo>
                      <a:pt x="1192526" y="740974"/>
                    </a:lnTo>
                    <a:lnTo>
                      <a:pt x="1196436" y="718221"/>
                    </a:lnTo>
                    <a:lnTo>
                      <a:pt x="1200990" y="705217"/>
                    </a:lnTo>
                    <a:lnTo>
                      <a:pt x="1204239" y="685062"/>
                    </a:lnTo>
                    <a:lnTo>
                      <a:pt x="1204882" y="665563"/>
                    </a:lnTo>
                    <a:lnTo>
                      <a:pt x="1199686" y="660362"/>
                    </a:lnTo>
                    <a:lnTo>
                      <a:pt x="1199025" y="649956"/>
                    </a:lnTo>
                    <a:lnTo>
                      <a:pt x="1193829" y="644756"/>
                    </a:lnTo>
                    <a:lnTo>
                      <a:pt x="1192526" y="622645"/>
                    </a:lnTo>
                    <a:lnTo>
                      <a:pt x="1193829" y="607700"/>
                    </a:lnTo>
                    <a:lnTo>
                      <a:pt x="1190580" y="589495"/>
                    </a:lnTo>
                    <a:lnTo>
                      <a:pt x="1191240" y="574545"/>
                    </a:lnTo>
                    <a:lnTo>
                      <a:pt x="1195133" y="563492"/>
                    </a:lnTo>
                    <a:lnTo>
                      <a:pt x="1193829" y="545288"/>
                    </a:lnTo>
                    <a:lnTo>
                      <a:pt x="1190580" y="534230"/>
                    </a:lnTo>
                    <a:lnTo>
                      <a:pt x="1201632" y="537489"/>
                    </a:lnTo>
                    <a:lnTo>
                      <a:pt x="1206186" y="534230"/>
                    </a:lnTo>
                    <a:lnTo>
                      <a:pt x="1206186" y="522535"/>
                    </a:lnTo>
                    <a:lnTo>
                      <a:pt x="1187330" y="517329"/>
                    </a:lnTo>
                    <a:lnTo>
                      <a:pt x="1190580" y="503031"/>
                    </a:lnTo>
                    <a:lnTo>
                      <a:pt x="1203579" y="503678"/>
                    </a:lnTo>
                    <a:lnTo>
                      <a:pt x="1199025" y="495875"/>
                    </a:lnTo>
                    <a:lnTo>
                      <a:pt x="1193187" y="497826"/>
                    </a:lnTo>
                    <a:lnTo>
                      <a:pt x="1187990" y="489376"/>
                    </a:lnTo>
                    <a:lnTo>
                      <a:pt x="1179527" y="488077"/>
                    </a:lnTo>
                    <a:lnTo>
                      <a:pt x="1180830" y="497174"/>
                    </a:lnTo>
                    <a:lnTo>
                      <a:pt x="1172384" y="498478"/>
                    </a:lnTo>
                    <a:lnTo>
                      <a:pt x="1173688" y="480273"/>
                    </a:lnTo>
                    <a:lnTo>
                      <a:pt x="1176937" y="465971"/>
                    </a:lnTo>
                    <a:lnTo>
                      <a:pt x="1182776" y="464667"/>
                    </a:lnTo>
                    <a:lnTo>
                      <a:pt x="1185383" y="454918"/>
                    </a:lnTo>
                    <a:lnTo>
                      <a:pt x="1179527" y="448418"/>
                    </a:lnTo>
                    <a:lnTo>
                      <a:pt x="1184723" y="437365"/>
                    </a:lnTo>
                    <a:lnTo>
                      <a:pt x="1185383" y="411362"/>
                    </a:lnTo>
                    <a:lnTo>
                      <a:pt x="1189937" y="400309"/>
                    </a:lnTo>
                    <a:lnTo>
                      <a:pt x="1187330" y="386006"/>
                    </a:lnTo>
                    <a:lnTo>
                      <a:pt x="1186687" y="369110"/>
                    </a:lnTo>
                    <a:lnTo>
                      <a:pt x="1183437" y="357401"/>
                    </a:lnTo>
                    <a:lnTo>
                      <a:pt x="1174973" y="349593"/>
                    </a:lnTo>
                    <a:lnTo>
                      <a:pt x="1173688" y="328795"/>
                    </a:lnTo>
                    <a:lnTo>
                      <a:pt x="1181473" y="328795"/>
                    </a:lnTo>
                    <a:lnTo>
                      <a:pt x="1181473" y="311242"/>
                    </a:lnTo>
                    <a:lnTo>
                      <a:pt x="1186687" y="297591"/>
                    </a:lnTo>
                    <a:lnTo>
                      <a:pt x="1182776" y="288489"/>
                    </a:lnTo>
                    <a:lnTo>
                      <a:pt x="1169134" y="302140"/>
                    </a:lnTo>
                    <a:lnTo>
                      <a:pt x="1150921" y="307992"/>
                    </a:lnTo>
                    <a:lnTo>
                      <a:pt x="1122976" y="306042"/>
                    </a:lnTo>
                    <a:lnTo>
                      <a:pt x="1115173" y="310591"/>
                    </a:lnTo>
                    <a:lnTo>
                      <a:pt x="1103459" y="312546"/>
                    </a:lnTo>
                    <a:lnTo>
                      <a:pt x="1094370" y="319045"/>
                    </a:lnTo>
                    <a:lnTo>
                      <a:pt x="1079407" y="324246"/>
                    </a:lnTo>
                    <a:lnTo>
                      <a:pt x="1075514" y="329447"/>
                    </a:lnTo>
                    <a:lnTo>
                      <a:pt x="1061854" y="338549"/>
                    </a:lnTo>
                    <a:lnTo>
                      <a:pt x="1028053" y="351548"/>
                    </a:lnTo>
                    <a:lnTo>
                      <a:pt x="1020892" y="361302"/>
                    </a:lnTo>
                    <a:lnTo>
                      <a:pt x="1005304" y="369753"/>
                    </a:lnTo>
                    <a:lnTo>
                      <a:pt x="989037" y="370404"/>
                    </a:lnTo>
                    <a:lnTo>
                      <a:pt x="974734" y="369110"/>
                    </a:lnTo>
                    <a:lnTo>
                      <a:pt x="953931" y="369753"/>
                    </a:lnTo>
                    <a:lnTo>
                      <a:pt x="944843" y="371703"/>
                    </a:lnTo>
                    <a:lnTo>
                      <a:pt x="924022" y="389908"/>
                    </a:lnTo>
                    <a:lnTo>
                      <a:pt x="911684" y="396407"/>
                    </a:lnTo>
                    <a:lnTo>
                      <a:pt x="900631" y="382109"/>
                    </a:lnTo>
                    <a:lnTo>
                      <a:pt x="927290" y="372355"/>
                    </a:lnTo>
                    <a:lnTo>
                      <a:pt x="917523" y="365847"/>
                    </a:lnTo>
                    <a:lnTo>
                      <a:pt x="925326" y="356749"/>
                    </a:lnTo>
                    <a:lnTo>
                      <a:pt x="928576" y="342446"/>
                    </a:lnTo>
                    <a:lnTo>
                      <a:pt x="918826" y="345700"/>
                    </a:lnTo>
                    <a:lnTo>
                      <a:pt x="911023" y="351548"/>
                    </a:lnTo>
                    <a:lnTo>
                      <a:pt x="897381" y="356749"/>
                    </a:lnTo>
                    <a:lnTo>
                      <a:pt x="885024" y="365204"/>
                    </a:lnTo>
                    <a:lnTo>
                      <a:pt x="877221" y="365204"/>
                    </a:lnTo>
                    <a:lnTo>
                      <a:pt x="865525" y="369110"/>
                    </a:lnTo>
                    <a:lnTo>
                      <a:pt x="857062" y="358048"/>
                    </a:lnTo>
                    <a:lnTo>
                      <a:pt x="857062" y="351548"/>
                    </a:lnTo>
                    <a:lnTo>
                      <a:pt x="864865" y="347656"/>
                    </a:lnTo>
                    <a:lnTo>
                      <a:pt x="873329" y="339196"/>
                    </a:lnTo>
                    <a:lnTo>
                      <a:pt x="862276" y="335946"/>
                    </a:lnTo>
                    <a:lnTo>
                      <a:pt x="854472" y="326844"/>
                    </a:lnTo>
                    <a:lnTo>
                      <a:pt x="843420" y="323594"/>
                    </a:lnTo>
                    <a:lnTo>
                      <a:pt x="836259" y="333996"/>
                    </a:lnTo>
                    <a:lnTo>
                      <a:pt x="822617" y="337245"/>
                    </a:lnTo>
                    <a:lnTo>
                      <a:pt x="816117" y="330094"/>
                    </a:lnTo>
                    <a:lnTo>
                      <a:pt x="809618" y="335946"/>
                    </a:lnTo>
                    <a:lnTo>
                      <a:pt x="795958" y="334647"/>
                    </a:lnTo>
                    <a:lnTo>
                      <a:pt x="777102" y="346999"/>
                    </a:lnTo>
                    <a:lnTo>
                      <a:pt x="762799" y="345053"/>
                    </a:lnTo>
                    <a:lnTo>
                      <a:pt x="756299" y="349593"/>
                    </a:lnTo>
                    <a:lnTo>
                      <a:pt x="749157" y="348298"/>
                    </a:lnTo>
                    <a:lnTo>
                      <a:pt x="739389" y="351548"/>
                    </a:lnTo>
                    <a:lnTo>
                      <a:pt x="727694" y="350901"/>
                    </a:lnTo>
                    <a:lnTo>
                      <a:pt x="714694" y="357401"/>
                    </a:lnTo>
                    <a:lnTo>
                      <a:pt x="711445" y="361954"/>
                    </a:lnTo>
                    <a:lnTo>
                      <a:pt x="684142" y="373650"/>
                    </a:lnTo>
                    <a:lnTo>
                      <a:pt x="673732" y="373650"/>
                    </a:lnTo>
                    <a:lnTo>
                      <a:pt x="664625" y="382109"/>
                    </a:lnTo>
                    <a:lnTo>
                      <a:pt x="639270" y="389256"/>
                    </a:lnTo>
                    <a:lnTo>
                      <a:pt x="636680" y="396407"/>
                    </a:lnTo>
                    <a:lnTo>
                      <a:pt x="630824" y="396407"/>
                    </a:lnTo>
                    <a:lnTo>
                      <a:pt x="616521" y="390559"/>
                    </a:lnTo>
                    <a:lnTo>
                      <a:pt x="607414" y="391207"/>
                    </a:lnTo>
                    <a:lnTo>
                      <a:pt x="607414" y="376908"/>
                    </a:lnTo>
                    <a:lnTo>
                      <a:pt x="611325" y="363248"/>
                    </a:lnTo>
                    <a:lnTo>
                      <a:pt x="617824" y="361954"/>
                    </a:lnTo>
                    <a:lnTo>
                      <a:pt x="619771" y="354802"/>
                    </a:lnTo>
                    <a:lnTo>
                      <a:pt x="630824" y="343098"/>
                    </a:lnTo>
                    <a:lnTo>
                      <a:pt x="646430" y="334647"/>
                    </a:lnTo>
                    <a:lnTo>
                      <a:pt x="652287" y="325545"/>
                    </a:lnTo>
                    <a:lnTo>
                      <a:pt x="660072" y="324246"/>
                    </a:lnTo>
                    <a:lnTo>
                      <a:pt x="671786" y="315144"/>
                    </a:lnTo>
                    <a:lnTo>
                      <a:pt x="665929" y="306042"/>
                    </a:lnTo>
                    <a:lnTo>
                      <a:pt x="648376" y="305390"/>
                    </a:lnTo>
                    <a:lnTo>
                      <a:pt x="636020" y="307341"/>
                    </a:lnTo>
                    <a:lnTo>
                      <a:pt x="634074" y="311894"/>
                    </a:lnTo>
                    <a:lnTo>
                      <a:pt x="615878" y="317095"/>
                    </a:lnTo>
                    <a:lnTo>
                      <a:pt x="602218" y="324246"/>
                    </a:lnTo>
                    <a:lnTo>
                      <a:pt x="588576" y="322943"/>
                    </a:lnTo>
                    <a:lnTo>
                      <a:pt x="587272" y="326844"/>
                    </a:lnTo>
                    <a:lnTo>
                      <a:pt x="561917" y="341794"/>
                    </a:lnTo>
                    <a:lnTo>
                      <a:pt x="546953" y="348298"/>
                    </a:lnTo>
                    <a:lnTo>
                      <a:pt x="539150" y="348298"/>
                    </a:lnTo>
                    <a:lnTo>
                      <a:pt x="513794" y="354151"/>
                    </a:lnTo>
                    <a:lnTo>
                      <a:pt x="505348" y="346348"/>
                    </a:lnTo>
                    <a:lnTo>
                      <a:pt x="504705" y="341147"/>
                    </a:lnTo>
                    <a:lnTo>
                      <a:pt x="495599" y="337897"/>
                    </a:lnTo>
                    <a:lnTo>
                      <a:pt x="482600" y="319693"/>
                    </a:lnTo>
                    <a:lnTo>
                      <a:pt x="481939" y="280030"/>
                    </a:lnTo>
                    <a:lnTo>
                      <a:pt x="491046" y="264437"/>
                    </a:lnTo>
                    <a:lnTo>
                      <a:pt x="498206" y="263133"/>
                    </a:lnTo>
                    <a:lnTo>
                      <a:pt x="517062" y="245576"/>
                    </a:lnTo>
                    <a:lnTo>
                      <a:pt x="533954" y="243630"/>
                    </a:lnTo>
                    <a:lnTo>
                      <a:pt x="545668" y="235827"/>
                    </a:lnTo>
                    <a:lnTo>
                      <a:pt x="554114" y="226724"/>
                    </a:lnTo>
                    <a:lnTo>
                      <a:pt x="574916" y="217622"/>
                    </a:lnTo>
                    <a:lnTo>
                      <a:pt x="581416" y="211123"/>
                    </a:lnTo>
                    <a:lnTo>
                      <a:pt x="588576" y="209172"/>
                    </a:lnTo>
                    <a:lnTo>
                      <a:pt x="595718" y="202672"/>
                    </a:lnTo>
                    <a:lnTo>
                      <a:pt x="612628" y="200074"/>
                    </a:lnTo>
                    <a:lnTo>
                      <a:pt x="626270" y="187718"/>
                    </a:lnTo>
                    <a:lnTo>
                      <a:pt x="636680" y="185767"/>
                    </a:lnTo>
                    <a:lnTo>
                      <a:pt x="659429" y="166915"/>
                    </a:lnTo>
                    <a:lnTo>
                      <a:pt x="668536" y="153911"/>
                    </a:lnTo>
                    <a:lnTo>
                      <a:pt x="668536" y="145461"/>
                    </a:lnTo>
                    <a:lnTo>
                      <a:pt x="672429" y="129207"/>
                    </a:lnTo>
                    <a:lnTo>
                      <a:pt x="680232" y="123355"/>
                    </a:lnTo>
                    <a:lnTo>
                      <a:pt x="687392" y="125310"/>
                    </a:lnTo>
                    <a:lnTo>
                      <a:pt x="691285" y="116204"/>
                    </a:lnTo>
                    <a:lnTo>
                      <a:pt x="708195" y="108405"/>
                    </a:lnTo>
                    <a:lnTo>
                      <a:pt x="715998" y="95401"/>
                    </a:lnTo>
                    <a:lnTo>
                      <a:pt x="720551" y="93455"/>
                    </a:lnTo>
                    <a:lnTo>
                      <a:pt x="708195" y="75898"/>
                    </a:lnTo>
                    <a:lnTo>
                      <a:pt x="704945" y="58341"/>
                    </a:lnTo>
                    <a:lnTo>
                      <a:pt x="695195" y="51194"/>
                    </a:lnTo>
                    <a:lnTo>
                      <a:pt x="684142" y="47944"/>
                    </a:lnTo>
                    <a:lnTo>
                      <a:pt x="678285" y="38190"/>
                    </a:lnTo>
                    <a:lnTo>
                      <a:pt x="670482" y="34293"/>
                    </a:lnTo>
                    <a:lnTo>
                      <a:pt x="672429" y="27789"/>
                    </a:lnTo>
                    <a:lnTo>
                      <a:pt x="670482" y="17294"/>
                    </a:lnTo>
                    <a:lnTo>
                      <a:pt x="645930" y="15374"/>
                    </a:lnTo>
                    <a:lnTo>
                      <a:pt x="616128" y="19423"/>
                    </a:lnTo>
                    <a:lnTo>
                      <a:pt x="584540" y="25369"/>
                    </a:lnTo>
                    <a:lnTo>
                      <a:pt x="533918" y="27570"/>
                    </a:lnTo>
                    <a:lnTo>
                      <a:pt x="519651" y="23521"/>
                    </a:lnTo>
                    <a:lnTo>
                      <a:pt x="500170" y="0"/>
                    </a:lnTo>
                    <a:lnTo>
                      <a:pt x="489260" y="491"/>
                    </a:lnTo>
                    <a:lnTo>
                      <a:pt x="475350" y="5540"/>
                    </a:lnTo>
                    <a:lnTo>
                      <a:pt x="413818" y="31882"/>
                    </a:lnTo>
                    <a:lnTo>
                      <a:pt x="400193" y="36766"/>
                    </a:lnTo>
                    <a:lnTo>
                      <a:pt x="379855" y="39694"/>
                    </a:lnTo>
                    <a:lnTo>
                      <a:pt x="367552" y="35217"/>
                    </a:lnTo>
                    <a:lnTo>
                      <a:pt x="354892" y="15120"/>
                    </a:lnTo>
                    <a:lnTo>
                      <a:pt x="313323" y="7513"/>
                    </a:lnTo>
                    <a:lnTo>
                      <a:pt x="309430" y="4236"/>
                    </a:lnTo>
                    <a:lnTo>
                      <a:pt x="288770" y="11455"/>
                    </a:lnTo>
                    <a:lnTo>
                      <a:pt x="243916" y="54064"/>
                    </a:lnTo>
                    <a:lnTo>
                      <a:pt x="220739" y="67380"/>
                    </a:lnTo>
                    <a:lnTo>
                      <a:pt x="201990" y="85362"/>
                    </a:lnTo>
                    <a:lnTo>
                      <a:pt x="189258" y="114699"/>
                    </a:lnTo>
                    <a:lnTo>
                      <a:pt x="188401" y="133471"/>
                    </a:lnTo>
                    <a:lnTo>
                      <a:pt x="173687" y="183709"/>
                    </a:lnTo>
                    <a:lnTo>
                      <a:pt x="161545" y="209837"/>
                    </a:lnTo>
                    <a:lnTo>
                      <a:pt x="151242" y="225260"/>
                    </a:lnTo>
                    <a:lnTo>
                      <a:pt x="144153" y="251991"/>
                    </a:lnTo>
                    <a:lnTo>
                      <a:pt x="126922" y="281806"/>
                    </a:lnTo>
                    <a:lnTo>
                      <a:pt x="123851" y="300546"/>
                    </a:lnTo>
                    <a:lnTo>
                      <a:pt x="130708" y="329076"/>
                    </a:lnTo>
                    <a:lnTo>
                      <a:pt x="126583" y="344049"/>
                    </a:lnTo>
                    <a:lnTo>
                      <a:pt x="120262" y="354691"/>
                    </a:lnTo>
                    <a:lnTo>
                      <a:pt x="94156" y="380096"/>
                    </a:lnTo>
                    <a:lnTo>
                      <a:pt x="60551" y="420955"/>
                    </a:lnTo>
                    <a:lnTo>
                      <a:pt x="20535" y="455034"/>
                    </a:lnTo>
                    <a:lnTo>
                      <a:pt x="14017" y="468082"/>
                    </a:lnTo>
                    <a:lnTo>
                      <a:pt x="15464" y="484202"/>
                    </a:lnTo>
                    <a:lnTo>
                      <a:pt x="7232" y="513066"/>
                    </a:lnTo>
                    <a:lnTo>
                      <a:pt x="0" y="562448"/>
                    </a:lnTo>
                    <a:lnTo>
                      <a:pt x="67675" y="578478"/>
                    </a:lnTo>
                    <a:lnTo>
                      <a:pt x="149653" y="614914"/>
                    </a:lnTo>
                    <a:lnTo>
                      <a:pt x="274164" y="669571"/>
                    </a:lnTo>
                    <a:lnTo>
                      <a:pt x="340964" y="781922"/>
                    </a:lnTo>
                    <a:lnTo>
                      <a:pt x="380444" y="882127"/>
                    </a:lnTo>
                    <a:lnTo>
                      <a:pt x="562631" y="1027878"/>
                    </a:lnTo>
                    <a:lnTo>
                      <a:pt x="711409" y="1188811"/>
                    </a:lnTo>
                    <a:lnTo>
                      <a:pt x="722265" y="1189977"/>
                    </a:lnTo>
                    <a:lnTo>
                      <a:pt x="749889" y="1192936"/>
                    </a:lnTo>
                    <a:lnTo>
                      <a:pt x="750871" y="1194432"/>
                    </a:lnTo>
                    <a:lnTo>
                      <a:pt x="1052105" y="1213663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06187" tIns="121366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65" name="shp_Region_Corozal_$2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17A380FB-7A3A-56BB-A223-027702A04E09}"/>
                  </a:ext>
                </a:extLst>
              </p:cNvPr>
              <p:cNvSpPr/>
              <p:nvPr/>
            </p:nvSpPr>
            <p:spPr>
              <a:xfrm>
                <a:off x="2636591" y="323594"/>
                <a:ext cx="11054" cy="1690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6907">
                    <a:moveTo>
                      <a:pt x="0" y="0"/>
                    </a:moveTo>
                    <a:lnTo>
                      <a:pt x="661" y="16906"/>
                    </a:lnTo>
                    <a:lnTo>
                      <a:pt x="11053" y="6500"/>
                    </a:lnTo>
                    <a:lnTo>
                      <a:pt x="1964" y="45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690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66" name="shp_Region_Corozal_$3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1F12A00E-DAB6-3CC0-0C77-13866E99D9D4}"/>
                  </a:ext>
                </a:extLst>
              </p:cNvPr>
              <p:cNvSpPr/>
              <p:nvPr/>
            </p:nvSpPr>
            <p:spPr>
              <a:xfrm>
                <a:off x="2771816" y="688535"/>
                <a:ext cx="497349" cy="769526"/>
              </a:xfrm>
              <a:custGeom>
                <a:avLst/>
                <a:gdLst/>
                <a:ahLst/>
                <a:cxnLst/>
                <a:rect l="0" t="0" r="0" b="0"/>
                <a:pathLst>
                  <a:path w="497349" h="769526">
                    <a:moveTo>
                      <a:pt x="224952" y="603744"/>
                    </a:moveTo>
                    <a:lnTo>
                      <a:pt x="232095" y="593990"/>
                    </a:lnTo>
                    <a:lnTo>
                      <a:pt x="235345" y="579040"/>
                    </a:lnTo>
                    <a:lnTo>
                      <a:pt x="244451" y="574487"/>
                    </a:lnTo>
                    <a:lnTo>
                      <a:pt x="253558" y="565385"/>
                    </a:lnTo>
                    <a:lnTo>
                      <a:pt x="258111" y="549787"/>
                    </a:lnTo>
                    <a:lnTo>
                      <a:pt x="273057" y="525079"/>
                    </a:lnTo>
                    <a:lnTo>
                      <a:pt x="286717" y="495174"/>
                    </a:lnTo>
                    <a:lnTo>
                      <a:pt x="288003" y="486724"/>
                    </a:lnTo>
                    <a:lnTo>
                      <a:pt x="294520" y="476965"/>
                    </a:lnTo>
                    <a:lnTo>
                      <a:pt x="304912" y="449663"/>
                    </a:lnTo>
                    <a:lnTo>
                      <a:pt x="315323" y="426263"/>
                    </a:lnTo>
                    <a:lnTo>
                      <a:pt x="330268" y="409357"/>
                    </a:lnTo>
                    <a:lnTo>
                      <a:pt x="339375" y="391805"/>
                    </a:lnTo>
                    <a:lnTo>
                      <a:pt x="343928" y="378145"/>
                    </a:lnTo>
                    <a:lnTo>
                      <a:pt x="344571" y="359954"/>
                    </a:lnTo>
                    <a:lnTo>
                      <a:pt x="350428" y="345646"/>
                    </a:lnTo>
                    <a:lnTo>
                      <a:pt x="357570" y="338495"/>
                    </a:lnTo>
                    <a:lnTo>
                      <a:pt x="366034" y="317688"/>
                    </a:lnTo>
                    <a:lnTo>
                      <a:pt x="369284" y="294935"/>
                    </a:lnTo>
                    <a:lnTo>
                      <a:pt x="375784" y="282583"/>
                    </a:lnTo>
                    <a:lnTo>
                      <a:pt x="385533" y="268932"/>
                    </a:lnTo>
                    <a:lnTo>
                      <a:pt x="406978" y="252674"/>
                    </a:lnTo>
                    <a:lnTo>
                      <a:pt x="418031" y="241625"/>
                    </a:lnTo>
                    <a:lnTo>
                      <a:pt x="425835" y="224720"/>
                    </a:lnTo>
                    <a:lnTo>
                      <a:pt x="434941" y="221470"/>
                    </a:lnTo>
                    <a:lnTo>
                      <a:pt x="444048" y="211720"/>
                    </a:lnTo>
                    <a:lnTo>
                      <a:pt x="457690" y="204565"/>
                    </a:lnTo>
                    <a:lnTo>
                      <a:pt x="461600" y="205216"/>
                    </a:lnTo>
                    <a:lnTo>
                      <a:pt x="478492" y="194815"/>
                    </a:lnTo>
                    <a:lnTo>
                      <a:pt x="492152" y="195467"/>
                    </a:lnTo>
                    <a:lnTo>
                      <a:pt x="497348" y="187016"/>
                    </a:lnTo>
                    <a:lnTo>
                      <a:pt x="495402" y="174664"/>
                    </a:lnTo>
                    <a:lnTo>
                      <a:pt x="486296" y="164910"/>
                    </a:lnTo>
                    <a:lnTo>
                      <a:pt x="480439" y="142804"/>
                    </a:lnTo>
                    <a:lnTo>
                      <a:pt x="479153" y="120051"/>
                    </a:lnTo>
                    <a:lnTo>
                      <a:pt x="473296" y="105101"/>
                    </a:lnTo>
                    <a:lnTo>
                      <a:pt x="467439" y="95352"/>
                    </a:lnTo>
                    <a:lnTo>
                      <a:pt x="467439" y="79745"/>
                    </a:lnTo>
                    <a:lnTo>
                      <a:pt x="464190" y="67393"/>
                    </a:lnTo>
                    <a:lnTo>
                      <a:pt x="457047" y="58291"/>
                    </a:lnTo>
                    <a:lnTo>
                      <a:pt x="455744" y="48537"/>
                    </a:lnTo>
                    <a:lnTo>
                      <a:pt x="446637" y="38136"/>
                    </a:lnTo>
                    <a:lnTo>
                      <a:pt x="457047" y="29034"/>
                    </a:lnTo>
                    <a:lnTo>
                      <a:pt x="457726" y="25208"/>
                    </a:lnTo>
                    <a:lnTo>
                      <a:pt x="448423" y="11584"/>
                    </a:lnTo>
                    <a:lnTo>
                      <a:pt x="431781" y="0"/>
                    </a:lnTo>
                    <a:lnTo>
                      <a:pt x="427138" y="13432"/>
                    </a:lnTo>
                    <a:lnTo>
                      <a:pt x="419978" y="19932"/>
                    </a:lnTo>
                    <a:lnTo>
                      <a:pt x="414139" y="33592"/>
                    </a:lnTo>
                    <a:lnTo>
                      <a:pt x="408282" y="33592"/>
                    </a:lnTo>
                    <a:lnTo>
                      <a:pt x="405032" y="42689"/>
                    </a:lnTo>
                    <a:lnTo>
                      <a:pt x="397229" y="43337"/>
                    </a:lnTo>
                    <a:lnTo>
                      <a:pt x="394640" y="55689"/>
                    </a:lnTo>
                    <a:lnTo>
                      <a:pt x="381623" y="67393"/>
                    </a:lnTo>
                    <a:lnTo>
                      <a:pt x="366034" y="84946"/>
                    </a:lnTo>
                    <a:lnTo>
                      <a:pt x="358231" y="97954"/>
                    </a:lnTo>
                    <a:lnTo>
                      <a:pt x="355624" y="107699"/>
                    </a:lnTo>
                    <a:lnTo>
                      <a:pt x="356267" y="117453"/>
                    </a:lnTo>
                    <a:lnTo>
                      <a:pt x="340678" y="118748"/>
                    </a:lnTo>
                    <a:lnTo>
                      <a:pt x="341321" y="129810"/>
                    </a:lnTo>
                    <a:lnTo>
                      <a:pt x="335464" y="135006"/>
                    </a:lnTo>
                    <a:lnTo>
                      <a:pt x="332875" y="145407"/>
                    </a:lnTo>
                    <a:lnTo>
                      <a:pt x="337429" y="165562"/>
                    </a:lnTo>
                    <a:lnTo>
                      <a:pt x="335464" y="175312"/>
                    </a:lnTo>
                    <a:lnTo>
                      <a:pt x="327018" y="183762"/>
                    </a:lnTo>
                    <a:lnTo>
                      <a:pt x="326376" y="198065"/>
                    </a:lnTo>
                    <a:lnTo>
                      <a:pt x="311412" y="209765"/>
                    </a:lnTo>
                    <a:lnTo>
                      <a:pt x="299716" y="239674"/>
                    </a:lnTo>
                    <a:lnTo>
                      <a:pt x="292556" y="244228"/>
                    </a:lnTo>
                    <a:lnTo>
                      <a:pt x="276967" y="249428"/>
                    </a:lnTo>
                    <a:lnTo>
                      <a:pt x="275003" y="273481"/>
                    </a:lnTo>
                    <a:lnTo>
                      <a:pt x="282806" y="265682"/>
                    </a:lnTo>
                    <a:lnTo>
                      <a:pt x="296466" y="273481"/>
                    </a:lnTo>
                    <a:lnTo>
                      <a:pt x="305573" y="270883"/>
                    </a:lnTo>
                    <a:lnTo>
                      <a:pt x="309466" y="277382"/>
                    </a:lnTo>
                    <a:lnTo>
                      <a:pt x="304269" y="291033"/>
                    </a:lnTo>
                    <a:lnTo>
                      <a:pt x="289306" y="295587"/>
                    </a:lnTo>
                    <a:lnTo>
                      <a:pt x="282806" y="294935"/>
                    </a:lnTo>
                    <a:lnTo>
                      <a:pt x="278253" y="285833"/>
                    </a:lnTo>
                    <a:lnTo>
                      <a:pt x="254861" y="304689"/>
                    </a:lnTo>
                    <a:lnTo>
                      <a:pt x="249005" y="318340"/>
                    </a:lnTo>
                    <a:lnTo>
                      <a:pt x="241201" y="328741"/>
                    </a:lnTo>
                    <a:lnTo>
                      <a:pt x="221042" y="326790"/>
                    </a:lnTo>
                    <a:lnTo>
                      <a:pt x="209989" y="319643"/>
                    </a:lnTo>
                    <a:lnTo>
                      <a:pt x="204150" y="326143"/>
                    </a:lnTo>
                    <a:lnTo>
                      <a:pt x="204793" y="345646"/>
                    </a:lnTo>
                    <a:lnTo>
                      <a:pt x="208043" y="351499"/>
                    </a:lnTo>
                    <a:lnTo>
                      <a:pt x="209989" y="373600"/>
                    </a:lnTo>
                    <a:lnTo>
                      <a:pt x="204150" y="391805"/>
                    </a:lnTo>
                    <a:lnTo>
                      <a:pt x="213239" y="390506"/>
                    </a:lnTo>
                    <a:lnTo>
                      <a:pt x="217792" y="382051"/>
                    </a:lnTo>
                    <a:lnTo>
                      <a:pt x="215203" y="368400"/>
                    </a:lnTo>
                    <a:lnTo>
                      <a:pt x="225595" y="363199"/>
                    </a:lnTo>
                    <a:lnTo>
                      <a:pt x="230791" y="357347"/>
                    </a:lnTo>
                    <a:lnTo>
                      <a:pt x="230148" y="350195"/>
                    </a:lnTo>
                    <a:lnTo>
                      <a:pt x="242505" y="339142"/>
                    </a:lnTo>
                    <a:lnTo>
                      <a:pt x="250951" y="335245"/>
                    </a:lnTo>
                    <a:lnTo>
                      <a:pt x="257451" y="337843"/>
                    </a:lnTo>
                    <a:lnTo>
                      <a:pt x="260700" y="353445"/>
                    </a:lnTo>
                    <a:lnTo>
                      <a:pt x="255504" y="364498"/>
                    </a:lnTo>
                    <a:lnTo>
                      <a:pt x="261361" y="368400"/>
                    </a:lnTo>
                    <a:lnTo>
                      <a:pt x="262004" y="380100"/>
                    </a:lnTo>
                    <a:lnTo>
                      <a:pt x="251612" y="381408"/>
                    </a:lnTo>
                    <a:lnTo>
                      <a:pt x="248362" y="388555"/>
                    </a:lnTo>
                    <a:lnTo>
                      <a:pt x="240559" y="395054"/>
                    </a:lnTo>
                    <a:lnTo>
                      <a:pt x="227541" y="413906"/>
                    </a:lnTo>
                    <a:lnTo>
                      <a:pt x="219756" y="421709"/>
                    </a:lnTo>
                    <a:lnTo>
                      <a:pt x="211292" y="426263"/>
                    </a:lnTo>
                    <a:lnTo>
                      <a:pt x="209346" y="437311"/>
                    </a:lnTo>
                    <a:lnTo>
                      <a:pt x="202846" y="436012"/>
                    </a:lnTo>
                    <a:lnTo>
                      <a:pt x="198293" y="448368"/>
                    </a:lnTo>
                    <a:lnTo>
                      <a:pt x="190490" y="461363"/>
                    </a:lnTo>
                    <a:lnTo>
                      <a:pt x="185294" y="474372"/>
                    </a:lnTo>
                    <a:lnTo>
                      <a:pt x="187240" y="501022"/>
                    </a:lnTo>
                    <a:lnTo>
                      <a:pt x="169687" y="503620"/>
                    </a:lnTo>
                    <a:lnTo>
                      <a:pt x="167741" y="515329"/>
                    </a:lnTo>
                    <a:lnTo>
                      <a:pt x="161884" y="525079"/>
                    </a:lnTo>
                    <a:lnTo>
                      <a:pt x="155385" y="551086"/>
                    </a:lnTo>
                    <a:lnTo>
                      <a:pt x="147582" y="563443"/>
                    </a:lnTo>
                    <a:lnTo>
                      <a:pt x="130690" y="579040"/>
                    </a:lnTo>
                    <a:lnTo>
                      <a:pt x="128083" y="592044"/>
                    </a:lnTo>
                    <a:lnTo>
                      <a:pt x="118333" y="621297"/>
                    </a:lnTo>
                    <a:lnTo>
                      <a:pt x="103370" y="644702"/>
                    </a:lnTo>
                    <a:lnTo>
                      <a:pt x="103370" y="657054"/>
                    </a:lnTo>
                    <a:lnTo>
                      <a:pt x="112476" y="649255"/>
                    </a:lnTo>
                    <a:lnTo>
                      <a:pt x="114423" y="641452"/>
                    </a:lnTo>
                    <a:lnTo>
                      <a:pt x="126136" y="633006"/>
                    </a:lnTo>
                    <a:lnTo>
                      <a:pt x="127422" y="642751"/>
                    </a:lnTo>
                    <a:lnTo>
                      <a:pt x="117030" y="649255"/>
                    </a:lnTo>
                    <a:lnTo>
                      <a:pt x="106619" y="679807"/>
                    </a:lnTo>
                    <a:lnTo>
                      <a:pt x="123529" y="675910"/>
                    </a:lnTo>
                    <a:lnTo>
                      <a:pt x="131975" y="671357"/>
                    </a:lnTo>
                    <a:lnTo>
                      <a:pt x="137832" y="657706"/>
                    </a:lnTo>
                    <a:lnTo>
                      <a:pt x="135225" y="646653"/>
                    </a:lnTo>
                    <a:lnTo>
                      <a:pt x="138475" y="636899"/>
                    </a:lnTo>
                    <a:lnTo>
                      <a:pt x="148242" y="641452"/>
                    </a:lnTo>
                    <a:lnTo>
                      <a:pt x="158634" y="632345"/>
                    </a:lnTo>
                    <a:lnTo>
                      <a:pt x="159295" y="624547"/>
                    </a:lnTo>
                    <a:lnTo>
                      <a:pt x="168384" y="609597"/>
                    </a:lnTo>
                    <a:lnTo>
                      <a:pt x="183990" y="592044"/>
                    </a:lnTo>
                    <a:lnTo>
                      <a:pt x="188544" y="575790"/>
                    </a:lnTo>
                    <a:lnTo>
                      <a:pt x="201543" y="577089"/>
                    </a:lnTo>
                    <a:lnTo>
                      <a:pt x="202846" y="590093"/>
                    </a:lnTo>
                    <a:lnTo>
                      <a:pt x="201543" y="601793"/>
                    </a:lnTo>
                    <a:lnTo>
                      <a:pt x="190490" y="605695"/>
                    </a:lnTo>
                    <a:lnTo>
                      <a:pt x="183990" y="635604"/>
                    </a:lnTo>
                    <a:lnTo>
                      <a:pt x="178794" y="636251"/>
                    </a:lnTo>
                    <a:lnTo>
                      <a:pt x="174884" y="657706"/>
                    </a:lnTo>
                    <a:lnTo>
                      <a:pt x="180740" y="659661"/>
                    </a:lnTo>
                    <a:lnTo>
                      <a:pt x="169045" y="669406"/>
                    </a:lnTo>
                    <a:lnTo>
                      <a:pt x="165795" y="662906"/>
                    </a:lnTo>
                    <a:lnTo>
                      <a:pt x="152135" y="669406"/>
                    </a:lnTo>
                    <a:lnTo>
                      <a:pt x="152778" y="680459"/>
                    </a:lnTo>
                    <a:lnTo>
                      <a:pt x="143689" y="681111"/>
                    </a:lnTo>
                    <a:lnTo>
                      <a:pt x="143028" y="687610"/>
                    </a:lnTo>
                    <a:lnTo>
                      <a:pt x="131975" y="693458"/>
                    </a:lnTo>
                    <a:lnTo>
                      <a:pt x="122886" y="693458"/>
                    </a:lnTo>
                    <a:lnTo>
                      <a:pt x="121583" y="701261"/>
                    </a:lnTo>
                    <a:lnTo>
                      <a:pt x="105977" y="702569"/>
                    </a:lnTo>
                    <a:lnTo>
                      <a:pt x="105334" y="695413"/>
                    </a:lnTo>
                    <a:lnTo>
                      <a:pt x="100120" y="689561"/>
                    </a:lnTo>
                    <a:lnTo>
                      <a:pt x="89727" y="703212"/>
                    </a:lnTo>
                    <a:lnTo>
                      <a:pt x="87781" y="715564"/>
                    </a:lnTo>
                    <a:lnTo>
                      <a:pt x="98816" y="725970"/>
                    </a:lnTo>
                    <a:lnTo>
                      <a:pt x="109869" y="731822"/>
                    </a:lnTo>
                    <a:lnTo>
                      <a:pt x="104673" y="746120"/>
                    </a:lnTo>
                    <a:lnTo>
                      <a:pt x="85817" y="746772"/>
                    </a:lnTo>
                    <a:lnTo>
                      <a:pt x="81924" y="742871"/>
                    </a:lnTo>
                    <a:lnTo>
                      <a:pt x="58515" y="740268"/>
                    </a:lnTo>
                    <a:lnTo>
                      <a:pt x="46819" y="744170"/>
                    </a:lnTo>
                    <a:lnTo>
                      <a:pt x="42909" y="750674"/>
                    </a:lnTo>
                    <a:lnTo>
                      <a:pt x="29909" y="752620"/>
                    </a:lnTo>
                    <a:lnTo>
                      <a:pt x="21463" y="742223"/>
                    </a:lnTo>
                    <a:lnTo>
                      <a:pt x="5214" y="745473"/>
                    </a:lnTo>
                    <a:lnTo>
                      <a:pt x="0" y="753272"/>
                    </a:lnTo>
                    <a:lnTo>
                      <a:pt x="9107" y="766927"/>
                    </a:lnTo>
                    <a:lnTo>
                      <a:pt x="20160" y="758477"/>
                    </a:lnTo>
                    <a:lnTo>
                      <a:pt x="27302" y="761722"/>
                    </a:lnTo>
                    <a:lnTo>
                      <a:pt x="33159" y="755879"/>
                    </a:lnTo>
                    <a:lnTo>
                      <a:pt x="49408" y="769525"/>
                    </a:lnTo>
                    <a:lnTo>
                      <a:pt x="65675" y="764325"/>
                    </a:lnTo>
                    <a:lnTo>
                      <a:pt x="81924" y="757173"/>
                    </a:lnTo>
                    <a:lnTo>
                      <a:pt x="101423" y="760419"/>
                    </a:lnTo>
                    <a:lnTo>
                      <a:pt x="124833" y="748071"/>
                    </a:lnTo>
                    <a:lnTo>
                      <a:pt x="130029" y="743522"/>
                    </a:lnTo>
                    <a:lnTo>
                      <a:pt x="149528" y="720117"/>
                    </a:lnTo>
                    <a:lnTo>
                      <a:pt x="152135" y="699315"/>
                    </a:lnTo>
                    <a:lnTo>
                      <a:pt x="157331" y="694766"/>
                    </a:lnTo>
                    <a:lnTo>
                      <a:pt x="174884" y="673307"/>
                    </a:lnTo>
                    <a:lnTo>
                      <a:pt x="187883" y="662906"/>
                    </a:lnTo>
                    <a:lnTo>
                      <a:pt x="189847" y="649255"/>
                    </a:lnTo>
                    <a:lnTo>
                      <a:pt x="209346" y="621297"/>
                    </a:lnTo>
                    <a:lnTo>
                      <a:pt x="224952" y="603744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97349" tIns="76952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67" name="shp_Region_Corozal_$4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50659D47-644E-50F7-3AD7-D38E9A33C1CD}"/>
                  </a:ext>
                </a:extLst>
              </p:cNvPr>
              <p:cNvSpPr/>
              <p:nvPr/>
            </p:nvSpPr>
            <p:spPr>
              <a:xfrm>
                <a:off x="2964252" y="868400"/>
                <a:ext cx="48124" cy="87117"/>
              </a:xfrm>
              <a:custGeom>
                <a:avLst/>
                <a:gdLst/>
                <a:ahLst/>
                <a:cxnLst/>
                <a:rect l="0" t="0" r="0" b="0"/>
                <a:pathLst>
                  <a:path w="48124" h="87117">
                    <a:moveTo>
                      <a:pt x="48123" y="0"/>
                    </a:moveTo>
                    <a:lnTo>
                      <a:pt x="31856" y="7799"/>
                    </a:lnTo>
                    <a:lnTo>
                      <a:pt x="31213" y="16254"/>
                    </a:lnTo>
                    <a:lnTo>
                      <a:pt x="26660" y="22753"/>
                    </a:lnTo>
                    <a:lnTo>
                      <a:pt x="11714" y="26655"/>
                    </a:lnTo>
                    <a:lnTo>
                      <a:pt x="15607" y="31855"/>
                    </a:lnTo>
                    <a:lnTo>
                      <a:pt x="39659" y="33806"/>
                    </a:lnTo>
                    <a:lnTo>
                      <a:pt x="39659" y="39654"/>
                    </a:lnTo>
                    <a:lnTo>
                      <a:pt x="27963" y="40301"/>
                    </a:lnTo>
                    <a:lnTo>
                      <a:pt x="23410" y="32498"/>
                    </a:lnTo>
                    <a:lnTo>
                      <a:pt x="18214" y="33806"/>
                    </a:lnTo>
                    <a:lnTo>
                      <a:pt x="16267" y="41605"/>
                    </a:lnTo>
                    <a:lnTo>
                      <a:pt x="0" y="46806"/>
                    </a:lnTo>
                    <a:lnTo>
                      <a:pt x="0" y="63711"/>
                    </a:lnTo>
                    <a:lnTo>
                      <a:pt x="7161" y="68260"/>
                    </a:lnTo>
                    <a:lnTo>
                      <a:pt x="5214" y="87116"/>
                    </a:lnTo>
                    <a:lnTo>
                      <a:pt x="18214" y="79313"/>
                    </a:lnTo>
                    <a:lnTo>
                      <a:pt x="22767" y="66309"/>
                    </a:lnTo>
                    <a:lnTo>
                      <a:pt x="35766" y="64363"/>
                    </a:lnTo>
                    <a:lnTo>
                      <a:pt x="44873" y="54609"/>
                    </a:lnTo>
                    <a:lnTo>
                      <a:pt x="45516" y="15602"/>
                    </a:lnTo>
                    <a:lnTo>
                      <a:pt x="4812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124" tIns="871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68" name="shp_Region_Corozal_$5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FCCD133-52AD-02F9-EDA9-0868394F99DA}"/>
                  </a:ext>
                </a:extLst>
              </p:cNvPr>
              <p:cNvSpPr/>
              <p:nvPr/>
            </p:nvSpPr>
            <p:spPr>
              <a:xfrm>
                <a:off x="2954503" y="870351"/>
                <a:ext cx="26660" cy="31204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31204">
                    <a:moveTo>
                      <a:pt x="22766" y="0"/>
                    </a:moveTo>
                    <a:lnTo>
                      <a:pt x="22106" y="8450"/>
                    </a:lnTo>
                    <a:lnTo>
                      <a:pt x="15606" y="14303"/>
                    </a:lnTo>
                    <a:lnTo>
                      <a:pt x="13660" y="22101"/>
                    </a:lnTo>
                    <a:lnTo>
                      <a:pt x="0" y="22749"/>
                    </a:lnTo>
                    <a:lnTo>
                      <a:pt x="1303" y="28605"/>
                    </a:lnTo>
                    <a:lnTo>
                      <a:pt x="11053" y="31203"/>
                    </a:lnTo>
                    <a:lnTo>
                      <a:pt x="26016" y="18200"/>
                    </a:lnTo>
                    <a:lnTo>
                      <a:pt x="26659" y="7798"/>
                    </a:lnTo>
                    <a:lnTo>
                      <a:pt x="22766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0" tIns="312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69" name="shp_Region_Corozal_$6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357E1BD3-D9ED-F1C4-10FC-627A8104E554}"/>
                  </a:ext>
                </a:extLst>
              </p:cNvPr>
              <p:cNvSpPr/>
              <p:nvPr/>
            </p:nvSpPr>
            <p:spPr>
              <a:xfrm>
                <a:off x="2897292" y="927558"/>
                <a:ext cx="61765" cy="55913"/>
              </a:xfrm>
              <a:custGeom>
                <a:avLst/>
                <a:gdLst/>
                <a:ahLst/>
                <a:cxnLst/>
                <a:rect l="0" t="0" r="0" b="0"/>
                <a:pathLst>
                  <a:path w="61765" h="55913">
                    <a:moveTo>
                      <a:pt x="59157" y="0"/>
                    </a:moveTo>
                    <a:lnTo>
                      <a:pt x="53961" y="5205"/>
                    </a:lnTo>
                    <a:lnTo>
                      <a:pt x="55907" y="16258"/>
                    </a:lnTo>
                    <a:lnTo>
                      <a:pt x="46158" y="20155"/>
                    </a:lnTo>
                    <a:lnTo>
                      <a:pt x="37712" y="20155"/>
                    </a:lnTo>
                    <a:lnTo>
                      <a:pt x="30551" y="10405"/>
                    </a:lnTo>
                    <a:lnTo>
                      <a:pt x="25355" y="18199"/>
                    </a:lnTo>
                    <a:lnTo>
                      <a:pt x="17552" y="24056"/>
                    </a:lnTo>
                    <a:lnTo>
                      <a:pt x="18856" y="30556"/>
                    </a:lnTo>
                    <a:lnTo>
                      <a:pt x="4553" y="42261"/>
                    </a:lnTo>
                    <a:lnTo>
                      <a:pt x="0" y="53314"/>
                    </a:lnTo>
                    <a:lnTo>
                      <a:pt x="20802" y="52010"/>
                    </a:lnTo>
                    <a:lnTo>
                      <a:pt x="35765" y="55912"/>
                    </a:lnTo>
                    <a:lnTo>
                      <a:pt x="35105" y="46167"/>
                    </a:lnTo>
                    <a:lnTo>
                      <a:pt x="49408" y="44211"/>
                    </a:lnTo>
                    <a:lnTo>
                      <a:pt x="54622" y="39658"/>
                    </a:lnTo>
                    <a:lnTo>
                      <a:pt x="51372" y="29909"/>
                    </a:lnTo>
                    <a:lnTo>
                      <a:pt x="61764" y="21449"/>
                    </a:lnTo>
                    <a:lnTo>
                      <a:pt x="59157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765" tIns="5591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70" name="shp_Region_Corozal_$7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689F87BD-089E-14A0-C9EB-A267C3AFBC01}"/>
                  </a:ext>
                </a:extLst>
              </p:cNvPr>
              <p:cNvSpPr/>
              <p:nvPr/>
            </p:nvSpPr>
            <p:spPr>
              <a:xfrm>
                <a:off x="2799779" y="1062787"/>
                <a:ext cx="21446" cy="46159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46159">
                    <a:moveTo>
                      <a:pt x="2607" y="46158"/>
                    </a:moveTo>
                    <a:lnTo>
                      <a:pt x="13642" y="16901"/>
                    </a:lnTo>
                    <a:lnTo>
                      <a:pt x="21445" y="2598"/>
                    </a:lnTo>
                    <a:lnTo>
                      <a:pt x="17553" y="0"/>
                    </a:lnTo>
                    <a:lnTo>
                      <a:pt x="0" y="37056"/>
                    </a:lnTo>
                    <a:lnTo>
                      <a:pt x="2607" y="46158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4615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71" name="shp_Region_Corozal_$8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7994CEF2-E2E5-0A8E-B104-5EE988181235}"/>
                  </a:ext>
                </a:extLst>
              </p:cNvPr>
              <p:cNvSpPr/>
              <p:nvPr/>
            </p:nvSpPr>
            <p:spPr>
              <a:xfrm>
                <a:off x="2657394" y="1231166"/>
                <a:ext cx="11054" cy="9751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9751">
                    <a:moveTo>
                      <a:pt x="11053" y="0"/>
                    </a:moveTo>
                    <a:lnTo>
                      <a:pt x="1964" y="1956"/>
                    </a:lnTo>
                    <a:lnTo>
                      <a:pt x="0" y="7803"/>
                    </a:lnTo>
                    <a:lnTo>
                      <a:pt x="10410" y="9750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97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72" name="shp_Region_Corozal_$9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81E81F7D-5D26-8B6A-D3E7-55C471297EE0}"/>
                  </a:ext>
                </a:extLst>
              </p:cNvPr>
              <p:cNvSpPr/>
              <p:nvPr/>
            </p:nvSpPr>
            <p:spPr>
              <a:xfrm>
                <a:off x="2840741" y="1403452"/>
                <a:ext cx="9090" cy="15603"/>
              </a:xfrm>
              <a:custGeom>
                <a:avLst/>
                <a:gdLst/>
                <a:ahLst/>
                <a:cxnLst/>
                <a:rect l="0" t="0" r="0" b="0"/>
                <a:pathLst>
                  <a:path w="9090" h="15603">
                    <a:moveTo>
                      <a:pt x="3250" y="0"/>
                    </a:moveTo>
                    <a:lnTo>
                      <a:pt x="0" y="14307"/>
                    </a:lnTo>
                    <a:lnTo>
                      <a:pt x="9089" y="15602"/>
                    </a:lnTo>
                    <a:lnTo>
                      <a:pt x="9089" y="7151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90" tIns="156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173" name="shp_Region_Corozal_$10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3BD358D8-8C7A-0DB7-AEBE-019AAD025E93}"/>
                  </a:ext>
                </a:extLst>
              </p:cNvPr>
              <p:cNvSpPr/>
              <p:nvPr/>
            </p:nvSpPr>
            <p:spPr>
              <a:xfrm>
                <a:off x="2695106" y="1482764"/>
                <a:ext cx="68265" cy="42263"/>
              </a:xfrm>
              <a:custGeom>
                <a:avLst/>
                <a:gdLst/>
                <a:ahLst/>
                <a:cxnLst/>
                <a:rect l="0" t="0" r="0" b="0"/>
                <a:pathLst>
                  <a:path w="68265" h="42263">
                    <a:moveTo>
                      <a:pt x="34462" y="0"/>
                    </a:moveTo>
                    <a:lnTo>
                      <a:pt x="28605" y="6505"/>
                    </a:lnTo>
                    <a:lnTo>
                      <a:pt x="18856" y="9754"/>
                    </a:lnTo>
                    <a:lnTo>
                      <a:pt x="7803" y="9754"/>
                    </a:lnTo>
                    <a:lnTo>
                      <a:pt x="8446" y="24057"/>
                    </a:lnTo>
                    <a:lnTo>
                      <a:pt x="0" y="28611"/>
                    </a:lnTo>
                    <a:lnTo>
                      <a:pt x="7803" y="33811"/>
                    </a:lnTo>
                    <a:lnTo>
                      <a:pt x="12999" y="42262"/>
                    </a:lnTo>
                    <a:lnTo>
                      <a:pt x="19499" y="42262"/>
                    </a:lnTo>
                    <a:lnTo>
                      <a:pt x="46158" y="36414"/>
                    </a:lnTo>
                    <a:lnTo>
                      <a:pt x="55265" y="37708"/>
                    </a:lnTo>
                    <a:lnTo>
                      <a:pt x="68264" y="27307"/>
                    </a:lnTo>
                    <a:lnTo>
                      <a:pt x="54604" y="26013"/>
                    </a:lnTo>
                    <a:lnTo>
                      <a:pt x="39658" y="27959"/>
                    </a:lnTo>
                    <a:lnTo>
                      <a:pt x="33159" y="9754"/>
                    </a:lnTo>
                    <a:lnTo>
                      <a:pt x="34462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265" tIns="422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</p:grpSp>
        <p:sp>
          <p:nvSpPr>
            <p:cNvPr id="125" name="shp_Region_Orange_Walk" descr="Admin1_Id=&quot;BLZ&quot;&#10;Admin1_Label=&quot;Belize&quot;&#10;Admin2_Id=&quot;BLZ.4_1&quot;&#10;Admin2_Label=&quot;Orange Walk&quot;&#10;" title="Orange Walk">
              <a:extLst>
                <a:ext uri="{FF2B5EF4-FFF2-40B4-BE49-F238E27FC236}">
                  <a16:creationId xmlns:a16="http://schemas.microsoft.com/office/drawing/2014/main" id="{7B60BE26-4964-3E39-8409-51CB15F9F29C}"/>
                </a:ext>
              </a:extLst>
            </p:cNvPr>
            <p:cNvSpPr/>
            <p:nvPr/>
          </p:nvSpPr>
          <p:spPr>
            <a:xfrm>
              <a:off x="178794" y="562448"/>
              <a:ext cx="1994037" cy="2170648"/>
            </a:xfrm>
            <a:custGeom>
              <a:avLst/>
              <a:gdLst/>
              <a:ahLst/>
              <a:cxnLst/>
              <a:rect l="0" t="0" r="0" b="0"/>
              <a:pathLst>
                <a:path w="1994037" h="2170648">
                  <a:moveTo>
                    <a:pt x="1234077" y="1813898"/>
                  </a:moveTo>
                  <a:lnTo>
                    <a:pt x="1236255" y="1812751"/>
                  </a:lnTo>
                  <a:lnTo>
                    <a:pt x="1239737" y="1742973"/>
                  </a:lnTo>
                  <a:lnTo>
                    <a:pt x="1236987" y="1742929"/>
                  </a:lnTo>
                  <a:lnTo>
                    <a:pt x="1226792" y="1528864"/>
                  </a:lnTo>
                  <a:lnTo>
                    <a:pt x="1236255" y="1391657"/>
                  </a:lnTo>
                  <a:lnTo>
                    <a:pt x="1274110" y="1339611"/>
                  </a:lnTo>
                  <a:lnTo>
                    <a:pt x="1368730" y="1311224"/>
                  </a:lnTo>
                  <a:lnTo>
                    <a:pt x="1406585" y="1278101"/>
                  </a:lnTo>
                  <a:lnTo>
                    <a:pt x="1373462" y="1244982"/>
                  </a:lnTo>
                  <a:lnTo>
                    <a:pt x="1373462" y="852275"/>
                  </a:lnTo>
                  <a:lnTo>
                    <a:pt x="1411317" y="833352"/>
                  </a:lnTo>
                  <a:lnTo>
                    <a:pt x="1397122" y="781306"/>
                  </a:lnTo>
                  <a:lnTo>
                    <a:pt x="1576916" y="743455"/>
                  </a:lnTo>
                  <a:lnTo>
                    <a:pt x="1841866" y="672482"/>
                  </a:lnTo>
                  <a:lnTo>
                    <a:pt x="1994036" y="627529"/>
                  </a:lnTo>
                  <a:lnTo>
                    <a:pt x="1983180" y="626363"/>
                  </a:lnTo>
                  <a:lnTo>
                    <a:pt x="1834402" y="465430"/>
                  </a:lnTo>
                  <a:lnTo>
                    <a:pt x="1652215" y="319679"/>
                  </a:lnTo>
                  <a:lnTo>
                    <a:pt x="1612735" y="219474"/>
                  </a:lnTo>
                  <a:lnTo>
                    <a:pt x="1545935" y="107123"/>
                  </a:lnTo>
                  <a:lnTo>
                    <a:pt x="1421424" y="52466"/>
                  </a:lnTo>
                  <a:lnTo>
                    <a:pt x="1339446" y="16030"/>
                  </a:lnTo>
                  <a:lnTo>
                    <a:pt x="1271771" y="0"/>
                  </a:lnTo>
                  <a:lnTo>
                    <a:pt x="1272986" y="19762"/>
                  </a:lnTo>
                  <a:lnTo>
                    <a:pt x="1260736" y="56617"/>
                  </a:lnTo>
                  <a:lnTo>
                    <a:pt x="1250969" y="74192"/>
                  </a:lnTo>
                  <a:lnTo>
                    <a:pt x="1232845" y="91129"/>
                  </a:lnTo>
                  <a:lnTo>
                    <a:pt x="1206239" y="104784"/>
                  </a:lnTo>
                  <a:lnTo>
                    <a:pt x="1148510" y="196511"/>
                  </a:lnTo>
                  <a:lnTo>
                    <a:pt x="1121404" y="279721"/>
                  </a:lnTo>
                  <a:lnTo>
                    <a:pt x="1085121" y="331839"/>
                  </a:lnTo>
                  <a:lnTo>
                    <a:pt x="1071800" y="359516"/>
                  </a:lnTo>
                  <a:lnTo>
                    <a:pt x="1057854" y="427428"/>
                  </a:lnTo>
                  <a:lnTo>
                    <a:pt x="1041319" y="455060"/>
                  </a:lnTo>
                  <a:lnTo>
                    <a:pt x="1010142" y="465448"/>
                  </a:lnTo>
                  <a:lnTo>
                    <a:pt x="984912" y="478371"/>
                  </a:lnTo>
                  <a:lnTo>
                    <a:pt x="944039" y="493938"/>
                  </a:lnTo>
                  <a:lnTo>
                    <a:pt x="909541" y="524463"/>
                  </a:lnTo>
                  <a:lnTo>
                    <a:pt x="896166" y="566447"/>
                  </a:lnTo>
                  <a:lnTo>
                    <a:pt x="888738" y="579772"/>
                  </a:lnTo>
                  <a:lnTo>
                    <a:pt x="867275" y="599356"/>
                  </a:lnTo>
                  <a:lnTo>
                    <a:pt x="855847" y="619056"/>
                  </a:lnTo>
                  <a:lnTo>
                    <a:pt x="854311" y="651233"/>
                  </a:lnTo>
                  <a:lnTo>
                    <a:pt x="812653" y="677004"/>
                  </a:lnTo>
                  <a:lnTo>
                    <a:pt x="796082" y="707917"/>
                  </a:lnTo>
                  <a:lnTo>
                    <a:pt x="782494" y="723840"/>
                  </a:lnTo>
                  <a:lnTo>
                    <a:pt x="754049" y="733224"/>
                  </a:lnTo>
                  <a:lnTo>
                    <a:pt x="733104" y="745603"/>
                  </a:lnTo>
                  <a:lnTo>
                    <a:pt x="703034" y="769409"/>
                  </a:lnTo>
                  <a:lnTo>
                    <a:pt x="698927" y="781717"/>
                  </a:lnTo>
                  <a:lnTo>
                    <a:pt x="699713" y="807532"/>
                  </a:lnTo>
                  <a:lnTo>
                    <a:pt x="711658" y="838870"/>
                  </a:lnTo>
                  <a:lnTo>
                    <a:pt x="710266" y="858199"/>
                  </a:lnTo>
                  <a:lnTo>
                    <a:pt x="712980" y="912103"/>
                  </a:lnTo>
                  <a:lnTo>
                    <a:pt x="691177" y="895367"/>
                  </a:lnTo>
                  <a:lnTo>
                    <a:pt x="673018" y="873315"/>
                  </a:lnTo>
                  <a:lnTo>
                    <a:pt x="664786" y="859230"/>
                  </a:lnTo>
                  <a:lnTo>
                    <a:pt x="648644" y="847740"/>
                  </a:lnTo>
                  <a:lnTo>
                    <a:pt x="638787" y="828804"/>
                  </a:lnTo>
                  <a:lnTo>
                    <a:pt x="626002" y="819487"/>
                  </a:lnTo>
                  <a:lnTo>
                    <a:pt x="586879" y="806108"/>
                  </a:lnTo>
                  <a:lnTo>
                    <a:pt x="541096" y="784565"/>
                  </a:lnTo>
                  <a:lnTo>
                    <a:pt x="482635" y="700007"/>
                  </a:lnTo>
                  <a:lnTo>
                    <a:pt x="468064" y="698208"/>
                  </a:lnTo>
                  <a:lnTo>
                    <a:pt x="434227" y="709091"/>
                  </a:lnTo>
                  <a:lnTo>
                    <a:pt x="422460" y="706792"/>
                  </a:lnTo>
                  <a:lnTo>
                    <a:pt x="412460" y="698065"/>
                  </a:lnTo>
                  <a:lnTo>
                    <a:pt x="404621" y="696360"/>
                  </a:lnTo>
                  <a:lnTo>
                    <a:pt x="391586" y="705886"/>
                  </a:lnTo>
                  <a:lnTo>
                    <a:pt x="384301" y="703636"/>
                  </a:lnTo>
                  <a:lnTo>
                    <a:pt x="350749" y="647889"/>
                  </a:lnTo>
                  <a:lnTo>
                    <a:pt x="294591" y="598838"/>
                  </a:lnTo>
                  <a:lnTo>
                    <a:pt x="280092" y="591133"/>
                  </a:lnTo>
                  <a:lnTo>
                    <a:pt x="255344" y="592463"/>
                  </a:lnTo>
                  <a:lnTo>
                    <a:pt x="185490" y="618797"/>
                  </a:lnTo>
                  <a:lnTo>
                    <a:pt x="126850" y="634149"/>
                  </a:lnTo>
                  <a:lnTo>
                    <a:pt x="97638" y="674990"/>
                  </a:lnTo>
                  <a:lnTo>
                    <a:pt x="45998" y="683668"/>
                  </a:lnTo>
                  <a:lnTo>
                    <a:pt x="5571" y="736965"/>
                  </a:lnTo>
                  <a:lnTo>
                    <a:pt x="2000" y="1043167"/>
                  </a:lnTo>
                  <a:lnTo>
                    <a:pt x="0" y="1048796"/>
                  </a:lnTo>
                  <a:lnTo>
                    <a:pt x="1446" y="1722524"/>
                  </a:lnTo>
                  <a:lnTo>
                    <a:pt x="2411" y="2170647"/>
                  </a:lnTo>
                  <a:lnTo>
                    <a:pt x="114905" y="2087169"/>
                  </a:lnTo>
                  <a:lnTo>
                    <a:pt x="209542" y="2044587"/>
                  </a:lnTo>
                  <a:lnTo>
                    <a:pt x="294699" y="2044587"/>
                  </a:lnTo>
                  <a:lnTo>
                    <a:pt x="266325" y="2082442"/>
                  </a:lnTo>
                  <a:lnTo>
                    <a:pt x="323090" y="2072978"/>
                  </a:lnTo>
                  <a:lnTo>
                    <a:pt x="365677" y="2030395"/>
                  </a:lnTo>
                  <a:lnTo>
                    <a:pt x="597522" y="2030395"/>
                  </a:lnTo>
                  <a:lnTo>
                    <a:pt x="687410" y="1935767"/>
                  </a:lnTo>
                  <a:lnTo>
                    <a:pt x="682678" y="1973617"/>
                  </a:lnTo>
                  <a:lnTo>
                    <a:pt x="966555" y="1954694"/>
                  </a:lnTo>
                  <a:lnTo>
                    <a:pt x="1234077" y="1813898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94037" tIns="2170648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>
                  <a:solidFill>
                    <a:srgbClr val="FFFFFF"/>
                  </a:solidFill>
                  <a:latin typeface="Arial" panose="020B0604020202020204" pitchFamily="34" charset="0"/>
                </a:rPr>
                <a:t>Orange Walk</a:t>
              </a:r>
            </a:p>
          </p:txBody>
        </p:sp>
        <p:grpSp>
          <p:nvGrpSpPr>
            <p:cNvPr id="126" name="shp_Region_Stann_Creek" descr="Admin1_Id=&quot;BLZ&quot;&#10;Admin1_Label=&quot;Belize&quot;&#10;Admin2_Id=&quot;BLZ.5_1&quot;&#10;Admin2_Label=&quot;Stann Creek&quot;&#10;" title="Stann Creek">
              <a:extLst>
                <a:ext uri="{FF2B5EF4-FFF2-40B4-BE49-F238E27FC236}">
                  <a16:creationId xmlns:a16="http://schemas.microsoft.com/office/drawing/2014/main" id="{4791891D-E89A-716B-C3AE-4E2AADF4202F}"/>
                </a:ext>
              </a:extLst>
            </p:cNvPr>
            <p:cNvGrpSpPr/>
            <p:nvPr/>
          </p:nvGrpSpPr>
          <p:grpSpPr>
            <a:xfrm>
              <a:off x="1071300" y="3176616"/>
              <a:ext cx="2169260" cy="1518420"/>
              <a:chOff x="1071300" y="3176616"/>
              <a:chExt cx="2169260" cy="1518420"/>
            </a:xfrm>
            <a:solidFill>
              <a:srgbClr val="FFC000"/>
            </a:solidFill>
          </p:grpSpPr>
          <p:sp>
            <p:nvSpPr>
              <p:cNvPr id="143" name="shp_Region_Stann_Creek_$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29DB639E-1A2B-5E6E-1587-B4CD87166EC2}"/>
                  </a:ext>
                </a:extLst>
              </p:cNvPr>
              <p:cNvSpPr/>
              <p:nvPr/>
            </p:nvSpPr>
            <p:spPr>
              <a:xfrm>
                <a:off x="1071300" y="3176616"/>
                <a:ext cx="1283147" cy="1472904"/>
              </a:xfrm>
              <a:custGeom>
                <a:avLst/>
                <a:gdLst/>
                <a:ahLst/>
                <a:cxnLst/>
                <a:rect l="0" t="0" r="0" b="0"/>
                <a:pathLst>
                  <a:path w="1283147" h="1472904">
                    <a:moveTo>
                      <a:pt x="851454" y="1429343"/>
                    </a:moveTo>
                    <a:lnTo>
                      <a:pt x="854061" y="1418295"/>
                    </a:lnTo>
                    <a:lnTo>
                      <a:pt x="859258" y="1409840"/>
                    </a:lnTo>
                    <a:lnTo>
                      <a:pt x="867721" y="1406590"/>
                    </a:lnTo>
                    <a:lnTo>
                      <a:pt x="867061" y="1401389"/>
                    </a:lnTo>
                    <a:lnTo>
                      <a:pt x="893059" y="1398791"/>
                    </a:lnTo>
                    <a:lnTo>
                      <a:pt x="903469" y="1395537"/>
                    </a:lnTo>
                    <a:lnTo>
                      <a:pt x="917129" y="1403340"/>
                    </a:lnTo>
                    <a:lnTo>
                      <a:pt x="921665" y="1393586"/>
                    </a:lnTo>
                    <a:lnTo>
                      <a:pt x="913880" y="1389689"/>
                    </a:lnTo>
                    <a:lnTo>
                      <a:pt x="908666" y="1376029"/>
                    </a:lnTo>
                    <a:lnTo>
                      <a:pt x="900862" y="1377984"/>
                    </a:lnTo>
                    <a:lnTo>
                      <a:pt x="889809" y="1376029"/>
                    </a:lnTo>
                    <a:lnTo>
                      <a:pt x="889809" y="1368235"/>
                    </a:lnTo>
                    <a:lnTo>
                      <a:pt x="897613" y="1355883"/>
                    </a:lnTo>
                    <a:lnTo>
                      <a:pt x="911915" y="1348080"/>
                    </a:lnTo>
                    <a:lnTo>
                      <a:pt x="922968" y="1348731"/>
                    </a:lnTo>
                    <a:lnTo>
                      <a:pt x="927522" y="1335076"/>
                    </a:lnTo>
                    <a:lnTo>
                      <a:pt x="929468" y="1321425"/>
                    </a:lnTo>
                    <a:lnTo>
                      <a:pt x="927522" y="1309073"/>
                    </a:lnTo>
                    <a:lnTo>
                      <a:pt x="932718" y="1296721"/>
                    </a:lnTo>
                    <a:lnTo>
                      <a:pt x="925575" y="1289570"/>
                    </a:lnTo>
                    <a:lnTo>
                      <a:pt x="922326" y="1279168"/>
                    </a:lnTo>
                    <a:lnTo>
                      <a:pt x="922326" y="1260312"/>
                    </a:lnTo>
                    <a:lnTo>
                      <a:pt x="929468" y="1251210"/>
                    </a:lnTo>
                    <a:lnTo>
                      <a:pt x="921665" y="1231702"/>
                    </a:lnTo>
                    <a:lnTo>
                      <a:pt x="923629" y="1226510"/>
                    </a:lnTo>
                    <a:lnTo>
                      <a:pt x="935325" y="1210904"/>
                    </a:lnTo>
                    <a:lnTo>
                      <a:pt x="941182" y="1210904"/>
                    </a:lnTo>
                    <a:lnTo>
                      <a:pt x="945735" y="1203101"/>
                    </a:lnTo>
                    <a:lnTo>
                      <a:pt x="956127" y="1195302"/>
                    </a:lnTo>
                    <a:lnTo>
                      <a:pt x="960681" y="1185548"/>
                    </a:lnTo>
                    <a:lnTo>
                      <a:pt x="978233" y="1184896"/>
                    </a:lnTo>
                    <a:lnTo>
                      <a:pt x="985394" y="1175799"/>
                    </a:lnTo>
                    <a:lnTo>
                      <a:pt x="986679" y="1166045"/>
                    </a:lnTo>
                    <a:lnTo>
                      <a:pt x="984090" y="1150443"/>
                    </a:lnTo>
                    <a:lnTo>
                      <a:pt x="987983" y="1149144"/>
                    </a:lnTo>
                    <a:lnTo>
                      <a:pt x="1006839" y="1127038"/>
                    </a:lnTo>
                    <a:lnTo>
                      <a:pt x="1022445" y="1123788"/>
                    </a:lnTo>
                    <a:lnTo>
                      <a:pt x="1027641" y="1118587"/>
                    </a:lnTo>
                    <a:lnTo>
                      <a:pt x="1027641" y="1109485"/>
                    </a:lnTo>
                    <a:lnTo>
                      <a:pt x="1033498" y="1100379"/>
                    </a:lnTo>
                    <a:lnTo>
                      <a:pt x="1047801" y="1101030"/>
                    </a:lnTo>
                    <a:lnTo>
                      <a:pt x="1060800" y="1115985"/>
                    </a:lnTo>
                    <a:lnTo>
                      <a:pt x="1057550" y="1140689"/>
                    </a:lnTo>
                    <a:lnTo>
                      <a:pt x="1049104" y="1151742"/>
                    </a:lnTo>
                    <a:lnTo>
                      <a:pt x="1038694" y="1158893"/>
                    </a:lnTo>
                    <a:lnTo>
                      <a:pt x="1035444" y="1164094"/>
                    </a:lnTo>
                    <a:lnTo>
                      <a:pt x="1023749" y="1166045"/>
                    </a:lnTo>
                    <a:lnTo>
                      <a:pt x="1014642" y="1160192"/>
                    </a:lnTo>
                    <a:lnTo>
                      <a:pt x="1005535" y="1162799"/>
                    </a:lnTo>
                    <a:lnTo>
                      <a:pt x="1010089" y="1171897"/>
                    </a:lnTo>
                    <a:lnTo>
                      <a:pt x="997089" y="1179696"/>
                    </a:lnTo>
                    <a:lnTo>
                      <a:pt x="995786" y="1185548"/>
                    </a:lnTo>
                    <a:lnTo>
                      <a:pt x="987340" y="1190749"/>
                    </a:lnTo>
                    <a:lnTo>
                      <a:pt x="972376" y="1193351"/>
                    </a:lnTo>
                    <a:lnTo>
                      <a:pt x="963288" y="1205703"/>
                    </a:lnTo>
                    <a:lnTo>
                      <a:pt x="958074" y="1217403"/>
                    </a:lnTo>
                    <a:lnTo>
                      <a:pt x="957431" y="1226510"/>
                    </a:lnTo>
                    <a:lnTo>
                      <a:pt x="960681" y="1237559"/>
                    </a:lnTo>
                    <a:lnTo>
                      <a:pt x="959377" y="1259665"/>
                    </a:lnTo>
                    <a:lnTo>
                      <a:pt x="951574" y="1269419"/>
                    </a:lnTo>
                    <a:lnTo>
                      <a:pt x="945074" y="1260312"/>
                    </a:lnTo>
                    <a:lnTo>
                      <a:pt x="934682" y="1272664"/>
                    </a:lnTo>
                    <a:lnTo>
                      <a:pt x="936628" y="1301921"/>
                    </a:lnTo>
                    <a:lnTo>
                      <a:pt x="932718" y="1311671"/>
                    </a:lnTo>
                    <a:lnTo>
                      <a:pt x="933379" y="1324670"/>
                    </a:lnTo>
                    <a:lnTo>
                      <a:pt x="927522" y="1351329"/>
                    </a:lnTo>
                    <a:lnTo>
                      <a:pt x="932075" y="1353280"/>
                    </a:lnTo>
                    <a:lnTo>
                      <a:pt x="936628" y="1370186"/>
                    </a:lnTo>
                    <a:lnTo>
                      <a:pt x="932075" y="1401389"/>
                    </a:lnTo>
                    <a:lnTo>
                      <a:pt x="932718" y="1419598"/>
                    </a:lnTo>
                    <a:lnTo>
                      <a:pt x="930129" y="1430647"/>
                    </a:lnTo>
                    <a:lnTo>
                      <a:pt x="918415" y="1449498"/>
                    </a:lnTo>
                    <a:lnTo>
                      <a:pt x="902827" y="1461855"/>
                    </a:lnTo>
                    <a:lnTo>
                      <a:pt x="908666" y="1469002"/>
                    </a:lnTo>
                    <a:lnTo>
                      <a:pt x="915826" y="1465100"/>
                    </a:lnTo>
                    <a:lnTo>
                      <a:pt x="928182" y="1472903"/>
                    </a:lnTo>
                    <a:lnTo>
                      <a:pt x="942485" y="1465752"/>
                    </a:lnTo>
                    <a:lnTo>
                      <a:pt x="934682" y="1454052"/>
                    </a:lnTo>
                    <a:lnTo>
                      <a:pt x="932718" y="1439749"/>
                    </a:lnTo>
                    <a:lnTo>
                      <a:pt x="947681" y="1433245"/>
                    </a:lnTo>
                    <a:lnTo>
                      <a:pt x="952877" y="1422196"/>
                    </a:lnTo>
                    <a:lnTo>
                      <a:pt x="953538" y="1410492"/>
                    </a:lnTo>
                    <a:lnTo>
                      <a:pt x="963288" y="1399438"/>
                    </a:lnTo>
                    <a:lnTo>
                      <a:pt x="948324" y="1366284"/>
                    </a:lnTo>
                    <a:lnTo>
                      <a:pt x="943771" y="1350682"/>
                    </a:lnTo>
                    <a:lnTo>
                      <a:pt x="940521" y="1330527"/>
                    </a:lnTo>
                    <a:lnTo>
                      <a:pt x="942485" y="1305171"/>
                    </a:lnTo>
                    <a:lnTo>
                      <a:pt x="948324" y="1294118"/>
                    </a:lnTo>
                    <a:lnTo>
                      <a:pt x="962627" y="1288275"/>
                    </a:lnTo>
                    <a:lnTo>
                      <a:pt x="960681" y="1268115"/>
                    </a:lnTo>
                    <a:lnTo>
                      <a:pt x="965877" y="1258357"/>
                    </a:lnTo>
                    <a:lnTo>
                      <a:pt x="969127" y="1236260"/>
                    </a:lnTo>
                    <a:lnTo>
                      <a:pt x="969127" y="1216105"/>
                    </a:lnTo>
                    <a:lnTo>
                      <a:pt x="973680" y="1204404"/>
                    </a:lnTo>
                    <a:lnTo>
                      <a:pt x="980180" y="1198552"/>
                    </a:lnTo>
                    <a:lnTo>
                      <a:pt x="999696" y="1190102"/>
                    </a:lnTo>
                    <a:lnTo>
                      <a:pt x="1013339" y="1179696"/>
                    </a:lnTo>
                    <a:lnTo>
                      <a:pt x="1032837" y="1169295"/>
                    </a:lnTo>
                    <a:lnTo>
                      <a:pt x="1056247" y="1151090"/>
                    </a:lnTo>
                    <a:lnTo>
                      <a:pt x="1065354" y="1133538"/>
                    </a:lnTo>
                    <a:lnTo>
                      <a:pt x="1066657" y="1119886"/>
                    </a:lnTo>
                    <a:lnTo>
                      <a:pt x="1070550" y="1113387"/>
                    </a:lnTo>
                    <a:lnTo>
                      <a:pt x="1071853" y="1099731"/>
                    </a:lnTo>
                    <a:lnTo>
                      <a:pt x="1066657" y="1082830"/>
                    </a:lnTo>
                    <a:lnTo>
                      <a:pt x="1069907" y="1073077"/>
                    </a:lnTo>
                    <a:lnTo>
                      <a:pt x="1069907" y="1056823"/>
                    </a:lnTo>
                    <a:lnTo>
                      <a:pt x="1064693" y="1038614"/>
                    </a:lnTo>
                    <a:lnTo>
                      <a:pt x="1073157" y="1024316"/>
                    </a:lnTo>
                    <a:lnTo>
                      <a:pt x="1073800" y="1012620"/>
                    </a:lnTo>
                    <a:lnTo>
                      <a:pt x="1085513" y="1001558"/>
                    </a:lnTo>
                    <a:lnTo>
                      <a:pt x="1088763" y="993112"/>
                    </a:lnTo>
                    <a:lnTo>
                      <a:pt x="1091352" y="976858"/>
                    </a:lnTo>
                    <a:lnTo>
                      <a:pt x="1074460" y="948905"/>
                    </a:lnTo>
                    <a:lnTo>
                      <a:pt x="1068603" y="929401"/>
                    </a:lnTo>
                    <a:lnTo>
                      <a:pt x="1064693" y="921602"/>
                    </a:lnTo>
                    <a:lnTo>
                      <a:pt x="1062104" y="907942"/>
                    </a:lnTo>
                    <a:lnTo>
                      <a:pt x="1063407" y="880640"/>
                    </a:lnTo>
                    <a:lnTo>
                      <a:pt x="1060157" y="881287"/>
                    </a:lnTo>
                    <a:lnTo>
                      <a:pt x="1056247" y="899492"/>
                    </a:lnTo>
                    <a:lnTo>
                      <a:pt x="1047140" y="896242"/>
                    </a:lnTo>
                    <a:lnTo>
                      <a:pt x="1048444" y="882591"/>
                    </a:lnTo>
                    <a:lnTo>
                      <a:pt x="1044551" y="879346"/>
                    </a:lnTo>
                    <a:lnTo>
                      <a:pt x="1046497" y="859186"/>
                    </a:lnTo>
                    <a:lnTo>
                      <a:pt x="1059497" y="847490"/>
                    </a:lnTo>
                    <a:lnTo>
                      <a:pt x="1067943" y="842285"/>
                    </a:lnTo>
                    <a:lnTo>
                      <a:pt x="1082246" y="838379"/>
                    </a:lnTo>
                    <a:lnTo>
                      <a:pt x="1090710" y="845535"/>
                    </a:lnTo>
                    <a:lnTo>
                      <a:pt x="1089406" y="865686"/>
                    </a:lnTo>
                    <a:lnTo>
                      <a:pt x="1097209" y="862436"/>
                    </a:lnTo>
                    <a:lnTo>
                      <a:pt x="1103066" y="842285"/>
                    </a:lnTo>
                    <a:lnTo>
                      <a:pt x="1106316" y="839031"/>
                    </a:lnTo>
                    <a:lnTo>
                      <a:pt x="1104352" y="826032"/>
                    </a:lnTo>
                    <a:lnTo>
                      <a:pt x="1105655" y="818880"/>
                    </a:lnTo>
                    <a:lnTo>
                      <a:pt x="1116708" y="815626"/>
                    </a:lnTo>
                    <a:lnTo>
                      <a:pt x="1134921" y="814983"/>
                    </a:lnTo>
                    <a:lnTo>
                      <a:pt x="1141421" y="809778"/>
                    </a:lnTo>
                    <a:lnTo>
                      <a:pt x="1142707" y="797426"/>
                    </a:lnTo>
                    <a:lnTo>
                      <a:pt x="1149224" y="785070"/>
                    </a:lnTo>
                    <a:lnTo>
                      <a:pt x="1155063" y="781172"/>
                    </a:lnTo>
                    <a:lnTo>
                      <a:pt x="1168723" y="779869"/>
                    </a:lnTo>
                    <a:lnTo>
                      <a:pt x="1176526" y="783771"/>
                    </a:lnTo>
                    <a:lnTo>
                      <a:pt x="1201882" y="787677"/>
                    </a:lnTo>
                    <a:lnTo>
                      <a:pt x="1207078" y="781820"/>
                    </a:lnTo>
                    <a:lnTo>
                      <a:pt x="1196025" y="770119"/>
                    </a:lnTo>
                    <a:lnTo>
                      <a:pt x="1194722" y="765571"/>
                    </a:lnTo>
                    <a:lnTo>
                      <a:pt x="1181722" y="758419"/>
                    </a:lnTo>
                    <a:lnTo>
                      <a:pt x="1171312" y="739567"/>
                    </a:lnTo>
                    <a:lnTo>
                      <a:pt x="1170669" y="726564"/>
                    </a:lnTo>
                    <a:lnTo>
                      <a:pt x="1175866" y="716810"/>
                    </a:lnTo>
                    <a:lnTo>
                      <a:pt x="1162866" y="705757"/>
                    </a:lnTo>
                    <a:lnTo>
                      <a:pt x="1154420" y="695355"/>
                    </a:lnTo>
                    <a:lnTo>
                      <a:pt x="1133618" y="656996"/>
                    </a:lnTo>
                    <a:lnTo>
                      <a:pt x="1123208" y="627748"/>
                    </a:lnTo>
                    <a:lnTo>
                      <a:pt x="1121904" y="614088"/>
                    </a:lnTo>
                    <a:lnTo>
                      <a:pt x="1117369" y="600441"/>
                    </a:lnTo>
                    <a:lnTo>
                      <a:pt x="1117369" y="589379"/>
                    </a:lnTo>
                    <a:lnTo>
                      <a:pt x="1134921" y="571831"/>
                    </a:lnTo>
                    <a:lnTo>
                      <a:pt x="1138814" y="560126"/>
                    </a:lnTo>
                    <a:lnTo>
                      <a:pt x="1138171" y="530873"/>
                    </a:lnTo>
                    <a:lnTo>
                      <a:pt x="1140760" y="522423"/>
                    </a:lnTo>
                    <a:lnTo>
                      <a:pt x="1160277" y="511370"/>
                    </a:lnTo>
                    <a:lnTo>
                      <a:pt x="1171973" y="499674"/>
                    </a:lnTo>
                    <a:lnTo>
                      <a:pt x="1181080" y="494469"/>
                    </a:lnTo>
                    <a:lnTo>
                      <a:pt x="1209025" y="486014"/>
                    </a:lnTo>
                    <a:lnTo>
                      <a:pt x="1234380" y="482113"/>
                    </a:lnTo>
                    <a:lnTo>
                      <a:pt x="1242183" y="483416"/>
                    </a:lnTo>
                    <a:lnTo>
                      <a:pt x="1250629" y="476908"/>
                    </a:lnTo>
                    <a:lnTo>
                      <a:pt x="1255183" y="477568"/>
                    </a:lnTo>
                    <a:lnTo>
                      <a:pt x="1266236" y="467810"/>
                    </a:lnTo>
                    <a:lnTo>
                      <a:pt x="1275342" y="442458"/>
                    </a:lnTo>
                    <a:lnTo>
                      <a:pt x="1281199" y="430754"/>
                    </a:lnTo>
                    <a:lnTo>
                      <a:pt x="1283146" y="403452"/>
                    </a:lnTo>
                    <a:lnTo>
                      <a:pt x="1268843" y="380046"/>
                    </a:lnTo>
                    <a:lnTo>
                      <a:pt x="1266236" y="369641"/>
                    </a:lnTo>
                    <a:lnTo>
                      <a:pt x="1254540" y="354039"/>
                    </a:lnTo>
                    <a:lnTo>
                      <a:pt x="1249987" y="335835"/>
                    </a:lnTo>
                    <a:lnTo>
                      <a:pt x="1242826" y="317635"/>
                    </a:lnTo>
                    <a:lnTo>
                      <a:pt x="1242183" y="302028"/>
                    </a:lnTo>
                    <a:lnTo>
                      <a:pt x="1238934" y="294230"/>
                    </a:lnTo>
                    <a:lnTo>
                      <a:pt x="1242183" y="272775"/>
                    </a:lnTo>
                    <a:lnTo>
                      <a:pt x="1232434" y="260423"/>
                    </a:lnTo>
                    <a:lnTo>
                      <a:pt x="1227881" y="251321"/>
                    </a:lnTo>
                    <a:lnTo>
                      <a:pt x="1224631" y="224015"/>
                    </a:lnTo>
                    <a:lnTo>
                      <a:pt x="1225274" y="207761"/>
                    </a:lnTo>
                    <a:lnTo>
                      <a:pt x="1220738" y="196713"/>
                    </a:lnTo>
                    <a:lnTo>
                      <a:pt x="1222685" y="183709"/>
                    </a:lnTo>
                    <a:lnTo>
                      <a:pt x="1219435" y="175254"/>
                    </a:lnTo>
                    <a:lnTo>
                      <a:pt x="1209685" y="166156"/>
                    </a:lnTo>
                    <a:lnTo>
                      <a:pt x="1194079" y="164205"/>
                    </a:lnTo>
                    <a:lnTo>
                      <a:pt x="1187579" y="170053"/>
                    </a:lnTo>
                    <a:lnTo>
                      <a:pt x="1177830" y="172656"/>
                    </a:lnTo>
                    <a:lnTo>
                      <a:pt x="1157670" y="170053"/>
                    </a:lnTo>
                    <a:lnTo>
                      <a:pt x="1144671" y="163554"/>
                    </a:lnTo>
                    <a:lnTo>
                      <a:pt x="1133618" y="149903"/>
                    </a:lnTo>
                    <a:lnTo>
                      <a:pt x="1128422" y="134952"/>
                    </a:lnTo>
                    <a:lnTo>
                      <a:pt x="1123868" y="128449"/>
                    </a:lnTo>
                    <a:lnTo>
                      <a:pt x="1121904" y="116092"/>
                    </a:lnTo>
                    <a:lnTo>
                      <a:pt x="1117369" y="103097"/>
                    </a:lnTo>
                    <a:lnTo>
                      <a:pt x="1118654" y="86839"/>
                    </a:lnTo>
                    <a:lnTo>
                      <a:pt x="1116708" y="77085"/>
                    </a:lnTo>
                    <a:lnTo>
                      <a:pt x="1090710" y="50430"/>
                    </a:lnTo>
                    <a:lnTo>
                      <a:pt x="1090049" y="39382"/>
                    </a:lnTo>
                    <a:lnTo>
                      <a:pt x="1086156" y="28333"/>
                    </a:lnTo>
                    <a:lnTo>
                      <a:pt x="1082246" y="0"/>
                    </a:lnTo>
                    <a:lnTo>
                      <a:pt x="1001411" y="54966"/>
                    </a:lnTo>
                    <a:lnTo>
                      <a:pt x="713980" y="50801"/>
                    </a:lnTo>
                    <a:lnTo>
                      <a:pt x="715176" y="50234"/>
                    </a:lnTo>
                    <a:lnTo>
                      <a:pt x="471493" y="50234"/>
                    </a:lnTo>
                    <a:lnTo>
                      <a:pt x="464618" y="50832"/>
                    </a:lnTo>
                    <a:lnTo>
                      <a:pt x="453297" y="64291"/>
                    </a:lnTo>
                    <a:lnTo>
                      <a:pt x="486527" y="178798"/>
                    </a:lnTo>
                    <a:lnTo>
                      <a:pt x="489813" y="177147"/>
                    </a:lnTo>
                    <a:lnTo>
                      <a:pt x="499884" y="201641"/>
                    </a:lnTo>
                    <a:lnTo>
                      <a:pt x="419442" y="296265"/>
                    </a:lnTo>
                    <a:lnTo>
                      <a:pt x="353213" y="400358"/>
                    </a:lnTo>
                    <a:lnTo>
                      <a:pt x="318697" y="428294"/>
                    </a:lnTo>
                    <a:lnTo>
                      <a:pt x="311769" y="448632"/>
                    </a:lnTo>
                    <a:lnTo>
                      <a:pt x="252951" y="468238"/>
                    </a:lnTo>
                    <a:lnTo>
                      <a:pt x="274146" y="651188"/>
                    </a:lnTo>
                    <a:lnTo>
                      <a:pt x="214846" y="681620"/>
                    </a:lnTo>
                    <a:lnTo>
                      <a:pt x="241523" y="738773"/>
                    </a:lnTo>
                    <a:lnTo>
                      <a:pt x="169116" y="738773"/>
                    </a:lnTo>
                    <a:lnTo>
                      <a:pt x="131011" y="765446"/>
                    </a:lnTo>
                    <a:lnTo>
                      <a:pt x="73853" y="841656"/>
                    </a:lnTo>
                    <a:lnTo>
                      <a:pt x="16713" y="982639"/>
                    </a:lnTo>
                    <a:lnTo>
                      <a:pt x="0" y="1021633"/>
                    </a:lnTo>
                    <a:lnTo>
                      <a:pt x="278592" y="1027753"/>
                    </a:lnTo>
                    <a:lnTo>
                      <a:pt x="325340" y="1028365"/>
                    </a:lnTo>
                    <a:lnTo>
                      <a:pt x="462511" y="1116003"/>
                    </a:lnTo>
                    <a:lnTo>
                      <a:pt x="416799" y="1173156"/>
                    </a:lnTo>
                    <a:lnTo>
                      <a:pt x="432459" y="1187740"/>
                    </a:lnTo>
                    <a:lnTo>
                      <a:pt x="465904" y="1207029"/>
                    </a:lnTo>
                    <a:lnTo>
                      <a:pt x="527293" y="1268414"/>
                    </a:lnTo>
                    <a:lnTo>
                      <a:pt x="534918" y="1420830"/>
                    </a:lnTo>
                    <a:lnTo>
                      <a:pt x="832652" y="1418504"/>
                    </a:lnTo>
                    <a:lnTo>
                      <a:pt x="851454" y="1429343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83147" tIns="14729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44" name="shp_Region_Stann_Creek_$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CEB6118C-890E-4EB0-A87D-64AC128A1E99}"/>
                  </a:ext>
                </a:extLst>
              </p:cNvPr>
              <p:cNvSpPr/>
              <p:nvPr/>
            </p:nvSpPr>
            <p:spPr>
              <a:xfrm>
                <a:off x="2747764" y="3277758"/>
                <a:ext cx="49409" cy="47458"/>
              </a:xfrm>
              <a:custGeom>
                <a:avLst/>
                <a:gdLst/>
                <a:ahLst/>
                <a:cxnLst/>
                <a:rect l="0" t="0" r="0" b="0"/>
                <a:pathLst>
                  <a:path w="49409" h="47458">
                    <a:moveTo>
                      <a:pt x="29909" y="0"/>
                    </a:moveTo>
                    <a:lnTo>
                      <a:pt x="14303" y="4553"/>
                    </a:lnTo>
                    <a:lnTo>
                      <a:pt x="9749" y="10401"/>
                    </a:lnTo>
                    <a:lnTo>
                      <a:pt x="7160" y="27949"/>
                    </a:lnTo>
                    <a:lnTo>
                      <a:pt x="2607" y="29904"/>
                    </a:lnTo>
                    <a:lnTo>
                      <a:pt x="0" y="40957"/>
                    </a:lnTo>
                    <a:lnTo>
                      <a:pt x="1946" y="47457"/>
                    </a:lnTo>
                    <a:lnTo>
                      <a:pt x="16249" y="40306"/>
                    </a:lnTo>
                    <a:lnTo>
                      <a:pt x="43569" y="41609"/>
                    </a:lnTo>
                    <a:lnTo>
                      <a:pt x="48765" y="34458"/>
                    </a:lnTo>
                    <a:lnTo>
                      <a:pt x="49408" y="23409"/>
                    </a:lnTo>
                    <a:lnTo>
                      <a:pt x="44212" y="20802"/>
                    </a:lnTo>
                    <a:lnTo>
                      <a:pt x="44212" y="10401"/>
                    </a:lnTo>
                    <a:lnTo>
                      <a:pt x="2990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9409" tIns="474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45" name="shp_Region_Stann_Creek_$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E5B2FC1F-5452-F35C-1A79-8125EAFFC573}"/>
                  </a:ext>
                </a:extLst>
              </p:cNvPr>
              <p:cNvSpPr/>
              <p:nvPr/>
            </p:nvSpPr>
            <p:spPr>
              <a:xfrm>
                <a:off x="2797833" y="3477997"/>
                <a:ext cx="12339" cy="18853"/>
              </a:xfrm>
              <a:custGeom>
                <a:avLst/>
                <a:gdLst/>
                <a:ahLst/>
                <a:cxnLst/>
                <a:rect l="0" t="0" r="0" b="0"/>
                <a:pathLst>
                  <a:path w="12339" h="18853">
                    <a:moveTo>
                      <a:pt x="11053" y="0"/>
                    </a:moveTo>
                    <a:lnTo>
                      <a:pt x="0" y="1299"/>
                    </a:lnTo>
                    <a:lnTo>
                      <a:pt x="0" y="17553"/>
                    </a:lnTo>
                    <a:lnTo>
                      <a:pt x="12338" y="188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39" tIns="188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46" name="shp_Region_Stann_Creek_$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1F776AF9-04EC-AC10-5BE4-EDBFEB5F3FE6}"/>
                  </a:ext>
                </a:extLst>
              </p:cNvPr>
              <p:cNvSpPr/>
              <p:nvPr/>
            </p:nvSpPr>
            <p:spPr>
              <a:xfrm>
                <a:off x="2732157" y="3544306"/>
                <a:ext cx="25357" cy="12357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2357">
                    <a:moveTo>
                      <a:pt x="14964" y="0"/>
                    </a:moveTo>
                    <a:lnTo>
                      <a:pt x="1304" y="3254"/>
                    </a:lnTo>
                    <a:lnTo>
                      <a:pt x="0" y="7799"/>
                    </a:lnTo>
                    <a:lnTo>
                      <a:pt x="9768" y="12356"/>
                    </a:lnTo>
                    <a:lnTo>
                      <a:pt x="23410" y="8459"/>
                    </a:lnTo>
                    <a:lnTo>
                      <a:pt x="25356" y="3254"/>
                    </a:lnTo>
                    <a:lnTo>
                      <a:pt x="1496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23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47" name="shp_Region_Stann_Creek_$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5FD3C445-8992-6760-436A-BD4C17ABA9B9}"/>
                  </a:ext>
                </a:extLst>
              </p:cNvPr>
              <p:cNvSpPr/>
              <p:nvPr/>
            </p:nvSpPr>
            <p:spPr>
              <a:xfrm>
                <a:off x="2647644" y="3572916"/>
                <a:ext cx="14304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4304" h="11706">
                    <a:moveTo>
                      <a:pt x="7803" y="0"/>
                    </a:moveTo>
                    <a:lnTo>
                      <a:pt x="0" y="5843"/>
                    </a:lnTo>
                    <a:lnTo>
                      <a:pt x="4553" y="11705"/>
                    </a:lnTo>
                    <a:lnTo>
                      <a:pt x="14303" y="7152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304" tIns="117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48" name="shp_Region_Stann_Creek_$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71F7928D-53AE-A81D-A6BB-2DD0B7759510}"/>
                  </a:ext>
                </a:extLst>
              </p:cNvPr>
              <p:cNvSpPr/>
              <p:nvPr/>
            </p:nvSpPr>
            <p:spPr>
              <a:xfrm>
                <a:off x="2651555" y="3719194"/>
                <a:ext cx="32499" cy="79965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79965">
                    <a:moveTo>
                      <a:pt x="32498" y="0"/>
                    </a:moveTo>
                    <a:lnTo>
                      <a:pt x="25998" y="647"/>
                    </a:lnTo>
                    <a:lnTo>
                      <a:pt x="15588" y="12348"/>
                    </a:lnTo>
                    <a:lnTo>
                      <a:pt x="7142" y="17548"/>
                    </a:lnTo>
                    <a:lnTo>
                      <a:pt x="3892" y="24052"/>
                    </a:lnTo>
                    <a:lnTo>
                      <a:pt x="4553" y="33154"/>
                    </a:lnTo>
                    <a:lnTo>
                      <a:pt x="13642" y="31855"/>
                    </a:lnTo>
                    <a:lnTo>
                      <a:pt x="14302" y="40306"/>
                    </a:lnTo>
                    <a:lnTo>
                      <a:pt x="7803" y="52002"/>
                    </a:lnTo>
                    <a:lnTo>
                      <a:pt x="12999" y="56560"/>
                    </a:lnTo>
                    <a:lnTo>
                      <a:pt x="7142" y="70862"/>
                    </a:lnTo>
                    <a:lnTo>
                      <a:pt x="0" y="74112"/>
                    </a:lnTo>
                    <a:lnTo>
                      <a:pt x="2589" y="79964"/>
                    </a:lnTo>
                    <a:lnTo>
                      <a:pt x="13642" y="66961"/>
                    </a:lnTo>
                    <a:lnTo>
                      <a:pt x="15588" y="59809"/>
                    </a:lnTo>
                    <a:lnTo>
                      <a:pt x="14945" y="42257"/>
                    </a:lnTo>
                    <a:lnTo>
                      <a:pt x="16249" y="31208"/>
                    </a:lnTo>
                    <a:lnTo>
                      <a:pt x="25998" y="18852"/>
                    </a:lnTo>
                    <a:lnTo>
                      <a:pt x="27945" y="7147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99" tIns="7996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49" name="shp_Region_Stann_Creek_$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DC08D701-1C93-972D-F56A-34E9D4569763}"/>
                  </a:ext>
                </a:extLst>
              </p:cNvPr>
              <p:cNvSpPr/>
              <p:nvPr/>
            </p:nvSpPr>
            <p:spPr>
              <a:xfrm>
                <a:off x="2611896" y="3889524"/>
                <a:ext cx="23393" cy="26660"/>
              </a:xfrm>
              <a:custGeom>
                <a:avLst/>
                <a:gdLst/>
                <a:ahLst/>
                <a:cxnLst/>
                <a:rect l="0" t="0" r="0" b="0"/>
                <a:pathLst>
                  <a:path w="23393" h="26660">
                    <a:moveTo>
                      <a:pt x="8446" y="0"/>
                    </a:moveTo>
                    <a:lnTo>
                      <a:pt x="3250" y="1299"/>
                    </a:lnTo>
                    <a:lnTo>
                      <a:pt x="0" y="9754"/>
                    </a:lnTo>
                    <a:lnTo>
                      <a:pt x="1304" y="16905"/>
                    </a:lnTo>
                    <a:lnTo>
                      <a:pt x="7803" y="26659"/>
                    </a:lnTo>
                    <a:lnTo>
                      <a:pt x="23392" y="19504"/>
                    </a:lnTo>
                    <a:lnTo>
                      <a:pt x="20142" y="5201"/>
                    </a:lnTo>
                    <a:lnTo>
                      <a:pt x="84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93" tIns="266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0" name="shp_Region_Stann_Creek_$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73239887-4EBD-0F33-4991-D85B3A5B7C64}"/>
                  </a:ext>
                </a:extLst>
              </p:cNvPr>
              <p:cNvSpPr/>
              <p:nvPr/>
            </p:nvSpPr>
            <p:spPr>
              <a:xfrm>
                <a:off x="2502670" y="3944785"/>
                <a:ext cx="25357" cy="1690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6902">
                    <a:moveTo>
                      <a:pt x="7803" y="0"/>
                    </a:moveTo>
                    <a:lnTo>
                      <a:pt x="3893" y="651"/>
                    </a:lnTo>
                    <a:lnTo>
                      <a:pt x="0" y="14302"/>
                    </a:lnTo>
                    <a:lnTo>
                      <a:pt x="5857" y="16901"/>
                    </a:lnTo>
                    <a:lnTo>
                      <a:pt x="12999" y="11700"/>
                    </a:lnTo>
                    <a:lnTo>
                      <a:pt x="25356" y="7803"/>
                    </a:lnTo>
                    <a:lnTo>
                      <a:pt x="23409" y="1950"/>
                    </a:lnTo>
                    <a:lnTo>
                      <a:pt x="11696" y="5200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69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1" name="shp_Region_Stann_Creek_$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AAD845B3-3640-6F19-D3C2-23633BC5B081}"/>
                  </a:ext>
                </a:extLst>
              </p:cNvPr>
              <p:cNvSpPr/>
              <p:nvPr/>
            </p:nvSpPr>
            <p:spPr>
              <a:xfrm>
                <a:off x="3208703" y="4154778"/>
                <a:ext cx="31857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31857" h="27303">
                    <a:moveTo>
                      <a:pt x="30552" y="0"/>
                    </a:moveTo>
                    <a:lnTo>
                      <a:pt x="19499" y="11048"/>
                    </a:lnTo>
                    <a:lnTo>
                      <a:pt x="9750" y="10397"/>
                    </a:lnTo>
                    <a:lnTo>
                      <a:pt x="0" y="19499"/>
                    </a:lnTo>
                    <a:lnTo>
                      <a:pt x="2607" y="27302"/>
                    </a:lnTo>
                    <a:lnTo>
                      <a:pt x="10411" y="25351"/>
                    </a:lnTo>
                    <a:lnTo>
                      <a:pt x="31856" y="3250"/>
                    </a:lnTo>
                    <a:lnTo>
                      <a:pt x="3055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1857" tIns="27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2" name="shp_Region_Stann_Creek_$1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87DB13B4-479B-E31C-74B6-9585D1F90CC5}"/>
                  </a:ext>
                </a:extLst>
              </p:cNvPr>
              <p:cNvSpPr/>
              <p:nvPr/>
            </p:nvSpPr>
            <p:spPr>
              <a:xfrm>
                <a:off x="2458458" y="4176228"/>
                <a:ext cx="9750" cy="14303"/>
              </a:xfrm>
              <a:custGeom>
                <a:avLst/>
                <a:gdLst/>
                <a:ahLst/>
                <a:cxnLst/>
                <a:rect l="0" t="0" r="0" b="0"/>
                <a:pathLst>
                  <a:path w="9750" h="14303">
                    <a:moveTo>
                      <a:pt x="1946" y="0"/>
                    </a:moveTo>
                    <a:lnTo>
                      <a:pt x="0" y="7146"/>
                    </a:lnTo>
                    <a:lnTo>
                      <a:pt x="3250" y="14302"/>
                    </a:lnTo>
                    <a:lnTo>
                      <a:pt x="9749" y="8455"/>
                    </a:lnTo>
                    <a:lnTo>
                      <a:pt x="1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50" tIns="14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3" name="shp_Region_Stann_Creek_$1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229E6625-5C76-B35F-F93E-A6CF9A97CA56}"/>
                  </a:ext>
                </a:extLst>
              </p:cNvPr>
              <p:cNvSpPr/>
              <p:nvPr/>
            </p:nvSpPr>
            <p:spPr>
              <a:xfrm>
                <a:off x="2461065" y="4221082"/>
                <a:ext cx="7804" cy="28612"/>
              </a:xfrm>
              <a:custGeom>
                <a:avLst/>
                <a:gdLst/>
                <a:ahLst/>
                <a:cxnLst/>
                <a:rect l="0" t="0" r="0" b="0"/>
                <a:pathLst>
                  <a:path w="7804" h="28612">
                    <a:moveTo>
                      <a:pt x="4553" y="0"/>
                    </a:moveTo>
                    <a:lnTo>
                      <a:pt x="0" y="1304"/>
                    </a:lnTo>
                    <a:lnTo>
                      <a:pt x="0" y="28611"/>
                    </a:lnTo>
                    <a:lnTo>
                      <a:pt x="7803" y="10406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804" tIns="2861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4" name="shp_Region_Stann_Creek_$1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184D66C8-934E-492D-DBB1-01288CDD43FC}"/>
                  </a:ext>
                </a:extLst>
              </p:cNvPr>
              <p:cNvSpPr/>
              <p:nvPr/>
            </p:nvSpPr>
            <p:spPr>
              <a:xfrm>
                <a:off x="2416853" y="4230189"/>
                <a:ext cx="11697" cy="13005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3005">
                    <a:moveTo>
                      <a:pt x="5857" y="0"/>
                    </a:moveTo>
                    <a:lnTo>
                      <a:pt x="0" y="10401"/>
                    </a:lnTo>
                    <a:lnTo>
                      <a:pt x="11053" y="13004"/>
                    </a:lnTo>
                    <a:lnTo>
                      <a:pt x="11696" y="3902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30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5" name="shp_Region_Stann_Creek_$1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61446791-F72B-18CB-0B20-B897928CA40A}"/>
                  </a:ext>
                </a:extLst>
              </p:cNvPr>
              <p:cNvSpPr/>
              <p:nvPr/>
            </p:nvSpPr>
            <p:spPr>
              <a:xfrm>
                <a:off x="2412960" y="4265294"/>
                <a:ext cx="14947" cy="14300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4300">
                    <a:moveTo>
                      <a:pt x="5839" y="0"/>
                    </a:moveTo>
                    <a:lnTo>
                      <a:pt x="0" y="652"/>
                    </a:lnTo>
                    <a:lnTo>
                      <a:pt x="7803" y="14299"/>
                    </a:lnTo>
                    <a:lnTo>
                      <a:pt x="14946" y="12352"/>
                    </a:lnTo>
                    <a:lnTo>
                      <a:pt x="11696" y="652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7" tIns="143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6" name="shp_Region_Stann_Creek_$1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51B50AD4-801E-F297-64DC-851DC8A90416}"/>
                  </a:ext>
                </a:extLst>
              </p:cNvPr>
              <p:cNvSpPr/>
              <p:nvPr/>
            </p:nvSpPr>
            <p:spPr>
              <a:xfrm>
                <a:off x="2412960" y="4279593"/>
                <a:ext cx="8447" cy="10411"/>
              </a:xfrm>
              <a:custGeom>
                <a:avLst/>
                <a:gdLst/>
                <a:ahLst/>
                <a:cxnLst/>
                <a:rect l="0" t="0" r="0" b="0"/>
                <a:pathLst>
                  <a:path w="8447" h="10411">
                    <a:moveTo>
                      <a:pt x="5839" y="0"/>
                    </a:moveTo>
                    <a:lnTo>
                      <a:pt x="0" y="0"/>
                    </a:lnTo>
                    <a:lnTo>
                      <a:pt x="1286" y="10410"/>
                    </a:lnTo>
                    <a:lnTo>
                      <a:pt x="8446" y="5200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447" tIns="1041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7" name="shp_Region_Stann_Creek_$1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33833C2D-9A90-E10D-1E94-7FD5223FA27A}"/>
                  </a:ext>
                </a:extLst>
              </p:cNvPr>
              <p:cNvSpPr/>
              <p:nvPr/>
            </p:nvSpPr>
            <p:spPr>
              <a:xfrm>
                <a:off x="2429852" y="4293253"/>
                <a:ext cx="13661" cy="16250"/>
              </a:xfrm>
              <a:custGeom>
                <a:avLst/>
                <a:gdLst/>
                <a:ahLst/>
                <a:cxnLst/>
                <a:rect l="0" t="0" r="0" b="0"/>
                <a:pathLst>
                  <a:path w="13661" h="16250">
                    <a:moveTo>
                      <a:pt x="6500" y="0"/>
                    </a:moveTo>
                    <a:lnTo>
                      <a:pt x="0" y="3249"/>
                    </a:lnTo>
                    <a:lnTo>
                      <a:pt x="661" y="10401"/>
                    </a:lnTo>
                    <a:lnTo>
                      <a:pt x="6500" y="16249"/>
                    </a:lnTo>
                    <a:lnTo>
                      <a:pt x="13660" y="14950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661" tIns="162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8" name="shp_Region_Stann_Creek_$1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38CAADC7-40A5-2F4E-94B5-BBF220DFE776}"/>
                  </a:ext>
                </a:extLst>
              </p:cNvPr>
              <p:cNvSpPr/>
              <p:nvPr/>
            </p:nvSpPr>
            <p:spPr>
              <a:xfrm>
                <a:off x="2477975" y="4330956"/>
                <a:ext cx="11036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11036" h="18206">
                    <a:moveTo>
                      <a:pt x="5839" y="0"/>
                    </a:moveTo>
                    <a:lnTo>
                      <a:pt x="0" y="5852"/>
                    </a:lnTo>
                    <a:lnTo>
                      <a:pt x="643" y="18205"/>
                    </a:lnTo>
                    <a:lnTo>
                      <a:pt x="11035" y="9107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36" tIns="182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59" name="shp_Region_Stann_Creek_$1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8629F740-33A7-93A6-C8C3-358317A279FF}"/>
                  </a:ext>
                </a:extLst>
              </p:cNvPr>
              <p:cNvSpPr/>
              <p:nvPr/>
            </p:nvSpPr>
            <p:spPr>
              <a:xfrm>
                <a:off x="2370695" y="4358263"/>
                <a:ext cx="11054" cy="117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705">
                    <a:moveTo>
                      <a:pt x="5856" y="0"/>
                    </a:moveTo>
                    <a:lnTo>
                      <a:pt x="0" y="7147"/>
                    </a:lnTo>
                    <a:lnTo>
                      <a:pt x="7160" y="11704"/>
                    </a:lnTo>
                    <a:lnTo>
                      <a:pt x="11053" y="5852"/>
                    </a:lnTo>
                    <a:lnTo>
                      <a:pt x="58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17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60" name="shp_Region_Stann_Creek_$1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4A34536A-2D72-4DBC-E21C-6883EAA5346F}"/>
                  </a:ext>
                </a:extLst>
              </p:cNvPr>
              <p:cNvSpPr/>
              <p:nvPr/>
            </p:nvSpPr>
            <p:spPr>
              <a:xfrm>
                <a:off x="2065140" y="4432375"/>
                <a:ext cx="1560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5607" h="14955">
                    <a:moveTo>
                      <a:pt x="15606" y="0"/>
                    </a:moveTo>
                    <a:lnTo>
                      <a:pt x="5196" y="1955"/>
                    </a:lnTo>
                    <a:lnTo>
                      <a:pt x="0" y="6504"/>
                    </a:lnTo>
                    <a:lnTo>
                      <a:pt x="7803" y="14954"/>
                    </a:lnTo>
                    <a:lnTo>
                      <a:pt x="9749" y="4553"/>
                    </a:lnTo>
                    <a:lnTo>
                      <a:pt x="156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607" tIns="149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61" name="shp_Region_Stann_Creek_$1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E42293AE-D807-BD0C-D61D-86DD9CAC7BF8}"/>
                  </a:ext>
                </a:extLst>
              </p:cNvPr>
              <p:cNvSpPr/>
              <p:nvPr/>
            </p:nvSpPr>
            <p:spPr>
              <a:xfrm>
                <a:off x="2351839" y="4438231"/>
                <a:ext cx="1496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4964" h="7805">
                    <a:moveTo>
                      <a:pt x="11053" y="0"/>
                    </a:moveTo>
                    <a:lnTo>
                      <a:pt x="0" y="1300"/>
                    </a:lnTo>
                    <a:lnTo>
                      <a:pt x="4553" y="7804"/>
                    </a:lnTo>
                    <a:lnTo>
                      <a:pt x="14963" y="7804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64" tIns="7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62" name="shp_Region_Stann_Creek_$2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5EE796D8-D611-EA4E-CC69-084472DAA3DD}"/>
                  </a:ext>
                </a:extLst>
              </p:cNvPr>
              <p:cNvSpPr/>
              <p:nvPr/>
            </p:nvSpPr>
            <p:spPr>
              <a:xfrm>
                <a:off x="2189312" y="4624163"/>
                <a:ext cx="32499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18206">
                    <a:moveTo>
                      <a:pt x="14945" y="0"/>
                    </a:moveTo>
                    <a:lnTo>
                      <a:pt x="5856" y="5201"/>
                    </a:lnTo>
                    <a:lnTo>
                      <a:pt x="0" y="12352"/>
                    </a:lnTo>
                    <a:lnTo>
                      <a:pt x="19499" y="13656"/>
                    </a:lnTo>
                    <a:lnTo>
                      <a:pt x="28605" y="18205"/>
                    </a:lnTo>
                    <a:lnTo>
                      <a:pt x="32498" y="7152"/>
                    </a:lnTo>
                    <a:lnTo>
                      <a:pt x="22748" y="9755"/>
                    </a:lnTo>
                    <a:lnTo>
                      <a:pt x="1494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99" tIns="182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163" name="shp_Region_Stann_Creek_$2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3B6559A5-C45E-1E93-704F-B503969C1417}"/>
                  </a:ext>
                </a:extLst>
              </p:cNvPr>
              <p:cNvSpPr/>
              <p:nvPr/>
            </p:nvSpPr>
            <p:spPr>
              <a:xfrm>
                <a:off x="2364195" y="4672273"/>
                <a:ext cx="20161" cy="2276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22763">
                    <a:moveTo>
                      <a:pt x="20160" y="0"/>
                    </a:moveTo>
                    <a:lnTo>
                      <a:pt x="0" y="18204"/>
                    </a:lnTo>
                    <a:lnTo>
                      <a:pt x="3893" y="22762"/>
                    </a:lnTo>
                    <a:lnTo>
                      <a:pt x="2016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161" tIns="227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</p:grpSp>
        <p:grpSp>
          <p:nvGrpSpPr>
            <p:cNvPr id="127" name="shp_Region_Toledo" descr="Admin1_Id=&quot;BLZ&quot;&#10;Admin1_Label=&quot;Belize&quot;&#10;Admin2_Id=&quot;BLZ.6_1&quot;&#10;Admin2_Label=&quot;Toledo&quot;&#10;" title="Toledo">
              <a:extLst>
                <a:ext uri="{FF2B5EF4-FFF2-40B4-BE49-F238E27FC236}">
                  <a16:creationId xmlns:a16="http://schemas.microsoft.com/office/drawing/2014/main" id="{13822DAB-C448-4490-8049-99A6616C087D}"/>
                </a:ext>
              </a:extLst>
            </p:cNvPr>
            <p:cNvGrpSpPr/>
            <p:nvPr/>
          </p:nvGrpSpPr>
          <p:grpSpPr>
            <a:xfrm>
              <a:off x="0" y="4198249"/>
              <a:ext cx="1966967" cy="1897752"/>
              <a:chOff x="0" y="4198249"/>
              <a:chExt cx="1966967" cy="1897752"/>
            </a:xfrm>
            <a:solidFill>
              <a:srgbClr val="FFC000"/>
            </a:solidFill>
          </p:grpSpPr>
          <p:sp>
            <p:nvSpPr>
              <p:cNvPr id="128" name="shp_Region_Toledo_$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714B8AA1-1EE6-0D4F-32BE-344DDDDE8A9A}"/>
                  </a:ext>
                </a:extLst>
              </p:cNvPr>
              <p:cNvSpPr/>
              <p:nvPr/>
            </p:nvSpPr>
            <p:spPr>
              <a:xfrm>
                <a:off x="0" y="4198249"/>
                <a:ext cx="1966967" cy="1897752"/>
              </a:xfrm>
              <a:custGeom>
                <a:avLst/>
                <a:gdLst/>
                <a:ahLst/>
                <a:cxnLst/>
                <a:rect l="0" t="0" r="0" b="0"/>
                <a:pathLst>
                  <a:path w="1966967" h="1897752">
                    <a:moveTo>
                      <a:pt x="85138" y="644099"/>
                    </a:moveTo>
                    <a:lnTo>
                      <a:pt x="61443" y="997973"/>
                    </a:lnTo>
                    <a:lnTo>
                      <a:pt x="48587" y="1189918"/>
                    </a:lnTo>
                    <a:lnTo>
                      <a:pt x="21142" y="1599611"/>
                    </a:lnTo>
                    <a:lnTo>
                      <a:pt x="18428" y="1639676"/>
                    </a:lnTo>
                    <a:lnTo>
                      <a:pt x="11499" y="1712884"/>
                    </a:lnTo>
                    <a:lnTo>
                      <a:pt x="0" y="1813626"/>
                    </a:lnTo>
                    <a:lnTo>
                      <a:pt x="3178" y="1874025"/>
                    </a:lnTo>
                    <a:lnTo>
                      <a:pt x="11785" y="1875038"/>
                    </a:lnTo>
                    <a:lnTo>
                      <a:pt x="14214" y="1886118"/>
                    </a:lnTo>
                    <a:lnTo>
                      <a:pt x="26177" y="1891798"/>
                    </a:lnTo>
                    <a:lnTo>
                      <a:pt x="79853" y="1872351"/>
                    </a:lnTo>
                    <a:lnTo>
                      <a:pt x="97763" y="1872243"/>
                    </a:lnTo>
                    <a:lnTo>
                      <a:pt x="102512" y="1852171"/>
                    </a:lnTo>
                    <a:lnTo>
                      <a:pt x="109066" y="1850345"/>
                    </a:lnTo>
                    <a:lnTo>
                      <a:pt x="119547" y="1852972"/>
                    </a:lnTo>
                    <a:lnTo>
                      <a:pt x="148885" y="1878020"/>
                    </a:lnTo>
                    <a:lnTo>
                      <a:pt x="173187" y="1887017"/>
                    </a:lnTo>
                    <a:lnTo>
                      <a:pt x="186954" y="1883205"/>
                    </a:lnTo>
                    <a:lnTo>
                      <a:pt x="210864" y="1864610"/>
                    </a:lnTo>
                    <a:lnTo>
                      <a:pt x="227720" y="1879261"/>
                    </a:lnTo>
                    <a:lnTo>
                      <a:pt x="244790" y="1876518"/>
                    </a:lnTo>
                    <a:lnTo>
                      <a:pt x="250879" y="1881839"/>
                    </a:lnTo>
                    <a:lnTo>
                      <a:pt x="260272" y="1883946"/>
                    </a:lnTo>
                    <a:lnTo>
                      <a:pt x="271003" y="1873203"/>
                    </a:lnTo>
                    <a:lnTo>
                      <a:pt x="265075" y="1859793"/>
                    </a:lnTo>
                    <a:lnTo>
                      <a:pt x="286038" y="1852765"/>
                    </a:lnTo>
                    <a:lnTo>
                      <a:pt x="307519" y="1852126"/>
                    </a:lnTo>
                    <a:lnTo>
                      <a:pt x="318037" y="1857441"/>
                    </a:lnTo>
                    <a:lnTo>
                      <a:pt x="334161" y="1886838"/>
                    </a:lnTo>
                    <a:lnTo>
                      <a:pt x="340750" y="1886272"/>
                    </a:lnTo>
                    <a:lnTo>
                      <a:pt x="343857" y="1880303"/>
                    </a:lnTo>
                    <a:lnTo>
                      <a:pt x="350517" y="1879732"/>
                    </a:lnTo>
                    <a:lnTo>
                      <a:pt x="352213" y="1857298"/>
                    </a:lnTo>
                    <a:lnTo>
                      <a:pt x="370480" y="1877571"/>
                    </a:lnTo>
                    <a:lnTo>
                      <a:pt x="377658" y="1879689"/>
                    </a:lnTo>
                    <a:lnTo>
                      <a:pt x="376533" y="1869511"/>
                    </a:lnTo>
                    <a:lnTo>
                      <a:pt x="387729" y="1873085"/>
                    </a:lnTo>
                    <a:lnTo>
                      <a:pt x="386604" y="1862893"/>
                    </a:lnTo>
                    <a:lnTo>
                      <a:pt x="390426" y="1853227"/>
                    </a:lnTo>
                    <a:lnTo>
                      <a:pt x="387622" y="1842522"/>
                    </a:lnTo>
                    <a:lnTo>
                      <a:pt x="391461" y="1835522"/>
                    </a:lnTo>
                    <a:lnTo>
                      <a:pt x="403711" y="1837602"/>
                    </a:lnTo>
                    <a:lnTo>
                      <a:pt x="411067" y="1862775"/>
                    </a:lnTo>
                    <a:lnTo>
                      <a:pt x="413139" y="1864157"/>
                    </a:lnTo>
                    <a:lnTo>
                      <a:pt x="425495" y="1847877"/>
                    </a:lnTo>
                    <a:lnTo>
                      <a:pt x="445530" y="1845497"/>
                    </a:lnTo>
                    <a:lnTo>
                      <a:pt x="468850" y="1854398"/>
                    </a:lnTo>
                    <a:lnTo>
                      <a:pt x="478171" y="1862108"/>
                    </a:lnTo>
                    <a:lnTo>
                      <a:pt x="486188" y="1883370"/>
                    </a:lnTo>
                    <a:lnTo>
                      <a:pt x="496152" y="1883982"/>
                    </a:lnTo>
                    <a:lnTo>
                      <a:pt x="521990" y="1869719"/>
                    </a:lnTo>
                    <a:lnTo>
                      <a:pt x="530615" y="1869043"/>
                    </a:lnTo>
                    <a:lnTo>
                      <a:pt x="559845" y="1884122"/>
                    </a:lnTo>
                    <a:lnTo>
                      <a:pt x="598361" y="1887876"/>
                    </a:lnTo>
                    <a:lnTo>
                      <a:pt x="642180" y="1897751"/>
                    </a:lnTo>
                    <a:lnTo>
                      <a:pt x="665197" y="1896008"/>
                    </a:lnTo>
                    <a:lnTo>
                      <a:pt x="701962" y="1884745"/>
                    </a:lnTo>
                    <a:lnTo>
                      <a:pt x="725300" y="1873728"/>
                    </a:lnTo>
                    <a:lnTo>
                      <a:pt x="727836" y="1869837"/>
                    </a:lnTo>
                    <a:lnTo>
                      <a:pt x="725229" y="1852939"/>
                    </a:lnTo>
                    <a:lnTo>
                      <a:pt x="719372" y="1848390"/>
                    </a:lnTo>
                    <a:lnTo>
                      <a:pt x="705069" y="1821083"/>
                    </a:lnTo>
                    <a:lnTo>
                      <a:pt x="692070" y="1778820"/>
                    </a:lnTo>
                    <a:lnTo>
                      <a:pt x="688178" y="1772972"/>
                    </a:lnTo>
                    <a:lnTo>
                      <a:pt x="684928" y="1758669"/>
                    </a:lnTo>
                    <a:lnTo>
                      <a:pt x="676464" y="1732012"/>
                    </a:lnTo>
                    <a:lnTo>
                      <a:pt x="678428" y="1719658"/>
                    </a:lnTo>
                    <a:lnTo>
                      <a:pt x="679071" y="1698210"/>
                    </a:lnTo>
                    <a:lnTo>
                      <a:pt x="685571" y="1676754"/>
                    </a:lnTo>
                    <a:lnTo>
                      <a:pt x="692731" y="1667650"/>
                    </a:lnTo>
                    <a:lnTo>
                      <a:pt x="707034" y="1665703"/>
                    </a:lnTo>
                    <a:lnTo>
                      <a:pt x="723283" y="1642948"/>
                    </a:lnTo>
                    <a:lnTo>
                      <a:pt x="747335" y="1631247"/>
                    </a:lnTo>
                    <a:lnTo>
                      <a:pt x="770084" y="1624739"/>
                    </a:lnTo>
                    <a:lnTo>
                      <a:pt x="796743" y="1611739"/>
                    </a:lnTo>
                    <a:lnTo>
                      <a:pt x="810403" y="1601990"/>
                    </a:lnTo>
                    <a:lnTo>
                      <a:pt x="814956" y="1596142"/>
                    </a:lnTo>
                    <a:lnTo>
                      <a:pt x="835098" y="1588344"/>
                    </a:lnTo>
                    <a:lnTo>
                      <a:pt x="855901" y="1577281"/>
                    </a:lnTo>
                    <a:lnTo>
                      <a:pt x="863704" y="1565581"/>
                    </a:lnTo>
                    <a:lnTo>
                      <a:pt x="868918" y="1531128"/>
                    </a:lnTo>
                    <a:lnTo>
                      <a:pt x="866954" y="1523981"/>
                    </a:lnTo>
                    <a:lnTo>
                      <a:pt x="868918" y="1509674"/>
                    </a:lnTo>
                    <a:lnTo>
                      <a:pt x="875417" y="1508370"/>
                    </a:lnTo>
                    <a:lnTo>
                      <a:pt x="881256" y="1501219"/>
                    </a:lnTo>
                    <a:lnTo>
                      <a:pt x="888417" y="1498621"/>
                    </a:lnTo>
                    <a:lnTo>
                      <a:pt x="892309" y="1489518"/>
                    </a:lnTo>
                    <a:lnTo>
                      <a:pt x="910523" y="1482367"/>
                    </a:lnTo>
                    <a:lnTo>
                      <a:pt x="911808" y="1474564"/>
                    </a:lnTo>
                    <a:lnTo>
                      <a:pt x="921576" y="1460913"/>
                    </a:lnTo>
                    <a:lnTo>
                      <a:pt x="928075" y="1458962"/>
                    </a:lnTo>
                    <a:lnTo>
                      <a:pt x="940414" y="1460261"/>
                    </a:lnTo>
                    <a:lnTo>
                      <a:pt x="950824" y="1457663"/>
                    </a:lnTo>
                    <a:lnTo>
                      <a:pt x="956020" y="1461564"/>
                    </a:lnTo>
                    <a:lnTo>
                      <a:pt x="966430" y="1460261"/>
                    </a:lnTo>
                    <a:lnTo>
                      <a:pt x="972287" y="1449212"/>
                    </a:lnTo>
                    <a:lnTo>
                      <a:pt x="974234" y="1431655"/>
                    </a:lnTo>
                    <a:lnTo>
                      <a:pt x="983322" y="1416054"/>
                    </a:lnTo>
                    <a:lnTo>
                      <a:pt x="991786" y="1410853"/>
                    </a:lnTo>
                    <a:lnTo>
                      <a:pt x="993090" y="1395247"/>
                    </a:lnTo>
                    <a:lnTo>
                      <a:pt x="996982" y="1393300"/>
                    </a:lnTo>
                    <a:lnTo>
                      <a:pt x="996340" y="1378997"/>
                    </a:lnTo>
                    <a:lnTo>
                      <a:pt x="1004143" y="1366645"/>
                    </a:lnTo>
                    <a:lnTo>
                      <a:pt x="1028195" y="1361445"/>
                    </a:lnTo>
                    <a:lnTo>
                      <a:pt x="1037284" y="1352994"/>
                    </a:lnTo>
                    <a:lnTo>
                      <a:pt x="1049640" y="1347142"/>
                    </a:lnTo>
                    <a:lnTo>
                      <a:pt x="1073693" y="1339990"/>
                    </a:lnTo>
                    <a:lnTo>
                      <a:pt x="1089960" y="1333482"/>
                    </a:lnTo>
                    <a:lnTo>
                      <a:pt x="1097745" y="1327639"/>
                    </a:lnTo>
                    <a:lnTo>
                      <a:pt x="1109459" y="1323090"/>
                    </a:lnTo>
                    <a:lnTo>
                      <a:pt x="1110101" y="1314635"/>
                    </a:lnTo>
                    <a:lnTo>
                      <a:pt x="1099048" y="1297082"/>
                    </a:lnTo>
                    <a:lnTo>
                      <a:pt x="1099709" y="1289931"/>
                    </a:lnTo>
                    <a:lnTo>
                      <a:pt x="1108155" y="1283436"/>
                    </a:lnTo>
                    <a:lnTo>
                      <a:pt x="1114655" y="1282779"/>
                    </a:lnTo>
                    <a:lnTo>
                      <a:pt x="1114012" y="1262624"/>
                    </a:lnTo>
                    <a:lnTo>
                      <a:pt x="1127654" y="1255473"/>
                    </a:lnTo>
                    <a:lnTo>
                      <a:pt x="1141314" y="1244420"/>
                    </a:lnTo>
                    <a:lnTo>
                      <a:pt x="1141957" y="1240527"/>
                    </a:lnTo>
                    <a:lnTo>
                      <a:pt x="1130904" y="1229465"/>
                    </a:lnTo>
                    <a:lnTo>
                      <a:pt x="1122458" y="1208663"/>
                    </a:lnTo>
                    <a:lnTo>
                      <a:pt x="1128958" y="1202163"/>
                    </a:lnTo>
                    <a:lnTo>
                      <a:pt x="1123761" y="1188512"/>
                    </a:lnTo>
                    <a:lnTo>
                      <a:pt x="1118565" y="1182008"/>
                    </a:lnTo>
                    <a:lnTo>
                      <a:pt x="1112708" y="1165107"/>
                    </a:lnTo>
                    <a:lnTo>
                      <a:pt x="1117262" y="1155353"/>
                    </a:lnTo>
                    <a:lnTo>
                      <a:pt x="1112048" y="1143001"/>
                    </a:lnTo>
                    <a:lnTo>
                      <a:pt x="1114655" y="1133899"/>
                    </a:lnTo>
                    <a:lnTo>
                      <a:pt x="1130904" y="1128056"/>
                    </a:lnTo>
                    <a:lnTo>
                      <a:pt x="1142617" y="1127399"/>
                    </a:lnTo>
                    <a:lnTo>
                      <a:pt x="1149760" y="1122199"/>
                    </a:lnTo>
                    <a:lnTo>
                      <a:pt x="1154313" y="1104646"/>
                    </a:lnTo>
                    <a:lnTo>
                      <a:pt x="1166009" y="1088397"/>
                    </a:lnTo>
                    <a:lnTo>
                      <a:pt x="1186169" y="1090343"/>
                    </a:lnTo>
                    <a:lnTo>
                      <a:pt x="1206971" y="1094892"/>
                    </a:lnTo>
                    <a:lnTo>
                      <a:pt x="1228434" y="1091642"/>
                    </a:lnTo>
                    <a:lnTo>
                      <a:pt x="1234934" y="1086442"/>
                    </a:lnTo>
                    <a:lnTo>
                      <a:pt x="1221274" y="1082540"/>
                    </a:lnTo>
                    <a:lnTo>
                      <a:pt x="1233631" y="1072139"/>
                    </a:lnTo>
                    <a:lnTo>
                      <a:pt x="1258986" y="1072791"/>
                    </a:lnTo>
                    <a:lnTo>
                      <a:pt x="1265486" y="1071487"/>
                    </a:lnTo>
                    <a:lnTo>
                      <a:pt x="1279146" y="1059135"/>
                    </a:lnTo>
                    <a:lnTo>
                      <a:pt x="1287592" y="1059787"/>
                    </a:lnTo>
                    <a:lnTo>
                      <a:pt x="1295395" y="1051336"/>
                    </a:lnTo>
                    <a:lnTo>
                      <a:pt x="1299948" y="1050684"/>
                    </a:lnTo>
                    <a:lnTo>
                      <a:pt x="1309037" y="1061738"/>
                    </a:lnTo>
                    <a:lnTo>
                      <a:pt x="1318144" y="1063037"/>
                    </a:lnTo>
                    <a:lnTo>
                      <a:pt x="1325304" y="1055890"/>
                    </a:lnTo>
                    <a:lnTo>
                      <a:pt x="1335696" y="1040931"/>
                    </a:lnTo>
                    <a:lnTo>
                      <a:pt x="1334393" y="1025976"/>
                    </a:lnTo>
                    <a:lnTo>
                      <a:pt x="1324001" y="1021427"/>
                    </a:lnTo>
                    <a:lnTo>
                      <a:pt x="1324001" y="1006477"/>
                    </a:lnTo>
                    <a:lnTo>
                      <a:pt x="1329197" y="992822"/>
                    </a:lnTo>
                    <a:lnTo>
                      <a:pt x="1344142" y="983072"/>
                    </a:lnTo>
                    <a:lnTo>
                      <a:pt x="1370802" y="982420"/>
                    </a:lnTo>
                    <a:lnTo>
                      <a:pt x="1397461" y="1001277"/>
                    </a:lnTo>
                    <a:lnTo>
                      <a:pt x="1411764" y="1012977"/>
                    </a:lnTo>
                    <a:lnTo>
                      <a:pt x="1424763" y="1029882"/>
                    </a:lnTo>
                    <a:lnTo>
                      <a:pt x="1426067" y="1037038"/>
                    </a:lnTo>
                    <a:lnTo>
                      <a:pt x="1435173" y="1044185"/>
                    </a:lnTo>
                    <a:lnTo>
                      <a:pt x="1448173" y="1040284"/>
                    </a:lnTo>
                    <a:lnTo>
                      <a:pt x="1455976" y="1044832"/>
                    </a:lnTo>
                    <a:lnTo>
                      <a:pt x="1466368" y="1043533"/>
                    </a:lnTo>
                    <a:lnTo>
                      <a:pt x="1466368" y="1035083"/>
                    </a:lnTo>
                    <a:lnTo>
                      <a:pt x="1459868" y="1031181"/>
                    </a:lnTo>
                    <a:lnTo>
                      <a:pt x="1457279" y="1024034"/>
                    </a:lnTo>
                    <a:lnTo>
                      <a:pt x="1464422" y="1013629"/>
                    </a:lnTo>
                    <a:lnTo>
                      <a:pt x="1476118" y="1005826"/>
                    </a:lnTo>
                    <a:lnTo>
                      <a:pt x="1477421" y="1024034"/>
                    </a:lnTo>
                    <a:lnTo>
                      <a:pt x="1471582" y="1029235"/>
                    </a:lnTo>
                    <a:lnTo>
                      <a:pt x="1470279" y="1042881"/>
                    </a:lnTo>
                    <a:lnTo>
                      <a:pt x="1463779" y="1046783"/>
                    </a:lnTo>
                    <a:lnTo>
                      <a:pt x="1468332" y="1054586"/>
                    </a:lnTo>
                    <a:lnTo>
                      <a:pt x="1474171" y="1048734"/>
                    </a:lnTo>
                    <a:lnTo>
                      <a:pt x="1474171" y="1042230"/>
                    </a:lnTo>
                    <a:lnTo>
                      <a:pt x="1479367" y="1035730"/>
                    </a:lnTo>
                    <a:lnTo>
                      <a:pt x="1493670" y="1035730"/>
                    </a:lnTo>
                    <a:lnTo>
                      <a:pt x="1499527" y="1045484"/>
                    </a:lnTo>
                    <a:lnTo>
                      <a:pt x="1481974" y="1059787"/>
                    </a:lnTo>
                    <a:lnTo>
                      <a:pt x="1480671" y="1065639"/>
                    </a:lnTo>
                    <a:lnTo>
                      <a:pt x="1491724" y="1081893"/>
                    </a:lnTo>
                    <a:lnTo>
                      <a:pt x="1500830" y="1080589"/>
                    </a:lnTo>
                    <a:lnTo>
                      <a:pt x="1499527" y="1070188"/>
                    </a:lnTo>
                    <a:lnTo>
                      <a:pt x="1509937" y="1050028"/>
                    </a:lnTo>
                    <a:lnTo>
                      <a:pt x="1509937" y="1040284"/>
                    </a:lnTo>
                    <a:lnTo>
                      <a:pt x="1517740" y="1020775"/>
                    </a:lnTo>
                    <a:lnTo>
                      <a:pt x="1526186" y="1015575"/>
                    </a:lnTo>
                    <a:lnTo>
                      <a:pt x="1537882" y="1016227"/>
                    </a:lnTo>
                    <a:lnTo>
                      <a:pt x="1543739" y="1010379"/>
                    </a:lnTo>
                    <a:lnTo>
                      <a:pt x="1588594" y="1010379"/>
                    </a:lnTo>
                    <a:lnTo>
                      <a:pt x="1591843" y="1008428"/>
                    </a:lnTo>
                    <a:lnTo>
                      <a:pt x="1591201" y="967475"/>
                    </a:lnTo>
                    <a:lnTo>
                      <a:pt x="1592504" y="948614"/>
                    </a:lnTo>
                    <a:lnTo>
                      <a:pt x="1601593" y="935619"/>
                    </a:lnTo>
                    <a:lnTo>
                      <a:pt x="1618503" y="930410"/>
                    </a:lnTo>
                    <a:lnTo>
                      <a:pt x="1632163" y="920009"/>
                    </a:lnTo>
                    <a:lnTo>
                      <a:pt x="1647108" y="905058"/>
                    </a:lnTo>
                    <a:lnTo>
                      <a:pt x="1650358" y="890756"/>
                    </a:lnTo>
                    <a:lnTo>
                      <a:pt x="1654912" y="888153"/>
                    </a:lnTo>
                    <a:lnTo>
                      <a:pt x="1667911" y="873855"/>
                    </a:lnTo>
                    <a:lnTo>
                      <a:pt x="1681571" y="865395"/>
                    </a:lnTo>
                    <a:lnTo>
                      <a:pt x="1690017" y="856298"/>
                    </a:lnTo>
                    <a:lnTo>
                      <a:pt x="1701713" y="851749"/>
                    </a:lnTo>
                    <a:lnTo>
                      <a:pt x="1714069" y="843294"/>
                    </a:lnTo>
                    <a:lnTo>
                      <a:pt x="1715373" y="836799"/>
                    </a:lnTo>
                    <a:lnTo>
                      <a:pt x="1728372" y="810787"/>
                    </a:lnTo>
                    <a:lnTo>
                      <a:pt x="1732282" y="792587"/>
                    </a:lnTo>
                    <a:lnTo>
                      <a:pt x="1743317" y="783485"/>
                    </a:lnTo>
                    <a:lnTo>
                      <a:pt x="1743317" y="770481"/>
                    </a:lnTo>
                    <a:lnTo>
                      <a:pt x="1740068" y="760080"/>
                    </a:lnTo>
                    <a:lnTo>
                      <a:pt x="1743978" y="747076"/>
                    </a:lnTo>
                    <a:lnTo>
                      <a:pt x="1751121" y="741224"/>
                    </a:lnTo>
                    <a:lnTo>
                      <a:pt x="1748531" y="719774"/>
                    </a:lnTo>
                    <a:lnTo>
                      <a:pt x="1754370" y="715220"/>
                    </a:lnTo>
                    <a:lnTo>
                      <a:pt x="1754370" y="708074"/>
                    </a:lnTo>
                    <a:lnTo>
                      <a:pt x="1773887" y="698967"/>
                    </a:lnTo>
                    <a:lnTo>
                      <a:pt x="1781030" y="689865"/>
                    </a:lnTo>
                    <a:lnTo>
                      <a:pt x="1784940" y="690517"/>
                    </a:lnTo>
                    <a:lnTo>
                      <a:pt x="1789476" y="707413"/>
                    </a:lnTo>
                    <a:lnTo>
                      <a:pt x="1782976" y="719774"/>
                    </a:lnTo>
                    <a:lnTo>
                      <a:pt x="1792743" y="723023"/>
                    </a:lnTo>
                    <a:lnTo>
                      <a:pt x="1812242" y="707413"/>
                    </a:lnTo>
                    <a:lnTo>
                      <a:pt x="1820688" y="708074"/>
                    </a:lnTo>
                    <a:lnTo>
                      <a:pt x="1826545" y="704168"/>
                    </a:lnTo>
                    <a:lnTo>
                      <a:pt x="1834991" y="692467"/>
                    </a:lnTo>
                    <a:lnTo>
                      <a:pt x="1840187" y="692467"/>
                    </a:lnTo>
                    <a:lnTo>
                      <a:pt x="1846687" y="683365"/>
                    </a:lnTo>
                    <a:lnTo>
                      <a:pt x="1836937" y="683365"/>
                    </a:lnTo>
                    <a:lnTo>
                      <a:pt x="1827188" y="687267"/>
                    </a:lnTo>
                    <a:lnTo>
                      <a:pt x="1821992" y="695717"/>
                    </a:lnTo>
                    <a:lnTo>
                      <a:pt x="1805743" y="690517"/>
                    </a:lnTo>
                    <a:lnTo>
                      <a:pt x="1804439" y="683365"/>
                    </a:lnTo>
                    <a:lnTo>
                      <a:pt x="1816135" y="664509"/>
                    </a:lnTo>
                    <a:lnTo>
                      <a:pt x="1810296" y="659308"/>
                    </a:lnTo>
                    <a:lnTo>
                      <a:pt x="1812242" y="653460"/>
                    </a:lnTo>
                    <a:lnTo>
                      <a:pt x="1821349" y="658009"/>
                    </a:lnTo>
                    <a:lnTo>
                      <a:pt x="1817438" y="614458"/>
                    </a:lnTo>
                    <a:lnTo>
                      <a:pt x="1823938" y="620301"/>
                    </a:lnTo>
                    <a:lnTo>
                      <a:pt x="1836295" y="625502"/>
                    </a:lnTo>
                    <a:lnTo>
                      <a:pt x="1838902" y="607949"/>
                    </a:lnTo>
                    <a:lnTo>
                      <a:pt x="1846044" y="606650"/>
                    </a:lnTo>
                    <a:lnTo>
                      <a:pt x="1853205" y="598847"/>
                    </a:lnTo>
                    <a:lnTo>
                      <a:pt x="1860347" y="607302"/>
                    </a:lnTo>
                    <a:lnTo>
                      <a:pt x="1870097" y="610552"/>
                    </a:lnTo>
                    <a:lnTo>
                      <a:pt x="1880507" y="605994"/>
                    </a:lnTo>
                    <a:lnTo>
                      <a:pt x="1879203" y="598195"/>
                    </a:lnTo>
                    <a:lnTo>
                      <a:pt x="1884399" y="587799"/>
                    </a:lnTo>
                    <a:lnTo>
                      <a:pt x="1883757" y="579995"/>
                    </a:lnTo>
                    <a:lnTo>
                      <a:pt x="1878560" y="569594"/>
                    </a:lnTo>
                    <a:lnTo>
                      <a:pt x="1879846" y="551390"/>
                    </a:lnTo>
                    <a:lnTo>
                      <a:pt x="1886346" y="543587"/>
                    </a:lnTo>
                    <a:lnTo>
                      <a:pt x="1890256" y="533837"/>
                    </a:lnTo>
                    <a:lnTo>
                      <a:pt x="1888310" y="526039"/>
                    </a:lnTo>
                    <a:lnTo>
                      <a:pt x="1907809" y="513030"/>
                    </a:lnTo>
                    <a:lnTo>
                      <a:pt x="1907809" y="500031"/>
                    </a:lnTo>
                    <a:lnTo>
                      <a:pt x="1912362" y="492880"/>
                    </a:lnTo>
                    <a:lnTo>
                      <a:pt x="1911059" y="474675"/>
                    </a:lnTo>
                    <a:lnTo>
                      <a:pt x="1918862" y="470122"/>
                    </a:lnTo>
                    <a:lnTo>
                      <a:pt x="1934468" y="473376"/>
                    </a:lnTo>
                    <a:lnTo>
                      <a:pt x="1950057" y="468823"/>
                    </a:lnTo>
                    <a:lnTo>
                      <a:pt x="1946807" y="459069"/>
                    </a:lnTo>
                    <a:lnTo>
                      <a:pt x="1936414" y="457127"/>
                    </a:lnTo>
                    <a:lnTo>
                      <a:pt x="1937057" y="446721"/>
                    </a:lnTo>
                    <a:lnTo>
                      <a:pt x="1934468" y="438266"/>
                    </a:lnTo>
                    <a:lnTo>
                      <a:pt x="1954610" y="432419"/>
                    </a:lnTo>
                    <a:lnTo>
                      <a:pt x="1966966" y="409014"/>
                    </a:lnTo>
                    <a:lnTo>
                      <a:pt x="1960467" y="405112"/>
                    </a:lnTo>
                    <a:lnTo>
                      <a:pt x="1950717" y="410313"/>
                    </a:lnTo>
                    <a:lnTo>
                      <a:pt x="1935754" y="409014"/>
                    </a:lnTo>
                    <a:lnTo>
                      <a:pt x="1937718" y="418759"/>
                    </a:lnTo>
                    <a:lnTo>
                      <a:pt x="1922754" y="421361"/>
                    </a:lnTo>
                    <a:lnTo>
                      <a:pt x="1911701" y="416160"/>
                    </a:lnTo>
                    <a:lnTo>
                      <a:pt x="1922754" y="407710"/>
                    </a:lnTo>
                    <a:lnTo>
                      <a:pt x="1903952" y="396871"/>
                    </a:lnTo>
                    <a:lnTo>
                      <a:pt x="1606218" y="399197"/>
                    </a:lnTo>
                    <a:lnTo>
                      <a:pt x="1598593" y="246781"/>
                    </a:lnTo>
                    <a:lnTo>
                      <a:pt x="1537204" y="185396"/>
                    </a:lnTo>
                    <a:lnTo>
                      <a:pt x="1503759" y="166107"/>
                    </a:lnTo>
                    <a:lnTo>
                      <a:pt x="1488099" y="151523"/>
                    </a:lnTo>
                    <a:lnTo>
                      <a:pt x="1533811" y="94370"/>
                    </a:lnTo>
                    <a:lnTo>
                      <a:pt x="1396640" y="6732"/>
                    </a:lnTo>
                    <a:lnTo>
                      <a:pt x="1349892" y="6120"/>
                    </a:lnTo>
                    <a:lnTo>
                      <a:pt x="1071300" y="0"/>
                    </a:lnTo>
                    <a:lnTo>
                      <a:pt x="1065139" y="14352"/>
                    </a:lnTo>
                    <a:lnTo>
                      <a:pt x="998500" y="64336"/>
                    </a:lnTo>
                    <a:lnTo>
                      <a:pt x="982001" y="64220"/>
                    </a:lnTo>
                    <a:lnTo>
                      <a:pt x="963877" y="88397"/>
                    </a:lnTo>
                    <a:lnTo>
                      <a:pt x="963877" y="109244"/>
                    </a:lnTo>
                    <a:lnTo>
                      <a:pt x="970823" y="143992"/>
                    </a:lnTo>
                    <a:lnTo>
                      <a:pt x="908273" y="241290"/>
                    </a:lnTo>
                    <a:lnTo>
                      <a:pt x="797082" y="296890"/>
                    </a:lnTo>
                    <a:lnTo>
                      <a:pt x="678928" y="324688"/>
                    </a:lnTo>
                    <a:lnTo>
                      <a:pt x="678928" y="387238"/>
                    </a:lnTo>
                    <a:lnTo>
                      <a:pt x="581630" y="449788"/>
                    </a:lnTo>
                    <a:lnTo>
                      <a:pt x="505187" y="408085"/>
                    </a:lnTo>
                    <a:lnTo>
                      <a:pt x="414835" y="498433"/>
                    </a:lnTo>
                    <a:lnTo>
                      <a:pt x="261950" y="526235"/>
                    </a:lnTo>
                    <a:lnTo>
                      <a:pt x="85138" y="644099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66967" tIns="18977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29" name="shp_Region_Toledo_$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871D2496-CFAE-F81B-FD58-830D8334CF85}"/>
                  </a:ext>
                </a:extLst>
              </p:cNvPr>
              <p:cNvSpPr/>
              <p:nvPr/>
            </p:nvSpPr>
            <p:spPr>
              <a:xfrm>
                <a:off x="1909755" y="4713226"/>
                <a:ext cx="25357" cy="1561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5612">
                    <a:moveTo>
                      <a:pt x="8446" y="15611"/>
                    </a:moveTo>
                    <a:lnTo>
                      <a:pt x="25356" y="5200"/>
                    </a:lnTo>
                    <a:lnTo>
                      <a:pt x="24052" y="0"/>
                    </a:lnTo>
                    <a:lnTo>
                      <a:pt x="0" y="14307"/>
                    </a:lnTo>
                    <a:lnTo>
                      <a:pt x="8446" y="15611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561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0" name="shp_Region_Toledo_$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7A44D15C-C4BD-8459-288C-07127FB115A9}"/>
                  </a:ext>
                </a:extLst>
              </p:cNvPr>
              <p:cNvSpPr/>
              <p:nvPr/>
            </p:nvSpPr>
            <p:spPr>
              <a:xfrm>
                <a:off x="1837598" y="4837407"/>
                <a:ext cx="11697" cy="162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6254">
                    <a:moveTo>
                      <a:pt x="1304" y="0"/>
                    </a:moveTo>
                    <a:lnTo>
                      <a:pt x="0" y="11052"/>
                    </a:lnTo>
                    <a:lnTo>
                      <a:pt x="5839" y="16253"/>
                    </a:lnTo>
                    <a:lnTo>
                      <a:pt x="11696" y="8450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62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1" name="shp_Region_Toledo_$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13B1B3C9-23E7-4EAF-1D5A-96E79CF0928C}"/>
                  </a:ext>
                </a:extLst>
              </p:cNvPr>
              <p:cNvSpPr/>
              <p:nvPr/>
            </p:nvSpPr>
            <p:spPr>
              <a:xfrm>
                <a:off x="1392265" y="5283387"/>
                <a:ext cx="11054" cy="17558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7558">
                    <a:moveTo>
                      <a:pt x="7142" y="0"/>
                    </a:moveTo>
                    <a:lnTo>
                      <a:pt x="0" y="17557"/>
                    </a:lnTo>
                    <a:lnTo>
                      <a:pt x="8446" y="13004"/>
                    </a:lnTo>
                    <a:lnTo>
                      <a:pt x="11053" y="4549"/>
                    </a:lnTo>
                    <a:lnTo>
                      <a:pt x="714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75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2" name="shp_Region_Toledo_$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2FF417F3-D8F2-5BA6-A2E2-F3D05A37090C}"/>
                  </a:ext>
                </a:extLst>
              </p:cNvPr>
              <p:cNvSpPr/>
              <p:nvPr/>
            </p:nvSpPr>
            <p:spPr>
              <a:xfrm>
                <a:off x="1365606" y="5311346"/>
                <a:ext cx="2210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22107" h="19504">
                    <a:moveTo>
                      <a:pt x="22106" y="0"/>
                    </a:moveTo>
                    <a:lnTo>
                      <a:pt x="642" y="10401"/>
                    </a:lnTo>
                    <a:lnTo>
                      <a:pt x="0" y="17557"/>
                    </a:lnTo>
                    <a:lnTo>
                      <a:pt x="6499" y="19503"/>
                    </a:lnTo>
                    <a:lnTo>
                      <a:pt x="13642" y="14959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2107" tIns="195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3" name="shp_Region_Toledo_$6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AB1EC639-A883-A8E8-6DCE-A0FECF286098}"/>
                  </a:ext>
                </a:extLst>
              </p:cNvPr>
              <p:cNvSpPr/>
              <p:nvPr/>
            </p:nvSpPr>
            <p:spPr>
              <a:xfrm>
                <a:off x="1282396" y="5315895"/>
                <a:ext cx="35106" cy="38360"/>
              </a:xfrm>
              <a:custGeom>
                <a:avLst/>
                <a:gdLst/>
                <a:ahLst/>
                <a:cxnLst/>
                <a:rect l="0" t="0" r="0" b="0"/>
                <a:pathLst>
                  <a:path w="35106" h="38360">
                    <a:moveTo>
                      <a:pt x="32498" y="0"/>
                    </a:moveTo>
                    <a:lnTo>
                      <a:pt x="24695" y="2606"/>
                    </a:lnTo>
                    <a:lnTo>
                      <a:pt x="24052" y="11052"/>
                    </a:lnTo>
                    <a:lnTo>
                      <a:pt x="11053" y="22757"/>
                    </a:lnTo>
                    <a:lnTo>
                      <a:pt x="1946" y="23400"/>
                    </a:lnTo>
                    <a:lnTo>
                      <a:pt x="0" y="32506"/>
                    </a:lnTo>
                    <a:lnTo>
                      <a:pt x="8446" y="38359"/>
                    </a:lnTo>
                    <a:lnTo>
                      <a:pt x="21445" y="24708"/>
                    </a:lnTo>
                    <a:lnTo>
                      <a:pt x="35105" y="29257"/>
                    </a:lnTo>
                    <a:lnTo>
                      <a:pt x="35105" y="11052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106" tIns="383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4" name="shp_Region_Toledo_$7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200D31A5-AB9D-9A80-12F7-10EE26A505F8}"/>
                  </a:ext>
                </a:extLst>
              </p:cNvPr>
              <p:cNvSpPr/>
              <p:nvPr/>
            </p:nvSpPr>
            <p:spPr>
              <a:xfrm>
                <a:off x="1476118" y="5317841"/>
                <a:ext cx="13018" cy="9759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9759">
                    <a:moveTo>
                      <a:pt x="13017" y="0"/>
                    </a:moveTo>
                    <a:lnTo>
                      <a:pt x="0" y="4557"/>
                    </a:lnTo>
                    <a:lnTo>
                      <a:pt x="9106" y="9758"/>
                    </a:lnTo>
                    <a:lnTo>
                      <a:pt x="1301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18" tIns="975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5" name="shp_Region_Toledo_$8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9F29B0A2-C84D-0493-01DA-F20BE17EB811}"/>
                  </a:ext>
                </a:extLst>
              </p:cNvPr>
              <p:cNvSpPr/>
              <p:nvPr/>
            </p:nvSpPr>
            <p:spPr>
              <a:xfrm>
                <a:off x="1370159" y="5343853"/>
                <a:ext cx="11054" cy="182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8205">
                    <a:moveTo>
                      <a:pt x="9749" y="0"/>
                    </a:moveTo>
                    <a:lnTo>
                      <a:pt x="4553" y="1299"/>
                    </a:lnTo>
                    <a:lnTo>
                      <a:pt x="0" y="14950"/>
                    </a:lnTo>
                    <a:lnTo>
                      <a:pt x="5839" y="18204"/>
                    </a:lnTo>
                    <a:lnTo>
                      <a:pt x="11053" y="6504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82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6" name="shp_Region_Toledo_$9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C5C62AEF-A0C1-FBC3-751C-2BA2DFFCF4F1}"/>
                  </a:ext>
                </a:extLst>
              </p:cNvPr>
              <p:cNvSpPr/>
              <p:nvPr/>
            </p:nvSpPr>
            <p:spPr>
              <a:xfrm>
                <a:off x="1262879" y="5371155"/>
                <a:ext cx="9108" cy="11710"/>
              </a:xfrm>
              <a:custGeom>
                <a:avLst/>
                <a:gdLst/>
                <a:ahLst/>
                <a:cxnLst/>
                <a:rect l="0" t="0" r="0" b="0"/>
                <a:pathLst>
                  <a:path w="9108" h="11710">
                    <a:moveTo>
                      <a:pt x="5857" y="0"/>
                    </a:moveTo>
                    <a:lnTo>
                      <a:pt x="0" y="11709"/>
                    </a:lnTo>
                    <a:lnTo>
                      <a:pt x="9107" y="9754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08" tIns="117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7" name="shp_Region_Toledo_$10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95791A34-10D1-968A-C431-FCB2ECCCCD3D}"/>
                  </a:ext>
                </a:extLst>
              </p:cNvPr>
              <p:cNvSpPr/>
              <p:nvPr/>
            </p:nvSpPr>
            <p:spPr>
              <a:xfrm>
                <a:off x="1324001" y="5393261"/>
                <a:ext cx="17553" cy="16906"/>
              </a:xfrm>
              <a:custGeom>
                <a:avLst/>
                <a:gdLst/>
                <a:ahLst/>
                <a:cxnLst/>
                <a:rect l="0" t="0" r="0" b="0"/>
                <a:pathLst>
                  <a:path w="17553" h="16906">
                    <a:moveTo>
                      <a:pt x="0" y="0"/>
                    </a:moveTo>
                    <a:lnTo>
                      <a:pt x="10392" y="8450"/>
                    </a:lnTo>
                    <a:lnTo>
                      <a:pt x="8446" y="16905"/>
                    </a:lnTo>
                    <a:lnTo>
                      <a:pt x="17552" y="16258"/>
                    </a:lnTo>
                    <a:lnTo>
                      <a:pt x="13642" y="8450"/>
                    </a:lnTo>
                    <a:lnTo>
                      <a:pt x="5839" y="12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7553" tIns="169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8" name="shp_Region_Toledo_$1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6709E791-FF9B-F8BE-B743-55082387B4BA}"/>
                  </a:ext>
                </a:extLst>
              </p:cNvPr>
              <p:cNvSpPr/>
              <p:nvPr/>
            </p:nvSpPr>
            <p:spPr>
              <a:xfrm>
                <a:off x="1238827" y="5394560"/>
                <a:ext cx="13000" cy="19500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19500">
                    <a:moveTo>
                      <a:pt x="4553" y="0"/>
                    </a:moveTo>
                    <a:lnTo>
                      <a:pt x="0" y="9754"/>
                    </a:lnTo>
                    <a:lnTo>
                      <a:pt x="5196" y="19499"/>
                    </a:lnTo>
                    <a:lnTo>
                      <a:pt x="12999" y="7151"/>
                    </a:lnTo>
                    <a:lnTo>
                      <a:pt x="6499" y="7151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0" tIns="195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39" name="shp_Region_Toledo_$1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C1F895F1-B615-B5D0-8F2B-11BDC0D1DE4B}"/>
                  </a:ext>
                </a:extLst>
              </p:cNvPr>
              <p:cNvSpPr/>
              <p:nvPr/>
            </p:nvSpPr>
            <p:spPr>
              <a:xfrm>
                <a:off x="1212828" y="5404965"/>
                <a:ext cx="20804" cy="16251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6251">
                    <a:moveTo>
                      <a:pt x="14946" y="0"/>
                    </a:moveTo>
                    <a:lnTo>
                      <a:pt x="9107" y="5849"/>
                    </a:lnTo>
                    <a:lnTo>
                      <a:pt x="0" y="9094"/>
                    </a:lnTo>
                    <a:lnTo>
                      <a:pt x="11696" y="16250"/>
                    </a:lnTo>
                    <a:lnTo>
                      <a:pt x="20142" y="15602"/>
                    </a:lnTo>
                    <a:lnTo>
                      <a:pt x="20803" y="3893"/>
                    </a:lnTo>
                    <a:lnTo>
                      <a:pt x="14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162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40" name="shp_Region_Toledo_$1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2D3225B0-34B2-252C-8BF2-BCCD713B748E}"/>
                  </a:ext>
                </a:extLst>
              </p:cNvPr>
              <p:cNvSpPr/>
              <p:nvPr/>
            </p:nvSpPr>
            <p:spPr>
              <a:xfrm>
                <a:off x="1303841" y="5405613"/>
                <a:ext cx="2016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12353">
                    <a:moveTo>
                      <a:pt x="12356" y="0"/>
                    </a:moveTo>
                    <a:lnTo>
                      <a:pt x="0" y="3906"/>
                    </a:lnTo>
                    <a:lnTo>
                      <a:pt x="2607" y="12352"/>
                    </a:lnTo>
                    <a:lnTo>
                      <a:pt x="20160" y="11709"/>
                    </a:lnTo>
                    <a:lnTo>
                      <a:pt x="18856" y="4553"/>
                    </a:lnTo>
                    <a:lnTo>
                      <a:pt x="123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161" tIns="123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41" name="shp_Region_Toledo_$1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7F03E25B-E317-7D7A-DCAA-AFA1B9F59BBE}"/>
                  </a:ext>
                </a:extLst>
              </p:cNvPr>
              <p:cNvSpPr/>
              <p:nvPr/>
            </p:nvSpPr>
            <p:spPr>
              <a:xfrm>
                <a:off x="1325304" y="5421215"/>
                <a:ext cx="10393" cy="13656"/>
              </a:xfrm>
              <a:custGeom>
                <a:avLst/>
                <a:gdLst/>
                <a:ahLst/>
                <a:cxnLst/>
                <a:rect l="0" t="0" r="0" b="0"/>
                <a:pathLst>
                  <a:path w="10393" h="13656">
                    <a:moveTo>
                      <a:pt x="5839" y="0"/>
                    </a:moveTo>
                    <a:lnTo>
                      <a:pt x="0" y="5205"/>
                    </a:lnTo>
                    <a:lnTo>
                      <a:pt x="0" y="13655"/>
                    </a:lnTo>
                    <a:lnTo>
                      <a:pt x="10392" y="8455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393" tIns="136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142" name="shp_Region_Toledo_$1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82AA8E2-A3CF-C4D6-0978-B393019AF844}"/>
                  </a:ext>
                </a:extLst>
              </p:cNvPr>
              <p:cNvSpPr/>
              <p:nvPr/>
            </p:nvSpPr>
            <p:spPr>
              <a:xfrm>
                <a:off x="1169920" y="5444620"/>
                <a:ext cx="20803" cy="18857"/>
              </a:xfrm>
              <a:custGeom>
                <a:avLst/>
                <a:gdLst/>
                <a:ahLst/>
                <a:cxnLst/>
                <a:rect l="0" t="0" r="0" b="0"/>
                <a:pathLst>
                  <a:path w="20803" h="18857">
                    <a:moveTo>
                      <a:pt x="20802" y="0"/>
                    </a:moveTo>
                    <a:lnTo>
                      <a:pt x="7803" y="10401"/>
                    </a:lnTo>
                    <a:lnTo>
                      <a:pt x="0" y="11704"/>
                    </a:lnTo>
                    <a:lnTo>
                      <a:pt x="1946" y="18856"/>
                    </a:lnTo>
                    <a:lnTo>
                      <a:pt x="20802" y="3901"/>
                    </a:lnTo>
                    <a:lnTo>
                      <a:pt x="2080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3" tIns="188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</p:grpSp>
      </p:grpSp>
      <p:graphicFrame>
        <p:nvGraphicFramePr>
          <p:cNvPr id="224" name="Diagram 223">
            <a:extLst>
              <a:ext uri="{FF2B5EF4-FFF2-40B4-BE49-F238E27FC236}">
                <a16:creationId xmlns:a16="http://schemas.microsoft.com/office/drawing/2014/main" id="{359AD3B5-0D64-4C7B-8E8A-ACAA0A137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1219872"/>
              </p:ext>
            </p:extLst>
          </p:nvPr>
        </p:nvGraphicFramePr>
        <p:xfrm>
          <a:off x="-75552" y="1662480"/>
          <a:ext cx="3899607" cy="37802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26" name="Picture 22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4912857D-6AA5-0674-0A5F-5FF71B94C4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grpSp>
        <p:nvGrpSpPr>
          <p:cNvPr id="2" name="shp_Map_OVERALL_RISK">
            <a:extLst>
              <a:ext uri="{FF2B5EF4-FFF2-40B4-BE49-F238E27FC236}">
                <a16:creationId xmlns:a16="http://schemas.microsoft.com/office/drawing/2014/main" id="{A6607F89-BE31-7783-6623-89B5E959EFFD}"/>
              </a:ext>
            </a:extLst>
          </p:cNvPr>
          <p:cNvGrpSpPr/>
          <p:nvPr/>
        </p:nvGrpSpPr>
        <p:grpSpPr>
          <a:xfrm>
            <a:off x="4212171" y="1195723"/>
            <a:ext cx="3238875" cy="4522220"/>
            <a:chOff x="0" y="0"/>
            <a:chExt cx="4055820" cy="6096001"/>
          </a:xfrm>
        </p:grpSpPr>
        <p:grpSp>
          <p:nvGrpSpPr>
            <p:cNvPr id="3" name="shp_Region_Belize" descr="Admin1_Id=&quot;BLZ&quot;&#10;Admin1_Label=&quot;Belize&quot;&#10;Admin2_Id=&quot;BLZ.1_1&quot;&#10;Admin2_Label=&quot;Belize&quot;&#10;" title="Belize">
              <a:extLst>
                <a:ext uri="{FF2B5EF4-FFF2-40B4-BE49-F238E27FC236}">
                  <a16:creationId xmlns:a16="http://schemas.microsoft.com/office/drawing/2014/main" id="{53FC8988-A275-3E31-BE82-63806030949B}"/>
                </a:ext>
              </a:extLst>
            </p:cNvPr>
            <p:cNvGrpSpPr/>
            <p:nvPr/>
          </p:nvGrpSpPr>
          <p:grpSpPr>
            <a:xfrm>
              <a:off x="1405586" y="1189977"/>
              <a:ext cx="2650234" cy="3466690"/>
              <a:chOff x="1405586" y="1189977"/>
              <a:chExt cx="2650234" cy="3466690"/>
            </a:xfrm>
            <a:solidFill>
              <a:srgbClr val="FF0000"/>
            </a:solidFill>
          </p:grpSpPr>
          <p:sp>
            <p:nvSpPr>
              <p:cNvPr id="271" name="shp_Region_Belize_$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CEA3FC0-7A12-A6E0-FB52-7018CFEC330C}"/>
                  </a:ext>
                </a:extLst>
              </p:cNvPr>
              <p:cNvSpPr/>
              <p:nvPr/>
            </p:nvSpPr>
            <p:spPr>
              <a:xfrm>
                <a:off x="1405586" y="1189977"/>
                <a:ext cx="1107495" cy="2041606"/>
              </a:xfrm>
              <a:custGeom>
                <a:avLst/>
                <a:gdLst/>
                <a:ahLst/>
                <a:cxnLst/>
                <a:rect l="0" t="0" r="0" b="0"/>
                <a:pathLst>
                  <a:path w="1107495" h="2041606">
                    <a:moveTo>
                      <a:pt x="747960" y="1986639"/>
                    </a:moveTo>
                    <a:lnTo>
                      <a:pt x="747317" y="1959056"/>
                    </a:lnTo>
                    <a:lnTo>
                      <a:pt x="745370" y="1933053"/>
                    </a:lnTo>
                    <a:lnTo>
                      <a:pt x="745370" y="1894046"/>
                    </a:lnTo>
                    <a:lnTo>
                      <a:pt x="747317" y="1873239"/>
                    </a:lnTo>
                    <a:lnTo>
                      <a:pt x="746674" y="1827737"/>
                    </a:lnTo>
                    <a:lnTo>
                      <a:pt x="747960" y="1819929"/>
                    </a:lnTo>
                    <a:lnTo>
                      <a:pt x="747960" y="1789373"/>
                    </a:lnTo>
                    <a:lnTo>
                      <a:pt x="749924" y="1780922"/>
                    </a:lnTo>
                    <a:lnTo>
                      <a:pt x="747960" y="1749067"/>
                    </a:lnTo>
                    <a:lnTo>
                      <a:pt x="757066" y="1685356"/>
                    </a:lnTo>
                    <a:lnTo>
                      <a:pt x="761620" y="1669750"/>
                    </a:lnTo>
                    <a:lnTo>
                      <a:pt x="764869" y="1641144"/>
                    </a:lnTo>
                    <a:lnTo>
                      <a:pt x="771369" y="1618391"/>
                    </a:lnTo>
                    <a:lnTo>
                      <a:pt x="773976" y="1603441"/>
                    </a:lnTo>
                    <a:lnTo>
                      <a:pt x="782422" y="1580678"/>
                    </a:lnTo>
                    <a:lnTo>
                      <a:pt x="784368" y="1567679"/>
                    </a:lnTo>
                    <a:lnTo>
                      <a:pt x="788922" y="1558581"/>
                    </a:lnTo>
                    <a:lnTo>
                      <a:pt x="791529" y="1546225"/>
                    </a:lnTo>
                    <a:lnTo>
                      <a:pt x="814278" y="1470814"/>
                    </a:lnTo>
                    <a:lnTo>
                      <a:pt x="816885" y="1449360"/>
                    </a:lnTo>
                    <a:lnTo>
                      <a:pt x="820777" y="1439606"/>
                    </a:lnTo>
                    <a:lnTo>
                      <a:pt x="822081" y="1423357"/>
                    </a:lnTo>
                    <a:lnTo>
                      <a:pt x="828580" y="1392148"/>
                    </a:lnTo>
                    <a:lnTo>
                      <a:pt x="840294" y="1364846"/>
                    </a:lnTo>
                    <a:lnTo>
                      <a:pt x="840294" y="1355735"/>
                    </a:lnTo>
                    <a:lnTo>
                      <a:pt x="848079" y="1333638"/>
                    </a:lnTo>
                    <a:lnTo>
                      <a:pt x="850686" y="1321282"/>
                    </a:lnTo>
                    <a:lnTo>
                      <a:pt x="852633" y="1289426"/>
                    </a:lnTo>
                    <a:lnTo>
                      <a:pt x="857186" y="1273177"/>
                    </a:lnTo>
                    <a:lnTo>
                      <a:pt x="859132" y="1254973"/>
                    </a:lnTo>
                    <a:lnTo>
                      <a:pt x="866293" y="1238067"/>
                    </a:lnTo>
                    <a:lnTo>
                      <a:pt x="870846" y="1222461"/>
                    </a:lnTo>
                    <a:lnTo>
                      <a:pt x="879935" y="1202962"/>
                    </a:lnTo>
                    <a:lnTo>
                      <a:pt x="887095" y="1197110"/>
                    </a:lnTo>
                    <a:lnTo>
                      <a:pt x="899451" y="1180856"/>
                    </a:lnTo>
                    <a:lnTo>
                      <a:pt x="900094" y="1176959"/>
                    </a:lnTo>
                    <a:lnTo>
                      <a:pt x="910504" y="1173700"/>
                    </a:lnTo>
                    <a:lnTo>
                      <a:pt x="917004" y="1167857"/>
                    </a:lnTo>
                    <a:lnTo>
                      <a:pt x="930003" y="1167857"/>
                    </a:lnTo>
                    <a:lnTo>
                      <a:pt x="941056" y="1175656"/>
                    </a:lnTo>
                    <a:lnTo>
                      <a:pt x="952109" y="1180209"/>
                    </a:lnTo>
                    <a:lnTo>
                      <a:pt x="957306" y="1186708"/>
                    </a:lnTo>
                    <a:lnTo>
                      <a:pt x="993071" y="1189958"/>
                    </a:lnTo>
                    <a:lnTo>
                      <a:pt x="998910" y="1182807"/>
                    </a:lnTo>
                    <a:lnTo>
                      <a:pt x="1009963" y="1175656"/>
                    </a:lnTo>
                    <a:lnTo>
                      <a:pt x="1023623" y="1174356"/>
                    </a:lnTo>
                    <a:lnTo>
                      <a:pt x="1025570" y="1160054"/>
                    </a:lnTo>
                    <a:lnTo>
                      <a:pt x="1032069" y="1163299"/>
                    </a:lnTo>
                    <a:lnTo>
                      <a:pt x="1036623" y="1157455"/>
                    </a:lnTo>
                    <a:lnTo>
                      <a:pt x="1032730" y="1146402"/>
                    </a:lnTo>
                    <a:lnTo>
                      <a:pt x="1021016" y="1137948"/>
                    </a:lnTo>
                    <a:lnTo>
                      <a:pt x="1019713" y="1130149"/>
                    </a:lnTo>
                    <a:lnTo>
                      <a:pt x="1022963" y="1117797"/>
                    </a:lnTo>
                    <a:lnTo>
                      <a:pt x="1017124" y="1115195"/>
                    </a:lnTo>
                    <a:lnTo>
                      <a:pt x="993714" y="1096343"/>
                    </a:lnTo>
                    <a:lnTo>
                      <a:pt x="985268" y="1103494"/>
                    </a:lnTo>
                    <a:lnTo>
                      <a:pt x="976162" y="1104789"/>
                    </a:lnTo>
                    <a:lnTo>
                      <a:pt x="963162" y="1111293"/>
                    </a:lnTo>
                    <a:lnTo>
                      <a:pt x="940414" y="1103494"/>
                    </a:lnTo>
                    <a:lnTo>
                      <a:pt x="932610" y="1103494"/>
                    </a:lnTo>
                    <a:lnTo>
                      <a:pt x="918950" y="1098294"/>
                    </a:lnTo>
                    <a:lnTo>
                      <a:pt x="912451" y="1089839"/>
                    </a:lnTo>
                    <a:lnTo>
                      <a:pt x="912451" y="1084638"/>
                    </a:lnTo>
                    <a:lnTo>
                      <a:pt x="902701" y="1075540"/>
                    </a:lnTo>
                    <a:lnTo>
                      <a:pt x="904648" y="1064487"/>
                    </a:lnTo>
                    <a:lnTo>
                      <a:pt x="910504" y="1059287"/>
                    </a:lnTo>
                    <a:lnTo>
                      <a:pt x="897505" y="1046930"/>
                    </a:lnTo>
                    <a:lnTo>
                      <a:pt x="894898" y="1051483"/>
                    </a:lnTo>
                    <a:lnTo>
                      <a:pt x="885792" y="1052135"/>
                    </a:lnTo>
                    <a:lnTo>
                      <a:pt x="870846" y="1039779"/>
                    </a:lnTo>
                    <a:lnTo>
                      <a:pt x="833134" y="1030681"/>
                    </a:lnTo>
                    <a:lnTo>
                      <a:pt x="811028" y="1013124"/>
                    </a:lnTo>
                    <a:lnTo>
                      <a:pt x="803225" y="998174"/>
                    </a:lnTo>
                    <a:lnTo>
                      <a:pt x="784368" y="994272"/>
                    </a:lnTo>
                    <a:lnTo>
                      <a:pt x="781119" y="983219"/>
                    </a:lnTo>
                    <a:lnTo>
                      <a:pt x="781119" y="964368"/>
                    </a:lnTo>
                    <a:lnTo>
                      <a:pt x="777869" y="953315"/>
                    </a:lnTo>
                    <a:lnTo>
                      <a:pt x="777226" y="929258"/>
                    </a:lnTo>
                    <a:lnTo>
                      <a:pt x="779833" y="905206"/>
                    </a:lnTo>
                    <a:lnTo>
                      <a:pt x="775922" y="901304"/>
                    </a:lnTo>
                    <a:lnTo>
                      <a:pt x="774619" y="881149"/>
                    </a:lnTo>
                    <a:lnTo>
                      <a:pt x="774619" y="855798"/>
                    </a:lnTo>
                    <a:lnTo>
                      <a:pt x="778529" y="845392"/>
                    </a:lnTo>
                    <a:lnTo>
                      <a:pt x="779172" y="826540"/>
                    </a:lnTo>
                    <a:lnTo>
                      <a:pt x="782422" y="818737"/>
                    </a:lnTo>
                    <a:lnTo>
                      <a:pt x="800635" y="814188"/>
                    </a:lnTo>
                    <a:lnTo>
                      <a:pt x="810385" y="805086"/>
                    </a:lnTo>
                    <a:lnTo>
                      <a:pt x="825331" y="805086"/>
                    </a:lnTo>
                    <a:lnTo>
                      <a:pt x="828580" y="802488"/>
                    </a:lnTo>
                    <a:lnTo>
                      <a:pt x="836383" y="773882"/>
                    </a:lnTo>
                    <a:lnTo>
                      <a:pt x="841580" y="762173"/>
                    </a:lnTo>
                    <a:lnTo>
                      <a:pt x="814278" y="756973"/>
                    </a:lnTo>
                    <a:lnTo>
                      <a:pt x="818831" y="762173"/>
                    </a:lnTo>
                    <a:lnTo>
                      <a:pt x="817527" y="772579"/>
                    </a:lnTo>
                    <a:lnTo>
                      <a:pt x="809724" y="774530"/>
                    </a:lnTo>
                    <a:lnTo>
                      <a:pt x="794136" y="772579"/>
                    </a:lnTo>
                    <a:lnTo>
                      <a:pt x="784368" y="773882"/>
                    </a:lnTo>
                    <a:lnTo>
                      <a:pt x="782422" y="763477"/>
                    </a:lnTo>
                    <a:lnTo>
                      <a:pt x="786975" y="758276"/>
                    </a:lnTo>
                    <a:lnTo>
                      <a:pt x="799332" y="756325"/>
                    </a:lnTo>
                    <a:lnTo>
                      <a:pt x="798671" y="736179"/>
                    </a:lnTo>
                    <a:lnTo>
                      <a:pt x="805171" y="730318"/>
                    </a:lnTo>
                    <a:lnTo>
                      <a:pt x="811028" y="730978"/>
                    </a:lnTo>
                    <a:lnTo>
                      <a:pt x="827937" y="742674"/>
                    </a:lnTo>
                    <a:lnTo>
                      <a:pt x="843544" y="749174"/>
                    </a:lnTo>
                    <a:lnTo>
                      <a:pt x="854597" y="730978"/>
                    </a:lnTo>
                    <a:lnTo>
                      <a:pt x="872149" y="727068"/>
                    </a:lnTo>
                    <a:lnTo>
                      <a:pt x="870846" y="710819"/>
                    </a:lnTo>
                    <a:lnTo>
                      <a:pt x="874739" y="699766"/>
                    </a:lnTo>
                    <a:lnTo>
                      <a:pt x="880595" y="697810"/>
                    </a:lnTo>
                    <a:lnTo>
                      <a:pt x="889702" y="688066"/>
                    </a:lnTo>
                    <a:lnTo>
                      <a:pt x="894898" y="676361"/>
                    </a:lnTo>
                    <a:lnTo>
                      <a:pt x="901398" y="670508"/>
                    </a:lnTo>
                    <a:lnTo>
                      <a:pt x="905951" y="658156"/>
                    </a:lnTo>
                    <a:lnTo>
                      <a:pt x="915058" y="644505"/>
                    </a:lnTo>
                    <a:lnTo>
                      <a:pt x="919593" y="634100"/>
                    </a:lnTo>
                    <a:lnTo>
                      <a:pt x="930003" y="589245"/>
                    </a:lnTo>
                    <a:lnTo>
                      <a:pt x="932610" y="567139"/>
                    </a:lnTo>
                    <a:lnTo>
                      <a:pt x="935200" y="561938"/>
                    </a:lnTo>
                    <a:lnTo>
                      <a:pt x="937807" y="532685"/>
                    </a:lnTo>
                    <a:lnTo>
                      <a:pt x="939753" y="528132"/>
                    </a:lnTo>
                    <a:lnTo>
                      <a:pt x="943663" y="474180"/>
                    </a:lnTo>
                    <a:lnTo>
                      <a:pt x="949502" y="419562"/>
                    </a:lnTo>
                    <a:lnTo>
                      <a:pt x="952752" y="402661"/>
                    </a:lnTo>
                    <a:lnTo>
                      <a:pt x="953413" y="387055"/>
                    </a:lnTo>
                    <a:lnTo>
                      <a:pt x="958609" y="369502"/>
                    </a:lnTo>
                    <a:lnTo>
                      <a:pt x="960555" y="352601"/>
                    </a:lnTo>
                    <a:lnTo>
                      <a:pt x="963805" y="341548"/>
                    </a:lnTo>
                    <a:lnTo>
                      <a:pt x="963805" y="325946"/>
                    </a:lnTo>
                    <a:lnTo>
                      <a:pt x="961216" y="317492"/>
                    </a:lnTo>
                    <a:lnTo>
                      <a:pt x="966412" y="314242"/>
                    </a:lnTo>
                    <a:lnTo>
                      <a:pt x="970305" y="279788"/>
                    </a:lnTo>
                    <a:lnTo>
                      <a:pt x="973555" y="271333"/>
                    </a:lnTo>
                    <a:lnTo>
                      <a:pt x="982661" y="219974"/>
                    </a:lnTo>
                    <a:lnTo>
                      <a:pt x="997607" y="179669"/>
                    </a:lnTo>
                    <a:lnTo>
                      <a:pt x="998910" y="172517"/>
                    </a:lnTo>
                    <a:lnTo>
                      <a:pt x="1011910" y="149759"/>
                    </a:lnTo>
                    <a:lnTo>
                      <a:pt x="1022320" y="141965"/>
                    </a:lnTo>
                    <a:lnTo>
                      <a:pt x="1026213" y="129609"/>
                    </a:lnTo>
                    <a:lnTo>
                      <a:pt x="1032730" y="123756"/>
                    </a:lnTo>
                    <a:lnTo>
                      <a:pt x="1039872" y="122457"/>
                    </a:lnTo>
                    <a:lnTo>
                      <a:pt x="1042479" y="106851"/>
                    </a:lnTo>
                    <a:lnTo>
                      <a:pt x="1047676" y="91249"/>
                    </a:lnTo>
                    <a:lnTo>
                      <a:pt x="1054175" y="80201"/>
                    </a:lnTo>
                    <a:lnTo>
                      <a:pt x="1065871" y="71746"/>
                    </a:lnTo>
                    <a:lnTo>
                      <a:pt x="1081478" y="65246"/>
                    </a:lnTo>
                    <a:lnTo>
                      <a:pt x="1089281" y="59394"/>
                    </a:lnTo>
                    <a:lnTo>
                      <a:pt x="1099030" y="47042"/>
                    </a:lnTo>
                    <a:lnTo>
                      <a:pt x="1100334" y="37944"/>
                    </a:lnTo>
                    <a:lnTo>
                      <a:pt x="1107494" y="32739"/>
                    </a:lnTo>
                    <a:lnTo>
                      <a:pt x="1097084" y="23686"/>
                    </a:lnTo>
                    <a:lnTo>
                      <a:pt x="795850" y="4455"/>
                    </a:lnTo>
                    <a:lnTo>
                      <a:pt x="794868" y="2959"/>
                    </a:lnTo>
                    <a:lnTo>
                      <a:pt x="767244" y="0"/>
                    </a:lnTo>
                    <a:lnTo>
                      <a:pt x="615074" y="44953"/>
                    </a:lnTo>
                    <a:lnTo>
                      <a:pt x="350124" y="115926"/>
                    </a:lnTo>
                    <a:lnTo>
                      <a:pt x="170330" y="153777"/>
                    </a:lnTo>
                    <a:lnTo>
                      <a:pt x="184525" y="205823"/>
                    </a:lnTo>
                    <a:lnTo>
                      <a:pt x="146670" y="224746"/>
                    </a:lnTo>
                    <a:lnTo>
                      <a:pt x="146670" y="617453"/>
                    </a:lnTo>
                    <a:lnTo>
                      <a:pt x="179793" y="650572"/>
                    </a:lnTo>
                    <a:lnTo>
                      <a:pt x="141938" y="683695"/>
                    </a:lnTo>
                    <a:lnTo>
                      <a:pt x="47318" y="712082"/>
                    </a:lnTo>
                    <a:lnTo>
                      <a:pt x="9463" y="764128"/>
                    </a:lnTo>
                    <a:lnTo>
                      <a:pt x="0" y="901335"/>
                    </a:lnTo>
                    <a:lnTo>
                      <a:pt x="10195" y="1115400"/>
                    </a:lnTo>
                    <a:lnTo>
                      <a:pt x="12945" y="1115444"/>
                    </a:lnTo>
                    <a:lnTo>
                      <a:pt x="9463" y="1185222"/>
                    </a:lnTo>
                    <a:lnTo>
                      <a:pt x="7285" y="1186369"/>
                    </a:lnTo>
                    <a:lnTo>
                      <a:pt x="80424" y="1208877"/>
                    </a:lnTo>
                    <a:lnTo>
                      <a:pt x="123011" y="1133176"/>
                    </a:lnTo>
                    <a:lnTo>
                      <a:pt x="146670" y="1450181"/>
                    </a:lnTo>
                    <a:lnTo>
                      <a:pt x="160866" y="1729331"/>
                    </a:lnTo>
                    <a:lnTo>
                      <a:pt x="188829" y="1807407"/>
                    </a:lnTo>
                    <a:lnTo>
                      <a:pt x="164616" y="1855485"/>
                    </a:lnTo>
                    <a:lnTo>
                      <a:pt x="164634" y="1888180"/>
                    </a:lnTo>
                    <a:lnTo>
                      <a:pt x="166991" y="1918549"/>
                    </a:lnTo>
                    <a:lnTo>
                      <a:pt x="176312" y="1951243"/>
                    </a:lnTo>
                    <a:lnTo>
                      <a:pt x="176329" y="1983943"/>
                    </a:lnTo>
                    <a:lnTo>
                      <a:pt x="169366" y="1995621"/>
                    </a:lnTo>
                    <a:lnTo>
                      <a:pt x="157723" y="2009651"/>
                    </a:lnTo>
                    <a:lnTo>
                      <a:pt x="136814" y="2028355"/>
                    </a:lnTo>
                    <a:lnTo>
                      <a:pt x="130332" y="2037471"/>
                    </a:lnTo>
                    <a:lnTo>
                      <a:pt x="137207" y="2036873"/>
                    </a:lnTo>
                    <a:lnTo>
                      <a:pt x="380890" y="2036873"/>
                    </a:lnTo>
                    <a:lnTo>
                      <a:pt x="379694" y="2037440"/>
                    </a:lnTo>
                    <a:lnTo>
                      <a:pt x="667125" y="2041605"/>
                    </a:lnTo>
                    <a:lnTo>
                      <a:pt x="747960" y="198663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7495" tIns="20416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2" name="shp_Region_Belize_$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9AB66D79-348D-94B0-FB4A-286C47DB3919}"/>
                  </a:ext>
                </a:extLst>
              </p:cNvPr>
              <p:cNvSpPr/>
              <p:nvPr/>
            </p:nvSpPr>
            <p:spPr>
              <a:xfrm>
                <a:off x="2775066" y="1640747"/>
                <a:ext cx="46820" cy="158631"/>
              </a:xfrm>
              <a:custGeom>
                <a:avLst/>
                <a:gdLst/>
                <a:ahLst/>
                <a:cxnLst/>
                <a:rect l="0" t="0" r="0" b="0"/>
                <a:pathLst>
                  <a:path w="46820" h="158631">
                    <a:moveTo>
                      <a:pt x="45515" y="0"/>
                    </a:moveTo>
                    <a:lnTo>
                      <a:pt x="40319" y="1951"/>
                    </a:lnTo>
                    <a:lnTo>
                      <a:pt x="39016" y="11700"/>
                    </a:lnTo>
                    <a:lnTo>
                      <a:pt x="29909" y="19504"/>
                    </a:lnTo>
                    <a:lnTo>
                      <a:pt x="29909" y="32503"/>
                    </a:lnTo>
                    <a:lnTo>
                      <a:pt x="20802" y="48109"/>
                    </a:lnTo>
                    <a:lnTo>
                      <a:pt x="21463" y="70211"/>
                    </a:lnTo>
                    <a:lnTo>
                      <a:pt x="15606" y="89067"/>
                    </a:lnTo>
                    <a:lnTo>
                      <a:pt x="29266" y="100120"/>
                    </a:lnTo>
                    <a:lnTo>
                      <a:pt x="31213" y="114427"/>
                    </a:lnTo>
                    <a:lnTo>
                      <a:pt x="26659" y="126775"/>
                    </a:lnTo>
                    <a:lnTo>
                      <a:pt x="21463" y="132627"/>
                    </a:lnTo>
                    <a:lnTo>
                      <a:pt x="13660" y="126775"/>
                    </a:lnTo>
                    <a:lnTo>
                      <a:pt x="7160" y="126775"/>
                    </a:lnTo>
                    <a:lnTo>
                      <a:pt x="1964" y="133274"/>
                    </a:lnTo>
                    <a:lnTo>
                      <a:pt x="0" y="158630"/>
                    </a:lnTo>
                    <a:lnTo>
                      <a:pt x="15606" y="157327"/>
                    </a:lnTo>
                    <a:lnTo>
                      <a:pt x="24713" y="150175"/>
                    </a:lnTo>
                    <a:lnTo>
                      <a:pt x="35105" y="126123"/>
                    </a:lnTo>
                    <a:lnTo>
                      <a:pt x="35105" y="108570"/>
                    </a:lnTo>
                    <a:lnTo>
                      <a:pt x="31213" y="86460"/>
                    </a:lnTo>
                    <a:lnTo>
                      <a:pt x="31213" y="55908"/>
                    </a:lnTo>
                    <a:lnTo>
                      <a:pt x="40319" y="22102"/>
                    </a:lnTo>
                    <a:lnTo>
                      <a:pt x="46819" y="8451"/>
                    </a:lnTo>
                    <a:lnTo>
                      <a:pt x="4551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20" tIns="15863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3" name="shp_Region_Belize_$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4A3B052-042E-FF9A-920C-4182B1FFBE88}"/>
                  </a:ext>
                </a:extLst>
              </p:cNvPr>
              <p:cNvSpPr/>
              <p:nvPr/>
            </p:nvSpPr>
            <p:spPr>
              <a:xfrm>
                <a:off x="2388890" y="1820179"/>
                <a:ext cx="250952" cy="185286"/>
              </a:xfrm>
              <a:custGeom>
                <a:avLst/>
                <a:gdLst/>
                <a:ahLst/>
                <a:cxnLst/>
                <a:rect l="0" t="0" r="0" b="0"/>
                <a:pathLst>
                  <a:path w="250952" h="185286">
                    <a:moveTo>
                      <a:pt x="141082" y="161233"/>
                    </a:moveTo>
                    <a:lnTo>
                      <a:pt x="145635" y="154729"/>
                    </a:lnTo>
                    <a:lnTo>
                      <a:pt x="136529" y="147577"/>
                    </a:lnTo>
                    <a:lnTo>
                      <a:pt x="125476" y="145631"/>
                    </a:lnTo>
                    <a:lnTo>
                      <a:pt x="136529" y="135230"/>
                    </a:lnTo>
                    <a:lnTo>
                      <a:pt x="143028" y="124824"/>
                    </a:lnTo>
                    <a:lnTo>
                      <a:pt x="144992" y="116374"/>
                    </a:lnTo>
                    <a:lnTo>
                      <a:pt x="156688" y="104669"/>
                    </a:lnTo>
                    <a:lnTo>
                      <a:pt x="172937" y="96866"/>
                    </a:lnTo>
                    <a:lnTo>
                      <a:pt x="182687" y="89067"/>
                    </a:lnTo>
                    <a:lnTo>
                      <a:pt x="189847" y="76068"/>
                    </a:lnTo>
                    <a:lnTo>
                      <a:pt x="200900" y="71514"/>
                    </a:lnTo>
                    <a:lnTo>
                      <a:pt x="213899" y="50060"/>
                    </a:lnTo>
                    <a:lnTo>
                      <a:pt x="230149" y="44860"/>
                    </a:lnTo>
                    <a:lnTo>
                      <a:pt x="237952" y="37056"/>
                    </a:lnTo>
                    <a:lnTo>
                      <a:pt x="249005" y="31856"/>
                    </a:lnTo>
                    <a:lnTo>
                      <a:pt x="250951" y="13004"/>
                    </a:lnTo>
                    <a:lnTo>
                      <a:pt x="249005" y="3898"/>
                    </a:lnTo>
                    <a:lnTo>
                      <a:pt x="242505" y="0"/>
                    </a:lnTo>
                    <a:lnTo>
                      <a:pt x="234059" y="5853"/>
                    </a:lnTo>
                    <a:lnTo>
                      <a:pt x="235363" y="14303"/>
                    </a:lnTo>
                    <a:lnTo>
                      <a:pt x="228845" y="25356"/>
                    </a:lnTo>
                    <a:lnTo>
                      <a:pt x="223649" y="27307"/>
                    </a:lnTo>
                    <a:lnTo>
                      <a:pt x="203489" y="56560"/>
                    </a:lnTo>
                    <a:lnTo>
                      <a:pt x="180741" y="68912"/>
                    </a:lnTo>
                    <a:lnTo>
                      <a:pt x="162545" y="75416"/>
                    </a:lnTo>
                    <a:lnTo>
                      <a:pt x="144992" y="77367"/>
                    </a:lnTo>
                    <a:lnTo>
                      <a:pt x="143689" y="94924"/>
                    </a:lnTo>
                    <a:lnTo>
                      <a:pt x="139778" y="99464"/>
                    </a:lnTo>
                    <a:lnTo>
                      <a:pt x="128083" y="100776"/>
                    </a:lnTo>
                    <a:lnTo>
                      <a:pt x="124833" y="96866"/>
                    </a:lnTo>
                    <a:lnTo>
                      <a:pt x="113137" y="92969"/>
                    </a:lnTo>
                    <a:lnTo>
                      <a:pt x="96227" y="102071"/>
                    </a:lnTo>
                    <a:lnTo>
                      <a:pt x="79978" y="128074"/>
                    </a:lnTo>
                    <a:lnTo>
                      <a:pt x="74121" y="139779"/>
                    </a:lnTo>
                    <a:lnTo>
                      <a:pt x="64372" y="153425"/>
                    </a:lnTo>
                    <a:lnTo>
                      <a:pt x="52676" y="162532"/>
                    </a:lnTo>
                    <a:lnTo>
                      <a:pt x="37070" y="170982"/>
                    </a:lnTo>
                    <a:lnTo>
                      <a:pt x="29266" y="165782"/>
                    </a:lnTo>
                    <a:lnTo>
                      <a:pt x="29266" y="149528"/>
                    </a:lnTo>
                    <a:lnTo>
                      <a:pt x="18856" y="148881"/>
                    </a:lnTo>
                    <a:lnTo>
                      <a:pt x="11714" y="163184"/>
                    </a:lnTo>
                    <a:lnTo>
                      <a:pt x="1304" y="168384"/>
                    </a:lnTo>
                    <a:lnTo>
                      <a:pt x="0" y="176835"/>
                    </a:lnTo>
                    <a:lnTo>
                      <a:pt x="8464" y="179437"/>
                    </a:lnTo>
                    <a:lnTo>
                      <a:pt x="9767" y="172286"/>
                    </a:lnTo>
                    <a:lnTo>
                      <a:pt x="22106" y="170335"/>
                    </a:lnTo>
                    <a:lnTo>
                      <a:pt x="24070" y="182687"/>
                    </a:lnTo>
                    <a:lnTo>
                      <a:pt x="37070" y="185285"/>
                    </a:lnTo>
                    <a:lnTo>
                      <a:pt x="38373" y="177486"/>
                    </a:lnTo>
                    <a:lnTo>
                      <a:pt x="49426" y="172933"/>
                    </a:lnTo>
                    <a:lnTo>
                      <a:pt x="68264" y="172286"/>
                    </a:lnTo>
                    <a:lnTo>
                      <a:pt x="77371" y="174884"/>
                    </a:lnTo>
                    <a:lnTo>
                      <a:pt x="83871" y="167733"/>
                    </a:lnTo>
                    <a:lnTo>
                      <a:pt x="77371" y="163826"/>
                    </a:lnTo>
                    <a:lnTo>
                      <a:pt x="72818" y="170335"/>
                    </a:lnTo>
                    <a:lnTo>
                      <a:pt x="62425" y="163184"/>
                    </a:lnTo>
                    <a:lnTo>
                      <a:pt x="66318" y="150827"/>
                    </a:lnTo>
                    <a:lnTo>
                      <a:pt x="72818" y="150180"/>
                    </a:lnTo>
                    <a:lnTo>
                      <a:pt x="80621" y="139127"/>
                    </a:lnTo>
                    <a:lnTo>
                      <a:pt x="89728" y="136529"/>
                    </a:lnTo>
                    <a:lnTo>
                      <a:pt x="97531" y="122873"/>
                    </a:lnTo>
                    <a:lnTo>
                      <a:pt x="98174" y="114423"/>
                    </a:lnTo>
                    <a:lnTo>
                      <a:pt x="110530" y="112472"/>
                    </a:lnTo>
                    <a:lnTo>
                      <a:pt x="113137" y="98174"/>
                    </a:lnTo>
                    <a:lnTo>
                      <a:pt x="118976" y="100776"/>
                    </a:lnTo>
                    <a:lnTo>
                      <a:pt x="126779" y="116374"/>
                    </a:lnTo>
                    <a:lnTo>
                      <a:pt x="137832" y="112472"/>
                    </a:lnTo>
                    <a:lnTo>
                      <a:pt x="141082" y="121570"/>
                    </a:lnTo>
                    <a:lnTo>
                      <a:pt x="134582" y="125476"/>
                    </a:lnTo>
                    <a:lnTo>
                      <a:pt x="131975" y="133275"/>
                    </a:lnTo>
                    <a:lnTo>
                      <a:pt x="118976" y="131324"/>
                    </a:lnTo>
                    <a:lnTo>
                      <a:pt x="113780" y="139127"/>
                    </a:lnTo>
                    <a:lnTo>
                      <a:pt x="103388" y="144328"/>
                    </a:lnTo>
                    <a:lnTo>
                      <a:pt x="102084" y="152778"/>
                    </a:lnTo>
                    <a:lnTo>
                      <a:pt x="118976" y="154082"/>
                    </a:lnTo>
                    <a:lnTo>
                      <a:pt x="128725" y="157983"/>
                    </a:lnTo>
                    <a:lnTo>
                      <a:pt x="134582" y="156680"/>
                    </a:lnTo>
                    <a:lnTo>
                      <a:pt x="141082" y="161233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0952" tIns="18528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4" name="shp_Region_Belize_$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CC6224A-3529-120C-5B27-00C9B4100E81}"/>
                  </a:ext>
                </a:extLst>
              </p:cNvPr>
              <p:cNvSpPr/>
              <p:nvPr/>
            </p:nvSpPr>
            <p:spPr>
              <a:xfrm>
                <a:off x="2760763" y="1835781"/>
                <a:ext cx="11715" cy="57213"/>
              </a:xfrm>
              <a:custGeom>
                <a:avLst/>
                <a:gdLst/>
                <a:ahLst/>
                <a:cxnLst/>
                <a:rect l="0" t="0" r="0" b="0"/>
                <a:pathLst>
                  <a:path w="11715" h="57213">
                    <a:moveTo>
                      <a:pt x="11714" y="0"/>
                    </a:moveTo>
                    <a:lnTo>
                      <a:pt x="5857" y="15611"/>
                    </a:lnTo>
                    <a:lnTo>
                      <a:pt x="4553" y="26655"/>
                    </a:lnTo>
                    <a:lnTo>
                      <a:pt x="0" y="37708"/>
                    </a:lnTo>
                    <a:lnTo>
                      <a:pt x="1964" y="57212"/>
                    </a:lnTo>
                    <a:lnTo>
                      <a:pt x="9768" y="53962"/>
                    </a:lnTo>
                    <a:lnTo>
                      <a:pt x="11714" y="48761"/>
                    </a:lnTo>
                    <a:lnTo>
                      <a:pt x="1171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715" tIns="5721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5" name="shp_Region_Belize_$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8284E29-9B7A-5BAE-1F0C-729767A48232}"/>
                  </a:ext>
                </a:extLst>
              </p:cNvPr>
              <p:cNvSpPr/>
              <p:nvPr/>
            </p:nvSpPr>
            <p:spPr>
              <a:xfrm>
                <a:off x="2534525" y="1982711"/>
                <a:ext cx="11697" cy="110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1054">
                    <a:moveTo>
                      <a:pt x="5857" y="0"/>
                    </a:moveTo>
                    <a:lnTo>
                      <a:pt x="0" y="3901"/>
                    </a:lnTo>
                    <a:lnTo>
                      <a:pt x="5857" y="11053"/>
                    </a:lnTo>
                    <a:lnTo>
                      <a:pt x="11696" y="3250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10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6" name="shp_Region_Belize_$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6F59936-6420-214C-000F-063946019F68}"/>
                  </a:ext>
                </a:extLst>
              </p:cNvPr>
              <p:cNvSpPr/>
              <p:nvPr/>
            </p:nvSpPr>
            <p:spPr>
              <a:xfrm>
                <a:off x="2550132" y="1987912"/>
                <a:ext cx="55908" cy="43561"/>
              </a:xfrm>
              <a:custGeom>
                <a:avLst/>
                <a:gdLst/>
                <a:ahLst/>
                <a:cxnLst/>
                <a:rect l="0" t="0" r="0" b="0"/>
                <a:pathLst>
                  <a:path w="55908" h="43561">
                    <a:moveTo>
                      <a:pt x="3249" y="0"/>
                    </a:moveTo>
                    <a:lnTo>
                      <a:pt x="1303" y="4553"/>
                    </a:lnTo>
                    <a:lnTo>
                      <a:pt x="0" y="26659"/>
                    </a:lnTo>
                    <a:lnTo>
                      <a:pt x="16909" y="22748"/>
                    </a:lnTo>
                    <a:lnTo>
                      <a:pt x="31855" y="24704"/>
                    </a:lnTo>
                    <a:lnTo>
                      <a:pt x="42247" y="43560"/>
                    </a:lnTo>
                    <a:lnTo>
                      <a:pt x="55907" y="42908"/>
                    </a:lnTo>
                    <a:lnTo>
                      <a:pt x="44854" y="18204"/>
                    </a:lnTo>
                    <a:lnTo>
                      <a:pt x="41604" y="15601"/>
                    </a:lnTo>
                    <a:lnTo>
                      <a:pt x="29248" y="16253"/>
                    </a:lnTo>
                    <a:lnTo>
                      <a:pt x="14945" y="13651"/>
                    </a:lnTo>
                    <a:lnTo>
                      <a:pt x="8446" y="9102"/>
                    </a:lnTo>
                    <a:lnTo>
                      <a:pt x="32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5908" tIns="4356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7" name="shp_Region_Belize_$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34957B2-B182-01CF-9789-EE5E0000E0F5}"/>
                  </a:ext>
                </a:extLst>
              </p:cNvPr>
              <p:cNvSpPr/>
              <p:nvPr/>
            </p:nvSpPr>
            <p:spPr>
              <a:xfrm>
                <a:off x="2696409" y="1996362"/>
                <a:ext cx="20804" cy="4876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48762">
                    <a:moveTo>
                      <a:pt x="16910" y="0"/>
                    </a:moveTo>
                    <a:lnTo>
                      <a:pt x="5857" y="5201"/>
                    </a:lnTo>
                    <a:lnTo>
                      <a:pt x="4554" y="18209"/>
                    </a:lnTo>
                    <a:lnTo>
                      <a:pt x="643" y="26655"/>
                    </a:lnTo>
                    <a:lnTo>
                      <a:pt x="0" y="44859"/>
                    </a:lnTo>
                    <a:lnTo>
                      <a:pt x="3893" y="48761"/>
                    </a:lnTo>
                    <a:lnTo>
                      <a:pt x="12357" y="42908"/>
                    </a:lnTo>
                    <a:lnTo>
                      <a:pt x="14946" y="20811"/>
                    </a:lnTo>
                    <a:lnTo>
                      <a:pt x="20803" y="15611"/>
                    </a:lnTo>
                    <a:lnTo>
                      <a:pt x="1691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4876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8" name="shp_Region_Belize_$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A21D55A-BD34-04D8-2532-0EE3452F8DAD}"/>
                  </a:ext>
                </a:extLst>
              </p:cNvPr>
              <p:cNvSpPr/>
              <p:nvPr/>
            </p:nvSpPr>
            <p:spPr>
              <a:xfrm>
                <a:off x="2617092" y="2033423"/>
                <a:ext cx="71515" cy="117021"/>
              </a:xfrm>
              <a:custGeom>
                <a:avLst/>
                <a:gdLst/>
                <a:ahLst/>
                <a:cxnLst/>
                <a:rect l="0" t="0" r="0" b="0"/>
                <a:pathLst>
                  <a:path w="71515" h="117021">
                    <a:moveTo>
                      <a:pt x="54604" y="112471"/>
                    </a:moveTo>
                    <a:lnTo>
                      <a:pt x="63068" y="117020"/>
                    </a:lnTo>
                    <a:lnTo>
                      <a:pt x="67622" y="113118"/>
                    </a:lnTo>
                    <a:lnTo>
                      <a:pt x="63711" y="106623"/>
                    </a:lnTo>
                    <a:lnTo>
                      <a:pt x="66318" y="96218"/>
                    </a:lnTo>
                    <a:lnTo>
                      <a:pt x="63068" y="89066"/>
                    </a:lnTo>
                    <a:lnTo>
                      <a:pt x="71514" y="81263"/>
                    </a:lnTo>
                    <a:lnTo>
                      <a:pt x="59158" y="62411"/>
                    </a:lnTo>
                    <a:lnTo>
                      <a:pt x="66961" y="50059"/>
                    </a:lnTo>
                    <a:lnTo>
                      <a:pt x="62408" y="44859"/>
                    </a:lnTo>
                    <a:lnTo>
                      <a:pt x="58515" y="19503"/>
                    </a:lnTo>
                    <a:lnTo>
                      <a:pt x="50712" y="15606"/>
                    </a:lnTo>
                    <a:lnTo>
                      <a:pt x="33159" y="1299"/>
                    </a:lnTo>
                    <a:lnTo>
                      <a:pt x="17553" y="3249"/>
                    </a:lnTo>
                    <a:lnTo>
                      <a:pt x="14303" y="0"/>
                    </a:lnTo>
                    <a:lnTo>
                      <a:pt x="1304" y="1299"/>
                    </a:lnTo>
                    <a:lnTo>
                      <a:pt x="0" y="5847"/>
                    </a:lnTo>
                    <a:lnTo>
                      <a:pt x="11053" y="11700"/>
                    </a:lnTo>
                    <a:lnTo>
                      <a:pt x="13660" y="17552"/>
                    </a:lnTo>
                    <a:lnTo>
                      <a:pt x="33802" y="39654"/>
                    </a:lnTo>
                    <a:lnTo>
                      <a:pt x="31213" y="50707"/>
                    </a:lnTo>
                    <a:lnTo>
                      <a:pt x="42266" y="62411"/>
                    </a:lnTo>
                    <a:lnTo>
                      <a:pt x="44212" y="72165"/>
                    </a:lnTo>
                    <a:lnTo>
                      <a:pt x="53319" y="71509"/>
                    </a:lnTo>
                    <a:lnTo>
                      <a:pt x="54604" y="76714"/>
                    </a:lnTo>
                    <a:lnTo>
                      <a:pt x="47462" y="86464"/>
                    </a:lnTo>
                    <a:lnTo>
                      <a:pt x="47462" y="93615"/>
                    </a:lnTo>
                    <a:lnTo>
                      <a:pt x="41605" y="100762"/>
                    </a:lnTo>
                    <a:lnTo>
                      <a:pt x="54604" y="11247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515" tIns="11702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79" name="shp_Region_Belize_$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00C5B3E-6619-4AAB-8A75-5126A027D786}"/>
                  </a:ext>
                </a:extLst>
              </p:cNvPr>
              <p:cNvSpPr/>
              <p:nvPr/>
            </p:nvSpPr>
            <p:spPr>
              <a:xfrm>
                <a:off x="2210114" y="2052926"/>
                <a:ext cx="20804" cy="13652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3652">
                    <a:moveTo>
                      <a:pt x="6500" y="0"/>
                    </a:moveTo>
                    <a:lnTo>
                      <a:pt x="0" y="6500"/>
                    </a:lnTo>
                    <a:lnTo>
                      <a:pt x="8446" y="13651"/>
                    </a:lnTo>
                    <a:lnTo>
                      <a:pt x="17553" y="12352"/>
                    </a:lnTo>
                    <a:lnTo>
                      <a:pt x="20803" y="3902"/>
                    </a:lnTo>
                    <a:lnTo>
                      <a:pt x="6500" y="5848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136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0" name="shp_Region_Belize_$1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5360344-B7BE-06AA-4E71-56BD611E4931}"/>
                  </a:ext>
                </a:extLst>
              </p:cNvPr>
              <p:cNvSpPr/>
              <p:nvPr/>
            </p:nvSpPr>
            <p:spPr>
              <a:xfrm>
                <a:off x="2197758" y="2074380"/>
                <a:ext cx="13000" cy="26656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26656">
                    <a:moveTo>
                      <a:pt x="9106" y="0"/>
                    </a:moveTo>
                    <a:lnTo>
                      <a:pt x="8463" y="12352"/>
                    </a:lnTo>
                    <a:lnTo>
                      <a:pt x="0" y="26003"/>
                    </a:lnTo>
                    <a:lnTo>
                      <a:pt x="12356" y="26655"/>
                    </a:lnTo>
                    <a:lnTo>
                      <a:pt x="12999" y="13651"/>
                    </a:lnTo>
                    <a:lnTo>
                      <a:pt x="9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0" tIns="266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1" name="shp_Region_Belize_$1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35BBC90-8A35-77FB-8F1C-40560D89E343}"/>
                  </a:ext>
                </a:extLst>
              </p:cNvPr>
              <p:cNvSpPr/>
              <p:nvPr/>
            </p:nvSpPr>
            <p:spPr>
              <a:xfrm>
                <a:off x="2377855" y="2149791"/>
                <a:ext cx="18839" cy="21451"/>
              </a:xfrm>
              <a:custGeom>
                <a:avLst/>
                <a:gdLst/>
                <a:ahLst/>
                <a:cxnLst/>
                <a:rect l="0" t="0" r="0" b="0"/>
                <a:pathLst>
                  <a:path w="18839" h="21451">
                    <a:moveTo>
                      <a:pt x="18195" y="0"/>
                    </a:moveTo>
                    <a:lnTo>
                      <a:pt x="5839" y="1304"/>
                    </a:lnTo>
                    <a:lnTo>
                      <a:pt x="5839" y="11049"/>
                    </a:lnTo>
                    <a:lnTo>
                      <a:pt x="0" y="14303"/>
                    </a:lnTo>
                    <a:lnTo>
                      <a:pt x="3893" y="21450"/>
                    </a:lnTo>
                    <a:lnTo>
                      <a:pt x="11035" y="14303"/>
                    </a:lnTo>
                    <a:lnTo>
                      <a:pt x="18838" y="12352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839" tIns="214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2" name="shp_Region_Belize_$1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BC0C730-46F9-CA98-28EC-1FD464D70E21}"/>
                  </a:ext>
                </a:extLst>
              </p:cNvPr>
              <p:cNvSpPr/>
              <p:nvPr/>
            </p:nvSpPr>
            <p:spPr>
              <a:xfrm>
                <a:off x="2676910" y="2153046"/>
                <a:ext cx="24054" cy="24705"/>
              </a:xfrm>
              <a:custGeom>
                <a:avLst/>
                <a:gdLst/>
                <a:ahLst/>
                <a:cxnLst/>
                <a:rect l="0" t="0" r="0" b="0"/>
                <a:pathLst>
                  <a:path w="24054" h="24705">
                    <a:moveTo>
                      <a:pt x="15589" y="0"/>
                    </a:moveTo>
                    <a:lnTo>
                      <a:pt x="1286" y="647"/>
                    </a:lnTo>
                    <a:lnTo>
                      <a:pt x="0" y="16253"/>
                    </a:lnTo>
                    <a:lnTo>
                      <a:pt x="10393" y="16253"/>
                    </a:lnTo>
                    <a:lnTo>
                      <a:pt x="18196" y="24704"/>
                    </a:lnTo>
                    <a:lnTo>
                      <a:pt x="24053" y="12352"/>
                    </a:lnTo>
                    <a:lnTo>
                      <a:pt x="1558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054" tIns="247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3" name="shp_Region_Belize_$1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48C49BF-A6E3-D069-F366-E8C282A4BA43}"/>
                  </a:ext>
                </a:extLst>
              </p:cNvPr>
              <p:cNvSpPr/>
              <p:nvPr/>
            </p:nvSpPr>
            <p:spPr>
              <a:xfrm>
                <a:off x="2294627" y="2162143"/>
                <a:ext cx="21464" cy="21456"/>
              </a:xfrm>
              <a:custGeom>
                <a:avLst/>
                <a:gdLst/>
                <a:ahLst/>
                <a:cxnLst/>
                <a:rect l="0" t="0" r="0" b="0"/>
                <a:pathLst>
                  <a:path w="21464" h="21456">
                    <a:moveTo>
                      <a:pt x="21463" y="0"/>
                    </a:moveTo>
                    <a:lnTo>
                      <a:pt x="9107" y="2603"/>
                    </a:lnTo>
                    <a:lnTo>
                      <a:pt x="3250" y="9098"/>
                    </a:lnTo>
                    <a:lnTo>
                      <a:pt x="0" y="18205"/>
                    </a:lnTo>
                    <a:lnTo>
                      <a:pt x="9750" y="21455"/>
                    </a:lnTo>
                    <a:lnTo>
                      <a:pt x="11053" y="13004"/>
                    </a:lnTo>
                    <a:lnTo>
                      <a:pt x="20160" y="6500"/>
                    </a:lnTo>
                    <a:lnTo>
                      <a:pt x="2146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64" tIns="214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4" name="shp_Region_Belize_$1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B8E3376-A9A3-5FB1-F591-78248E813FA2}"/>
                  </a:ext>
                </a:extLst>
              </p:cNvPr>
              <p:cNvSpPr/>
              <p:nvPr/>
            </p:nvSpPr>
            <p:spPr>
              <a:xfrm>
                <a:off x="2449369" y="2171893"/>
                <a:ext cx="21446" cy="29263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3">
                    <a:moveTo>
                      <a:pt x="18195" y="0"/>
                    </a:moveTo>
                    <a:lnTo>
                      <a:pt x="9750" y="1303"/>
                    </a:lnTo>
                    <a:lnTo>
                      <a:pt x="6500" y="13008"/>
                    </a:lnTo>
                    <a:lnTo>
                      <a:pt x="0" y="18856"/>
                    </a:lnTo>
                    <a:lnTo>
                      <a:pt x="0" y="25360"/>
                    </a:lnTo>
                    <a:lnTo>
                      <a:pt x="5839" y="29262"/>
                    </a:lnTo>
                    <a:lnTo>
                      <a:pt x="11696" y="20807"/>
                    </a:lnTo>
                    <a:lnTo>
                      <a:pt x="21445" y="15606"/>
                    </a:lnTo>
                    <a:lnTo>
                      <a:pt x="21445" y="5205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292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5" name="shp_Region_Belize_$1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6941CAC-A16A-562A-27B4-504B1B402FEA}"/>
                  </a:ext>
                </a:extLst>
              </p:cNvPr>
              <p:cNvSpPr/>
              <p:nvPr/>
            </p:nvSpPr>
            <p:spPr>
              <a:xfrm>
                <a:off x="2685356" y="2189450"/>
                <a:ext cx="16911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11706">
                    <a:moveTo>
                      <a:pt x="11053" y="0"/>
                    </a:moveTo>
                    <a:lnTo>
                      <a:pt x="0" y="5201"/>
                    </a:lnTo>
                    <a:lnTo>
                      <a:pt x="16910" y="11705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911" tIns="117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6" name="shp_Region_Belize_$1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3BFBC95-8CEF-EE81-E2A6-9F5C27A6DA72}"/>
                  </a:ext>
                </a:extLst>
              </p:cNvPr>
              <p:cNvSpPr/>
              <p:nvPr/>
            </p:nvSpPr>
            <p:spPr>
              <a:xfrm>
                <a:off x="2437012" y="2200503"/>
                <a:ext cx="11054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27303">
                    <a:moveTo>
                      <a:pt x="11053" y="0"/>
                    </a:moveTo>
                    <a:lnTo>
                      <a:pt x="7143" y="9107"/>
                    </a:lnTo>
                    <a:lnTo>
                      <a:pt x="0" y="14954"/>
                    </a:lnTo>
                    <a:lnTo>
                      <a:pt x="0" y="27302"/>
                    </a:lnTo>
                    <a:lnTo>
                      <a:pt x="9089" y="240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27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7" name="shp_Region_Belize_$1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7280C1F-C053-F717-96FC-CE4FA4D9F34C}"/>
                  </a:ext>
                </a:extLst>
              </p:cNvPr>
              <p:cNvSpPr/>
              <p:nvPr/>
            </p:nvSpPr>
            <p:spPr>
              <a:xfrm>
                <a:off x="3007161" y="2223256"/>
                <a:ext cx="416728" cy="598764"/>
              </a:xfrm>
              <a:custGeom>
                <a:avLst/>
                <a:gdLst/>
                <a:ahLst/>
                <a:cxnLst/>
                <a:rect l="0" t="0" r="0" b="0"/>
                <a:pathLst>
                  <a:path w="416728" h="598764">
                    <a:moveTo>
                      <a:pt x="298412" y="24704"/>
                    </a:moveTo>
                    <a:lnTo>
                      <a:pt x="295163" y="39663"/>
                    </a:lnTo>
                    <a:lnTo>
                      <a:pt x="288002" y="46810"/>
                    </a:lnTo>
                    <a:lnTo>
                      <a:pt x="278253" y="50712"/>
                    </a:lnTo>
                    <a:lnTo>
                      <a:pt x="269807" y="66309"/>
                    </a:lnTo>
                    <a:lnTo>
                      <a:pt x="268503" y="84518"/>
                    </a:lnTo>
                    <a:lnTo>
                      <a:pt x="260057" y="98165"/>
                    </a:lnTo>
                    <a:lnTo>
                      <a:pt x="278913" y="88420"/>
                    </a:lnTo>
                    <a:lnTo>
                      <a:pt x="278913" y="80616"/>
                    </a:lnTo>
                    <a:lnTo>
                      <a:pt x="282806" y="70215"/>
                    </a:lnTo>
                    <a:lnTo>
                      <a:pt x="284752" y="57211"/>
                    </a:lnTo>
                    <a:lnTo>
                      <a:pt x="295163" y="54613"/>
                    </a:lnTo>
                    <a:lnTo>
                      <a:pt x="294520" y="45516"/>
                    </a:lnTo>
                    <a:lnTo>
                      <a:pt x="299055" y="40958"/>
                    </a:lnTo>
                    <a:lnTo>
                      <a:pt x="306215" y="42909"/>
                    </a:lnTo>
                    <a:lnTo>
                      <a:pt x="311412" y="50712"/>
                    </a:lnTo>
                    <a:lnTo>
                      <a:pt x="328321" y="50060"/>
                    </a:lnTo>
                    <a:lnTo>
                      <a:pt x="331571" y="53310"/>
                    </a:lnTo>
                    <a:lnTo>
                      <a:pt x="331571" y="66309"/>
                    </a:lnTo>
                    <a:lnTo>
                      <a:pt x="324411" y="75416"/>
                    </a:lnTo>
                    <a:lnTo>
                      <a:pt x="325072" y="91018"/>
                    </a:lnTo>
                    <a:lnTo>
                      <a:pt x="345213" y="91018"/>
                    </a:lnTo>
                    <a:lnTo>
                      <a:pt x="345213" y="102071"/>
                    </a:lnTo>
                    <a:lnTo>
                      <a:pt x="348481" y="111173"/>
                    </a:lnTo>
                    <a:lnTo>
                      <a:pt x="330268" y="116373"/>
                    </a:lnTo>
                    <a:lnTo>
                      <a:pt x="315965" y="115074"/>
                    </a:lnTo>
                    <a:lnTo>
                      <a:pt x="312072" y="121574"/>
                    </a:lnTo>
                    <a:lnTo>
                      <a:pt x="302966" y="128725"/>
                    </a:lnTo>
                    <a:lnTo>
                      <a:pt x="288002" y="128074"/>
                    </a:lnTo>
                    <a:lnTo>
                      <a:pt x="284752" y="139778"/>
                    </a:lnTo>
                    <a:lnTo>
                      <a:pt x="274360" y="148881"/>
                    </a:lnTo>
                    <a:lnTo>
                      <a:pt x="280217" y="160581"/>
                    </a:lnTo>
                    <a:lnTo>
                      <a:pt x="286717" y="164482"/>
                    </a:lnTo>
                    <a:lnTo>
                      <a:pt x="284752" y="178133"/>
                    </a:lnTo>
                    <a:lnTo>
                      <a:pt x="278253" y="185937"/>
                    </a:lnTo>
                    <a:lnTo>
                      <a:pt x="270449" y="190485"/>
                    </a:lnTo>
                    <a:lnTo>
                      <a:pt x="258111" y="188535"/>
                    </a:lnTo>
                    <a:lnTo>
                      <a:pt x="241201" y="199583"/>
                    </a:lnTo>
                    <a:lnTo>
                      <a:pt x="230148" y="199583"/>
                    </a:lnTo>
                    <a:lnTo>
                      <a:pt x="228845" y="208043"/>
                    </a:lnTo>
                    <a:lnTo>
                      <a:pt x="209346" y="216493"/>
                    </a:lnTo>
                    <a:lnTo>
                      <a:pt x="167080" y="221042"/>
                    </a:lnTo>
                    <a:lnTo>
                      <a:pt x="157991" y="214542"/>
                    </a:lnTo>
                    <a:lnTo>
                      <a:pt x="170991" y="189182"/>
                    </a:lnTo>
                    <a:lnTo>
                      <a:pt x="200900" y="174232"/>
                    </a:lnTo>
                    <a:lnTo>
                      <a:pt x="196989" y="158630"/>
                    </a:lnTo>
                    <a:lnTo>
                      <a:pt x="208042" y="146278"/>
                    </a:lnTo>
                    <a:lnTo>
                      <a:pt x="200900" y="145631"/>
                    </a:lnTo>
                    <a:lnTo>
                      <a:pt x="191793" y="159282"/>
                    </a:lnTo>
                    <a:lnTo>
                      <a:pt x="182044" y="157331"/>
                    </a:lnTo>
                    <a:lnTo>
                      <a:pt x="175544" y="161233"/>
                    </a:lnTo>
                    <a:lnTo>
                      <a:pt x="168384" y="171634"/>
                    </a:lnTo>
                    <a:lnTo>
                      <a:pt x="162545" y="175535"/>
                    </a:lnTo>
                    <a:lnTo>
                      <a:pt x="157331" y="194383"/>
                    </a:lnTo>
                    <a:lnTo>
                      <a:pt x="146278" y="201538"/>
                    </a:lnTo>
                    <a:lnTo>
                      <a:pt x="137189" y="213243"/>
                    </a:lnTo>
                    <a:lnTo>
                      <a:pt x="137189" y="219743"/>
                    </a:lnTo>
                    <a:lnTo>
                      <a:pt x="124832" y="244447"/>
                    </a:lnTo>
                    <a:lnTo>
                      <a:pt x="107923" y="256799"/>
                    </a:lnTo>
                    <a:lnTo>
                      <a:pt x="107280" y="267852"/>
                    </a:lnTo>
                    <a:lnTo>
                      <a:pt x="100780" y="289306"/>
                    </a:lnTo>
                    <a:lnTo>
                      <a:pt x="92316" y="297757"/>
                    </a:lnTo>
                    <a:lnTo>
                      <a:pt x="87120" y="308158"/>
                    </a:lnTo>
                    <a:lnTo>
                      <a:pt x="81924" y="310760"/>
                    </a:lnTo>
                    <a:lnTo>
                      <a:pt x="64371" y="334813"/>
                    </a:lnTo>
                    <a:lnTo>
                      <a:pt x="59175" y="349763"/>
                    </a:lnTo>
                    <a:lnTo>
                      <a:pt x="46819" y="364070"/>
                    </a:lnTo>
                    <a:lnTo>
                      <a:pt x="46819" y="371873"/>
                    </a:lnTo>
                    <a:lnTo>
                      <a:pt x="37069" y="380975"/>
                    </a:lnTo>
                    <a:lnTo>
                      <a:pt x="36408" y="390725"/>
                    </a:lnTo>
                    <a:lnTo>
                      <a:pt x="43569" y="401126"/>
                    </a:lnTo>
                    <a:lnTo>
                      <a:pt x="34462" y="412831"/>
                    </a:lnTo>
                    <a:lnTo>
                      <a:pt x="40319" y="422585"/>
                    </a:lnTo>
                    <a:lnTo>
                      <a:pt x="40319" y="431682"/>
                    </a:lnTo>
                    <a:lnTo>
                      <a:pt x="44212" y="442084"/>
                    </a:lnTo>
                    <a:lnTo>
                      <a:pt x="57871" y="441436"/>
                    </a:lnTo>
                    <a:lnTo>
                      <a:pt x="55925" y="452485"/>
                    </a:lnTo>
                    <a:lnTo>
                      <a:pt x="70228" y="451842"/>
                    </a:lnTo>
                    <a:lnTo>
                      <a:pt x="75424" y="462239"/>
                    </a:lnTo>
                    <a:lnTo>
                      <a:pt x="72174" y="470689"/>
                    </a:lnTo>
                    <a:lnTo>
                      <a:pt x="59175" y="477836"/>
                    </a:lnTo>
                    <a:lnTo>
                      <a:pt x="51372" y="475238"/>
                    </a:lnTo>
                    <a:lnTo>
                      <a:pt x="50068" y="464190"/>
                    </a:lnTo>
                    <a:lnTo>
                      <a:pt x="44872" y="464841"/>
                    </a:lnTo>
                    <a:lnTo>
                      <a:pt x="44872" y="478497"/>
                    </a:lnTo>
                    <a:lnTo>
                      <a:pt x="50068" y="488242"/>
                    </a:lnTo>
                    <a:lnTo>
                      <a:pt x="42265" y="501246"/>
                    </a:lnTo>
                    <a:lnTo>
                      <a:pt x="43569" y="508397"/>
                    </a:lnTo>
                    <a:lnTo>
                      <a:pt x="34462" y="509696"/>
                    </a:lnTo>
                    <a:lnTo>
                      <a:pt x="28605" y="522700"/>
                    </a:lnTo>
                    <a:lnTo>
                      <a:pt x="28605" y="531798"/>
                    </a:lnTo>
                    <a:lnTo>
                      <a:pt x="20159" y="534400"/>
                    </a:lnTo>
                    <a:lnTo>
                      <a:pt x="21463" y="544154"/>
                    </a:lnTo>
                    <a:lnTo>
                      <a:pt x="12356" y="544154"/>
                    </a:lnTo>
                    <a:lnTo>
                      <a:pt x="6499" y="555207"/>
                    </a:lnTo>
                    <a:lnTo>
                      <a:pt x="12356" y="561707"/>
                    </a:lnTo>
                    <a:lnTo>
                      <a:pt x="12356" y="576010"/>
                    </a:lnTo>
                    <a:lnTo>
                      <a:pt x="660" y="579907"/>
                    </a:lnTo>
                    <a:lnTo>
                      <a:pt x="0" y="589665"/>
                    </a:lnTo>
                    <a:lnTo>
                      <a:pt x="4553" y="598763"/>
                    </a:lnTo>
                    <a:lnTo>
                      <a:pt x="11053" y="595513"/>
                    </a:lnTo>
                    <a:lnTo>
                      <a:pt x="21463" y="596165"/>
                    </a:lnTo>
                    <a:lnTo>
                      <a:pt x="24052" y="589013"/>
                    </a:lnTo>
                    <a:lnTo>
                      <a:pt x="41622" y="594214"/>
                    </a:lnTo>
                    <a:lnTo>
                      <a:pt x="50068" y="594214"/>
                    </a:lnTo>
                    <a:lnTo>
                      <a:pt x="38355" y="573411"/>
                    </a:lnTo>
                    <a:lnTo>
                      <a:pt x="27320" y="574715"/>
                    </a:lnTo>
                    <a:lnTo>
                      <a:pt x="22766" y="562358"/>
                    </a:lnTo>
                    <a:lnTo>
                      <a:pt x="25355" y="559756"/>
                    </a:lnTo>
                    <a:lnTo>
                      <a:pt x="38355" y="563010"/>
                    </a:lnTo>
                    <a:lnTo>
                      <a:pt x="42908" y="559756"/>
                    </a:lnTo>
                    <a:lnTo>
                      <a:pt x="39658" y="550658"/>
                    </a:lnTo>
                    <a:lnTo>
                      <a:pt x="42908" y="545458"/>
                    </a:lnTo>
                    <a:lnTo>
                      <a:pt x="42908" y="528552"/>
                    </a:lnTo>
                    <a:lnTo>
                      <a:pt x="48765" y="524003"/>
                    </a:lnTo>
                    <a:lnTo>
                      <a:pt x="48765" y="512299"/>
                    </a:lnTo>
                    <a:lnTo>
                      <a:pt x="53318" y="509696"/>
                    </a:lnTo>
                    <a:lnTo>
                      <a:pt x="59175" y="497344"/>
                    </a:lnTo>
                    <a:lnTo>
                      <a:pt x="61121" y="487595"/>
                    </a:lnTo>
                    <a:lnTo>
                      <a:pt x="68264" y="483698"/>
                    </a:lnTo>
                    <a:lnTo>
                      <a:pt x="79978" y="490193"/>
                    </a:lnTo>
                    <a:lnTo>
                      <a:pt x="79317" y="478497"/>
                    </a:lnTo>
                    <a:lnTo>
                      <a:pt x="85174" y="473939"/>
                    </a:lnTo>
                    <a:lnTo>
                      <a:pt x="87120" y="459641"/>
                    </a:lnTo>
                    <a:lnTo>
                      <a:pt x="98816" y="445333"/>
                    </a:lnTo>
                    <a:lnTo>
                      <a:pt x="102084" y="431035"/>
                    </a:lnTo>
                    <a:lnTo>
                      <a:pt x="98173" y="415429"/>
                    </a:lnTo>
                    <a:lnTo>
                      <a:pt x="89727" y="406978"/>
                    </a:lnTo>
                    <a:lnTo>
                      <a:pt x="98173" y="397876"/>
                    </a:lnTo>
                    <a:lnTo>
                      <a:pt x="107280" y="381618"/>
                    </a:lnTo>
                    <a:lnTo>
                      <a:pt x="105333" y="376417"/>
                    </a:lnTo>
                    <a:lnTo>
                      <a:pt x="95566" y="371221"/>
                    </a:lnTo>
                    <a:lnTo>
                      <a:pt x="89066" y="362119"/>
                    </a:lnTo>
                    <a:lnTo>
                      <a:pt x="89727" y="345866"/>
                    </a:lnTo>
                    <a:lnTo>
                      <a:pt x="102726" y="330264"/>
                    </a:lnTo>
                    <a:lnTo>
                      <a:pt x="108583" y="308810"/>
                    </a:lnTo>
                    <a:lnTo>
                      <a:pt x="105976" y="297757"/>
                    </a:lnTo>
                    <a:lnTo>
                      <a:pt x="107923" y="289958"/>
                    </a:lnTo>
                    <a:lnTo>
                      <a:pt x="119636" y="286056"/>
                    </a:lnTo>
                    <a:lnTo>
                      <a:pt x="124832" y="280200"/>
                    </a:lnTo>
                    <a:lnTo>
                      <a:pt x="143028" y="279552"/>
                    </a:lnTo>
                    <a:lnTo>
                      <a:pt x="150831" y="282802"/>
                    </a:lnTo>
                    <a:lnTo>
                      <a:pt x="154081" y="293203"/>
                    </a:lnTo>
                    <a:lnTo>
                      <a:pt x="160580" y="293203"/>
                    </a:lnTo>
                    <a:lnTo>
                      <a:pt x="169687" y="279552"/>
                    </a:lnTo>
                    <a:lnTo>
                      <a:pt x="167080" y="258098"/>
                    </a:lnTo>
                    <a:lnTo>
                      <a:pt x="174883" y="261348"/>
                    </a:lnTo>
                    <a:lnTo>
                      <a:pt x="182044" y="252250"/>
                    </a:lnTo>
                    <a:lnTo>
                      <a:pt x="195043" y="254201"/>
                    </a:lnTo>
                    <a:lnTo>
                      <a:pt x="205453" y="246398"/>
                    </a:lnTo>
                    <a:lnTo>
                      <a:pt x="204792" y="241197"/>
                    </a:lnTo>
                    <a:lnTo>
                      <a:pt x="216506" y="235996"/>
                    </a:lnTo>
                    <a:lnTo>
                      <a:pt x="222345" y="243148"/>
                    </a:lnTo>
                    <a:lnTo>
                      <a:pt x="219756" y="249648"/>
                    </a:lnTo>
                    <a:lnTo>
                      <a:pt x="209988" y="252250"/>
                    </a:lnTo>
                    <a:lnTo>
                      <a:pt x="205453" y="257451"/>
                    </a:lnTo>
                    <a:lnTo>
                      <a:pt x="215845" y="271102"/>
                    </a:lnTo>
                    <a:lnTo>
                      <a:pt x="218452" y="284105"/>
                    </a:lnTo>
                    <a:lnTo>
                      <a:pt x="216506" y="295158"/>
                    </a:lnTo>
                    <a:lnTo>
                      <a:pt x="226898" y="293203"/>
                    </a:lnTo>
                    <a:lnTo>
                      <a:pt x="246397" y="296462"/>
                    </a:lnTo>
                    <a:lnTo>
                      <a:pt x="261361" y="285400"/>
                    </a:lnTo>
                    <a:lnTo>
                      <a:pt x="261361" y="280200"/>
                    </a:lnTo>
                    <a:lnTo>
                      <a:pt x="273057" y="267205"/>
                    </a:lnTo>
                    <a:lnTo>
                      <a:pt x="286056" y="262651"/>
                    </a:lnTo>
                    <a:lnTo>
                      <a:pt x="294520" y="252250"/>
                    </a:lnTo>
                    <a:lnTo>
                      <a:pt x="302966" y="249648"/>
                    </a:lnTo>
                    <a:lnTo>
                      <a:pt x="304912" y="241849"/>
                    </a:lnTo>
                    <a:lnTo>
                      <a:pt x="302305" y="235349"/>
                    </a:lnTo>
                    <a:lnTo>
                      <a:pt x="304269" y="213891"/>
                    </a:lnTo>
                    <a:lnTo>
                      <a:pt x="310769" y="206092"/>
                    </a:lnTo>
                    <a:lnTo>
                      <a:pt x="312072" y="195686"/>
                    </a:lnTo>
                    <a:lnTo>
                      <a:pt x="319875" y="180084"/>
                    </a:lnTo>
                    <a:lnTo>
                      <a:pt x="325714" y="174232"/>
                    </a:lnTo>
                    <a:lnTo>
                      <a:pt x="333518" y="156679"/>
                    </a:lnTo>
                    <a:lnTo>
                      <a:pt x="338714" y="150831"/>
                    </a:lnTo>
                    <a:lnTo>
                      <a:pt x="366033" y="135221"/>
                    </a:lnTo>
                    <a:lnTo>
                      <a:pt x="361480" y="131332"/>
                    </a:lnTo>
                    <a:lnTo>
                      <a:pt x="362123" y="122226"/>
                    </a:lnTo>
                    <a:lnTo>
                      <a:pt x="367319" y="118324"/>
                    </a:lnTo>
                    <a:lnTo>
                      <a:pt x="375783" y="118971"/>
                    </a:lnTo>
                    <a:lnTo>
                      <a:pt x="382925" y="112472"/>
                    </a:lnTo>
                    <a:lnTo>
                      <a:pt x="393336" y="111825"/>
                    </a:lnTo>
                    <a:lnTo>
                      <a:pt x="401139" y="102722"/>
                    </a:lnTo>
                    <a:lnTo>
                      <a:pt x="414781" y="101419"/>
                    </a:lnTo>
                    <a:lnTo>
                      <a:pt x="416727" y="91018"/>
                    </a:lnTo>
                    <a:lnTo>
                      <a:pt x="410228" y="85817"/>
                    </a:lnTo>
                    <a:lnTo>
                      <a:pt x="400478" y="94919"/>
                    </a:lnTo>
                    <a:lnTo>
                      <a:pt x="390086" y="98165"/>
                    </a:lnTo>
                    <a:lnTo>
                      <a:pt x="381622" y="104669"/>
                    </a:lnTo>
                    <a:lnTo>
                      <a:pt x="380979" y="92317"/>
                    </a:lnTo>
                    <a:lnTo>
                      <a:pt x="372533" y="87116"/>
                    </a:lnTo>
                    <a:lnTo>
                      <a:pt x="357570" y="89067"/>
                    </a:lnTo>
                    <a:lnTo>
                      <a:pt x="342624" y="76710"/>
                    </a:lnTo>
                    <a:lnTo>
                      <a:pt x="338714" y="67613"/>
                    </a:lnTo>
                    <a:lnTo>
                      <a:pt x="349767" y="65662"/>
                    </a:lnTo>
                    <a:lnTo>
                      <a:pt x="354320" y="59814"/>
                    </a:lnTo>
                    <a:lnTo>
                      <a:pt x="356927" y="48109"/>
                    </a:lnTo>
                    <a:lnTo>
                      <a:pt x="363427" y="42261"/>
                    </a:lnTo>
                    <a:lnTo>
                      <a:pt x="371873" y="41609"/>
                    </a:lnTo>
                    <a:lnTo>
                      <a:pt x="371230" y="32507"/>
                    </a:lnTo>
                    <a:lnTo>
                      <a:pt x="362784" y="30557"/>
                    </a:lnTo>
                    <a:lnTo>
                      <a:pt x="359516" y="37056"/>
                    </a:lnTo>
                    <a:lnTo>
                      <a:pt x="348481" y="44203"/>
                    </a:lnTo>
                    <a:lnTo>
                      <a:pt x="336124" y="47462"/>
                    </a:lnTo>
                    <a:lnTo>
                      <a:pt x="324411" y="46810"/>
                    </a:lnTo>
                    <a:lnTo>
                      <a:pt x="317911" y="34458"/>
                    </a:lnTo>
                    <a:lnTo>
                      <a:pt x="323768" y="28606"/>
                    </a:lnTo>
                    <a:lnTo>
                      <a:pt x="322464" y="16906"/>
                    </a:lnTo>
                    <a:lnTo>
                      <a:pt x="313358" y="17553"/>
                    </a:lnTo>
                    <a:lnTo>
                      <a:pt x="305572" y="13651"/>
                    </a:lnTo>
                    <a:lnTo>
                      <a:pt x="302966" y="1947"/>
                    </a:lnTo>
                    <a:lnTo>
                      <a:pt x="295163" y="0"/>
                    </a:lnTo>
                    <a:lnTo>
                      <a:pt x="298412" y="24704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16728" tIns="59876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8" name="shp_Region_Belize_$1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44BFE05-5570-F28B-82FC-B90E73FE4117}"/>
                  </a:ext>
                </a:extLst>
              </p:cNvPr>
              <p:cNvSpPr/>
              <p:nvPr/>
            </p:nvSpPr>
            <p:spPr>
              <a:xfrm>
                <a:off x="2425960" y="2229756"/>
                <a:ext cx="31195" cy="39017"/>
              </a:xfrm>
              <a:custGeom>
                <a:avLst/>
                <a:gdLst/>
                <a:ahLst/>
                <a:cxnLst/>
                <a:rect l="0" t="0" r="0" b="0"/>
                <a:pathLst>
                  <a:path w="31195" h="39017">
                    <a:moveTo>
                      <a:pt x="9749" y="0"/>
                    </a:moveTo>
                    <a:lnTo>
                      <a:pt x="5196" y="4553"/>
                    </a:lnTo>
                    <a:lnTo>
                      <a:pt x="9749" y="11704"/>
                    </a:lnTo>
                    <a:lnTo>
                      <a:pt x="8445" y="18204"/>
                    </a:lnTo>
                    <a:lnTo>
                      <a:pt x="0" y="26659"/>
                    </a:lnTo>
                    <a:lnTo>
                      <a:pt x="6499" y="37703"/>
                    </a:lnTo>
                    <a:lnTo>
                      <a:pt x="18195" y="39016"/>
                    </a:lnTo>
                    <a:lnTo>
                      <a:pt x="29248" y="29257"/>
                    </a:lnTo>
                    <a:lnTo>
                      <a:pt x="31194" y="18856"/>
                    </a:lnTo>
                    <a:lnTo>
                      <a:pt x="25998" y="15606"/>
                    </a:lnTo>
                    <a:lnTo>
                      <a:pt x="21445" y="2602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1195" tIns="390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89" name="shp_Region_Belize_$1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55EC59D-54EE-6988-BEE3-2358ABF79EF3}"/>
                  </a:ext>
                </a:extLst>
              </p:cNvPr>
              <p:cNvSpPr/>
              <p:nvPr/>
            </p:nvSpPr>
            <p:spPr>
              <a:xfrm>
                <a:off x="2587844" y="2266816"/>
                <a:ext cx="133261" cy="183991"/>
              </a:xfrm>
              <a:custGeom>
                <a:avLst/>
                <a:gdLst/>
                <a:ahLst/>
                <a:cxnLst/>
                <a:rect l="0" t="0" r="0" b="0"/>
                <a:pathLst>
                  <a:path w="133261" h="183991">
                    <a:moveTo>
                      <a:pt x="98816" y="183339"/>
                    </a:moveTo>
                    <a:lnTo>
                      <a:pt x="106619" y="177482"/>
                    </a:lnTo>
                    <a:lnTo>
                      <a:pt x="118315" y="176835"/>
                    </a:lnTo>
                    <a:lnTo>
                      <a:pt x="124815" y="180084"/>
                    </a:lnTo>
                    <a:lnTo>
                      <a:pt x="131975" y="172933"/>
                    </a:lnTo>
                    <a:lnTo>
                      <a:pt x="133260" y="154077"/>
                    </a:lnTo>
                    <a:lnTo>
                      <a:pt x="126118" y="158630"/>
                    </a:lnTo>
                    <a:lnTo>
                      <a:pt x="118315" y="169031"/>
                    </a:lnTo>
                    <a:lnTo>
                      <a:pt x="105316" y="143676"/>
                    </a:lnTo>
                    <a:lnTo>
                      <a:pt x="106619" y="126775"/>
                    </a:lnTo>
                    <a:lnTo>
                      <a:pt x="109869" y="117021"/>
                    </a:lnTo>
                    <a:lnTo>
                      <a:pt x="115065" y="113771"/>
                    </a:lnTo>
                    <a:lnTo>
                      <a:pt x="114422" y="104017"/>
                    </a:lnTo>
                    <a:lnTo>
                      <a:pt x="122208" y="102071"/>
                    </a:lnTo>
                    <a:lnTo>
                      <a:pt x="130011" y="92973"/>
                    </a:lnTo>
                    <a:lnTo>
                      <a:pt x="133260" y="81916"/>
                    </a:lnTo>
                    <a:lnTo>
                      <a:pt x="125475" y="72162"/>
                    </a:lnTo>
                    <a:lnTo>
                      <a:pt x="98816" y="61109"/>
                    </a:lnTo>
                    <a:lnTo>
                      <a:pt x="77353" y="42257"/>
                    </a:lnTo>
                    <a:lnTo>
                      <a:pt x="57211" y="17553"/>
                    </a:lnTo>
                    <a:lnTo>
                      <a:pt x="39658" y="16254"/>
                    </a:lnTo>
                    <a:lnTo>
                      <a:pt x="27302" y="0"/>
                    </a:lnTo>
                    <a:lnTo>
                      <a:pt x="12338" y="13651"/>
                    </a:lnTo>
                    <a:lnTo>
                      <a:pt x="3892" y="15602"/>
                    </a:lnTo>
                    <a:lnTo>
                      <a:pt x="0" y="32503"/>
                    </a:lnTo>
                    <a:lnTo>
                      <a:pt x="12338" y="49404"/>
                    </a:lnTo>
                    <a:lnTo>
                      <a:pt x="24695" y="55265"/>
                    </a:lnTo>
                    <a:lnTo>
                      <a:pt x="24695" y="66314"/>
                    </a:lnTo>
                    <a:lnTo>
                      <a:pt x="31195" y="72813"/>
                    </a:lnTo>
                    <a:lnTo>
                      <a:pt x="40944" y="75411"/>
                    </a:lnTo>
                    <a:lnTo>
                      <a:pt x="52658" y="82563"/>
                    </a:lnTo>
                    <a:lnTo>
                      <a:pt x="62407" y="84514"/>
                    </a:lnTo>
                    <a:lnTo>
                      <a:pt x="73460" y="74112"/>
                    </a:lnTo>
                    <a:lnTo>
                      <a:pt x="81906" y="76715"/>
                    </a:lnTo>
                    <a:lnTo>
                      <a:pt x="73460" y="83866"/>
                    </a:lnTo>
                    <a:lnTo>
                      <a:pt x="74103" y="89714"/>
                    </a:lnTo>
                    <a:lnTo>
                      <a:pt x="63050" y="98174"/>
                    </a:lnTo>
                    <a:lnTo>
                      <a:pt x="64353" y="105968"/>
                    </a:lnTo>
                    <a:lnTo>
                      <a:pt x="70210" y="106620"/>
                    </a:lnTo>
                    <a:lnTo>
                      <a:pt x="65657" y="120922"/>
                    </a:lnTo>
                    <a:lnTo>
                      <a:pt x="71514" y="131975"/>
                    </a:lnTo>
                    <a:lnTo>
                      <a:pt x="72799" y="152778"/>
                    </a:lnTo>
                    <a:lnTo>
                      <a:pt x="79299" y="156023"/>
                    </a:lnTo>
                    <a:lnTo>
                      <a:pt x="84513" y="169031"/>
                    </a:lnTo>
                    <a:lnTo>
                      <a:pt x="92959" y="171634"/>
                    </a:lnTo>
                    <a:lnTo>
                      <a:pt x="87763" y="178134"/>
                    </a:lnTo>
                    <a:lnTo>
                      <a:pt x="89066" y="183990"/>
                    </a:lnTo>
                    <a:lnTo>
                      <a:pt x="98816" y="18333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3261" tIns="18399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0" name="shp_Region_Belize_$2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711F968-F0DB-56BD-740C-B27B11E02B1F}"/>
                  </a:ext>
                </a:extLst>
              </p:cNvPr>
              <p:cNvSpPr/>
              <p:nvPr/>
            </p:nvSpPr>
            <p:spPr>
              <a:xfrm>
                <a:off x="2487724" y="2287619"/>
                <a:ext cx="44856" cy="42909"/>
              </a:xfrm>
              <a:custGeom>
                <a:avLst/>
                <a:gdLst/>
                <a:ahLst/>
                <a:cxnLst/>
                <a:rect l="0" t="0" r="0" b="0"/>
                <a:pathLst>
                  <a:path w="44856" h="42909">
                    <a:moveTo>
                      <a:pt x="34445" y="0"/>
                    </a:moveTo>
                    <a:lnTo>
                      <a:pt x="0" y="652"/>
                    </a:lnTo>
                    <a:lnTo>
                      <a:pt x="0" y="5852"/>
                    </a:lnTo>
                    <a:lnTo>
                      <a:pt x="23392" y="30556"/>
                    </a:lnTo>
                    <a:lnTo>
                      <a:pt x="29249" y="42908"/>
                    </a:lnTo>
                    <a:lnTo>
                      <a:pt x="38355" y="39663"/>
                    </a:lnTo>
                    <a:lnTo>
                      <a:pt x="44855" y="25356"/>
                    </a:lnTo>
                    <a:lnTo>
                      <a:pt x="40302" y="23409"/>
                    </a:lnTo>
                    <a:lnTo>
                      <a:pt x="36409" y="13651"/>
                    </a:lnTo>
                    <a:lnTo>
                      <a:pt x="3444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4856" tIns="429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1" name="shp_Region_Belize_$2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49B00C2-BDE3-0904-C850-2C5119733ED7}"/>
                  </a:ext>
                </a:extLst>
              </p:cNvPr>
              <p:cNvSpPr/>
              <p:nvPr/>
            </p:nvSpPr>
            <p:spPr>
              <a:xfrm>
                <a:off x="2558578" y="2325327"/>
                <a:ext cx="14303" cy="10402"/>
              </a:xfrm>
              <a:custGeom>
                <a:avLst/>
                <a:gdLst/>
                <a:ahLst/>
                <a:cxnLst/>
                <a:rect l="0" t="0" r="0" b="0"/>
                <a:pathLst>
                  <a:path w="14303" h="10402">
                    <a:moveTo>
                      <a:pt x="7160" y="0"/>
                    </a:moveTo>
                    <a:lnTo>
                      <a:pt x="0" y="9754"/>
                    </a:lnTo>
                    <a:lnTo>
                      <a:pt x="14302" y="10401"/>
                    </a:lnTo>
                    <a:lnTo>
                      <a:pt x="716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303" tIns="104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2" name="shp_Region_Belize_$2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FC7C1AA-5EC4-6BFD-221F-2969E5BA90A5}"/>
                  </a:ext>
                </a:extLst>
              </p:cNvPr>
              <p:cNvSpPr/>
              <p:nvPr/>
            </p:nvSpPr>
            <p:spPr>
              <a:xfrm>
                <a:off x="3998607" y="2437798"/>
                <a:ext cx="57213" cy="47463"/>
              </a:xfrm>
              <a:custGeom>
                <a:avLst/>
                <a:gdLst/>
                <a:ahLst/>
                <a:cxnLst/>
                <a:rect l="0" t="0" r="0" b="0"/>
                <a:pathLst>
                  <a:path w="57213" h="47463">
                    <a:moveTo>
                      <a:pt x="29910" y="0"/>
                    </a:moveTo>
                    <a:lnTo>
                      <a:pt x="22106" y="2598"/>
                    </a:lnTo>
                    <a:lnTo>
                      <a:pt x="14946" y="10401"/>
                    </a:lnTo>
                    <a:lnTo>
                      <a:pt x="1304" y="18852"/>
                    </a:lnTo>
                    <a:lnTo>
                      <a:pt x="0" y="28606"/>
                    </a:lnTo>
                    <a:lnTo>
                      <a:pt x="5857" y="33807"/>
                    </a:lnTo>
                    <a:lnTo>
                      <a:pt x="16250" y="37056"/>
                    </a:lnTo>
                    <a:lnTo>
                      <a:pt x="33160" y="47462"/>
                    </a:lnTo>
                    <a:lnTo>
                      <a:pt x="46159" y="47462"/>
                    </a:lnTo>
                    <a:lnTo>
                      <a:pt x="50052" y="37708"/>
                    </a:lnTo>
                    <a:lnTo>
                      <a:pt x="56551" y="30557"/>
                    </a:lnTo>
                    <a:lnTo>
                      <a:pt x="57212" y="18209"/>
                    </a:lnTo>
                    <a:lnTo>
                      <a:pt x="44213" y="1299"/>
                    </a:lnTo>
                    <a:lnTo>
                      <a:pt x="34463" y="3902"/>
                    </a:lnTo>
                    <a:lnTo>
                      <a:pt x="2991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7213" tIns="474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3" name="shp_Region_Belize_$2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5E77D7E8-6101-7B7B-5B6A-DD0033249C2D}"/>
                  </a:ext>
                </a:extLst>
              </p:cNvPr>
              <p:cNvSpPr/>
              <p:nvPr/>
            </p:nvSpPr>
            <p:spPr>
              <a:xfrm>
                <a:off x="2693802" y="2447548"/>
                <a:ext cx="9751" cy="11058"/>
              </a:xfrm>
              <a:custGeom>
                <a:avLst/>
                <a:gdLst/>
                <a:ahLst/>
                <a:cxnLst/>
                <a:rect l="0" t="0" r="0" b="0"/>
                <a:pathLst>
                  <a:path w="9751" h="11058">
                    <a:moveTo>
                      <a:pt x="9750" y="0"/>
                    </a:moveTo>
                    <a:lnTo>
                      <a:pt x="0" y="6504"/>
                    </a:lnTo>
                    <a:lnTo>
                      <a:pt x="5214" y="11057"/>
                    </a:lnTo>
                    <a:lnTo>
                      <a:pt x="975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51" tIns="110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4" name="shp_Region_Belize_$2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A2468090-7CA3-0E20-2039-5FA046280A00}"/>
                  </a:ext>
                </a:extLst>
              </p:cNvPr>
              <p:cNvSpPr/>
              <p:nvPr/>
            </p:nvSpPr>
            <p:spPr>
              <a:xfrm>
                <a:off x="2700963" y="2454052"/>
                <a:ext cx="14946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14946" h="17554">
                    <a:moveTo>
                      <a:pt x="14302" y="0"/>
                    </a:moveTo>
                    <a:lnTo>
                      <a:pt x="0" y="11700"/>
                    </a:lnTo>
                    <a:lnTo>
                      <a:pt x="7803" y="17553"/>
                    </a:lnTo>
                    <a:lnTo>
                      <a:pt x="14945" y="9102"/>
                    </a:lnTo>
                    <a:lnTo>
                      <a:pt x="1430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6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5" name="shp_Region_Belize_$2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69D7166-631E-5BA3-F841-14168A2006E6}"/>
                  </a:ext>
                </a:extLst>
              </p:cNvPr>
              <p:cNvSpPr/>
              <p:nvPr/>
            </p:nvSpPr>
            <p:spPr>
              <a:xfrm>
                <a:off x="2694463" y="2478104"/>
                <a:ext cx="16250" cy="14304"/>
              </a:xfrm>
              <a:custGeom>
                <a:avLst/>
                <a:gdLst/>
                <a:ahLst/>
                <a:cxnLst/>
                <a:rect l="0" t="0" r="0" b="0"/>
                <a:pathLst>
                  <a:path w="16250" h="14304">
                    <a:moveTo>
                      <a:pt x="16249" y="0"/>
                    </a:moveTo>
                    <a:lnTo>
                      <a:pt x="7803" y="0"/>
                    </a:lnTo>
                    <a:lnTo>
                      <a:pt x="643" y="5201"/>
                    </a:lnTo>
                    <a:lnTo>
                      <a:pt x="0" y="13004"/>
                    </a:lnTo>
                    <a:lnTo>
                      <a:pt x="7803" y="14303"/>
                    </a:lnTo>
                    <a:lnTo>
                      <a:pt x="16249" y="4558"/>
                    </a:lnTo>
                    <a:lnTo>
                      <a:pt x="162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0" tIns="143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6" name="shp_Region_Belize_$2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A60DBFE-BFE0-9D17-FE72-2199C22FC98D}"/>
                  </a:ext>
                </a:extLst>
              </p:cNvPr>
              <p:cNvSpPr/>
              <p:nvPr/>
            </p:nvSpPr>
            <p:spPr>
              <a:xfrm>
                <a:off x="2697052" y="2495661"/>
                <a:ext cx="1300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12353">
                    <a:moveTo>
                      <a:pt x="13000" y="0"/>
                    </a:moveTo>
                    <a:lnTo>
                      <a:pt x="0" y="5201"/>
                    </a:lnTo>
                    <a:lnTo>
                      <a:pt x="0" y="12352"/>
                    </a:lnTo>
                    <a:lnTo>
                      <a:pt x="7803" y="11700"/>
                    </a:lnTo>
                    <a:lnTo>
                      <a:pt x="130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1" tIns="123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7" name="shp_Region_Belize_$2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A0936F5-76AC-CF92-4529-2D3050CAB736}"/>
                  </a:ext>
                </a:extLst>
              </p:cNvPr>
              <p:cNvSpPr/>
              <p:nvPr/>
            </p:nvSpPr>
            <p:spPr>
              <a:xfrm>
                <a:off x="3253558" y="2505411"/>
                <a:ext cx="95568" cy="288655"/>
              </a:xfrm>
              <a:custGeom>
                <a:avLst/>
                <a:gdLst/>
                <a:ahLst/>
                <a:cxnLst/>
                <a:rect l="0" t="0" r="0" b="0"/>
                <a:pathLst>
                  <a:path w="95568" h="288655">
                    <a:moveTo>
                      <a:pt x="68925" y="248348"/>
                    </a:moveTo>
                    <a:lnTo>
                      <a:pt x="76728" y="263950"/>
                    </a:lnTo>
                    <a:lnTo>
                      <a:pt x="72175" y="267852"/>
                    </a:lnTo>
                    <a:lnTo>
                      <a:pt x="62425" y="267200"/>
                    </a:lnTo>
                    <a:lnTo>
                      <a:pt x="57872" y="284752"/>
                    </a:lnTo>
                    <a:lnTo>
                      <a:pt x="76728" y="284752"/>
                    </a:lnTo>
                    <a:lnTo>
                      <a:pt x="74764" y="276302"/>
                    </a:lnTo>
                    <a:lnTo>
                      <a:pt x="79978" y="261999"/>
                    </a:lnTo>
                    <a:lnTo>
                      <a:pt x="86478" y="254843"/>
                    </a:lnTo>
                    <a:lnTo>
                      <a:pt x="94281" y="239250"/>
                    </a:lnTo>
                    <a:lnTo>
                      <a:pt x="95567" y="218443"/>
                    </a:lnTo>
                    <a:lnTo>
                      <a:pt x="92977" y="209341"/>
                    </a:lnTo>
                    <a:lnTo>
                      <a:pt x="84513" y="197636"/>
                    </a:lnTo>
                    <a:lnTo>
                      <a:pt x="81924" y="175535"/>
                    </a:lnTo>
                    <a:lnTo>
                      <a:pt x="65675" y="139778"/>
                    </a:lnTo>
                    <a:lnTo>
                      <a:pt x="65675" y="134573"/>
                    </a:lnTo>
                    <a:lnTo>
                      <a:pt x="58515" y="120274"/>
                    </a:lnTo>
                    <a:lnTo>
                      <a:pt x="58515" y="99463"/>
                    </a:lnTo>
                    <a:lnTo>
                      <a:pt x="53319" y="94919"/>
                    </a:lnTo>
                    <a:lnTo>
                      <a:pt x="48766" y="82567"/>
                    </a:lnTo>
                    <a:lnTo>
                      <a:pt x="46819" y="65010"/>
                    </a:lnTo>
                    <a:lnTo>
                      <a:pt x="36409" y="51359"/>
                    </a:lnTo>
                    <a:lnTo>
                      <a:pt x="36409" y="32507"/>
                    </a:lnTo>
                    <a:lnTo>
                      <a:pt x="42266" y="23405"/>
                    </a:lnTo>
                    <a:lnTo>
                      <a:pt x="42266" y="14954"/>
                    </a:lnTo>
                    <a:lnTo>
                      <a:pt x="54622" y="5200"/>
                    </a:lnTo>
                    <a:lnTo>
                      <a:pt x="50069" y="647"/>
                    </a:lnTo>
                    <a:lnTo>
                      <a:pt x="41605" y="7151"/>
                    </a:lnTo>
                    <a:lnTo>
                      <a:pt x="25356" y="0"/>
                    </a:lnTo>
                    <a:lnTo>
                      <a:pt x="21463" y="3901"/>
                    </a:lnTo>
                    <a:lnTo>
                      <a:pt x="16910" y="16905"/>
                    </a:lnTo>
                    <a:lnTo>
                      <a:pt x="9107" y="23405"/>
                    </a:lnTo>
                    <a:lnTo>
                      <a:pt x="12357" y="28605"/>
                    </a:lnTo>
                    <a:lnTo>
                      <a:pt x="7803" y="40953"/>
                    </a:lnTo>
                    <a:lnTo>
                      <a:pt x="0" y="46814"/>
                    </a:lnTo>
                    <a:lnTo>
                      <a:pt x="11714" y="52658"/>
                    </a:lnTo>
                    <a:lnTo>
                      <a:pt x="21463" y="48109"/>
                    </a:lnTo>
                    <a:lnTo>
                      <a:pt x="31213" y="52658"/>
                    </a:lnTo>
                    <a:lnTo>
                      <a:pt x="30570" y="61113"/>
                    </a:lnTo>
                    <a:lnTo>
                      <a:pt x="37070" y="66313"/>
                    </a:lnTo>
                    <a:lnTo>
                      <a:pt x="37070" y="78670"/>
                    </a:lnTo>
                    <a:lnTo>
                      <a:pt x="34463" y="91669"/>
                    </a:lnTo>
                    <a:lnTo>
                      <a:pt x="49408" y="104021"/>
                    </a:lnTo>
                    <a:lnTo>
                      <a:pt x="52658" y="109864"/>
                    </a:lnTo>
                    <a:lnTo>
                      <a:pt x="50712" y="123524"/>
                    </a:lnTo>
                    <a:lnTo>
                      <a:pt x="46158" y="131323"/>
                    </a:lnTo>
                    <a:lnTo>
                      <a:pt x="50069" y="141077"/>
                    </a:lnTo>
                    <a:lnTo>
                      <a:pt x="43569" y="146278"/>
                    </a:lnTo>
                    <a:lnTo>
                      <a:pt x="24713" y="145630"/>
                    </a:lnTo>
                    <a:lnTo>
                      <a:pt x="24052" y="157331"/>
                    </a:lnTo>
                    <a:lnTo>
                      <a:pt x="33159" y="163178"/>
                    </a:lnTo>
                    <a:lnTo>
                      <a:pt x="33159" y="182035"/>
                    </a:lnTo>
                    <a:lnTo>
                      <a:pt x="26017" y="200239"/>
                    </a:lnTo>
                    <a:lnTo>
                      <a:pt x="26017" y="211939"/>
                    </a:lnTo>
                    <a:lnTo>
                      <a:pt x="23410" y="221693"/>
                    </a:lnTo>
                    <a:lnTo>
                      <a:pt x="31213" y="232742"/>
                    </a:lnTo>
                    <a:lnTo>
                      <a:pt x="31856" y="242496"/>
                    </a:lnTo>
                    <a:lnTo>
                      <a:pt x="14964" y="256798"/>
                    </a:lnTo>
                    <a:lnTo>
                      <a:pt x="16267" y="269802"/>
                    </a:lnTo>
                    <a:lnTo>
                      <a:pt x="11053" y="275650"/>
                    </a:lnTo>
                    <a:lnTo>
                      <a:pt x="7803" y="287355"/>
                    </a:lnTo>
                    <a:lnTo>
                      <a:pt x="15606" y="288654"/>
                    </a:lnTo>
                    <a:lnTo>
                      <a:pt x="29909" y="256147"/>
                    </a:lnTo>
                    <a:lnTo>
                      <a:pt x="50712" y="248348"/>
                    </a:lnTo>
                    <a:lnTo>
                      <a:pt x="53319" y="241197"/>
                    </a:lnTo>
                    <a:lnTo>
                      <a:pt x="61122" y="241197"/>
                    </a:lnTo>
                    <a:lnTo>
                      <a:pt x="68925" y="248348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5568" tIns="2886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8" name="shp_Region_Belize_$2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54BF554-0188-A38A-1FB0-3B66629DD108}"/>
                  </a:ext>
                </a:extLst>
              </p:cNvPr>
              <p:cNvSpPr/>
              <p:nvPr/>
            </p:nvSpPr>
            <p:spPr>
              <a:xfrm>
                <a:off x="2684714" y="2513857"/>
                <a:ext cx="27303" cy="46815"/>
              </a:xfrm>
              <a:custGeom>
                <a:avLst/>
                <a:gdLst/>
                <a:ahLst/>
                <a:cxnLst/>
                <a:rect l="0" t="0" r="0" b="0"/>
                <a:pathLst>
                  <a:path w="27303" h="46815">
                    <a:moveTo>
                      <a:pt x="18195" y="0"/>
                    </a:moveTo>
                    <a:lnTo>
                      <a:pt x="11035" y="7807"/>
                    </a:lnTo>
                    <a:lnTo>
                      <a:pt x="11035" y="17557"/>
                    </a:lnTo>
                    <a:lnTo>
                      <a:pt x="1285" y="36413"/>
                    </a:lnTo>
                    <a:lnTo>
                      <a:pt x="0" y="43569"/>
                    </a:lnTo>
                    <a:lnTo>
                      <a:pt x="7785" y="46814"/>
                    </a:lnTo>
                    <a:lnTo>
                      <a:pt x="14302" y="40314"/>
                    </a:lnTo>
                    <a:lnTo>
                      <a:pt x="18838" y="29261"/>
                    </a:lnTo>
                    <a:lnTo>
                      <a:pt x="27302" y="20811"/>
                    </a:lnTo>
                    <a:lnTo>
                      <a:pt x="1819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303" tIns="4681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299" name="shp_Region_Belize_$2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3E7D8EA-BCC5-FDBA-4D0E-AD32F09BE2A0}"/>
                  </a:ext>
                </a:extLst>
              </p:cNvPr>
              <p:cNvSpPr/>
              <p:nvPr/>
            </p:nvSpPr>
            <p:spPr>
              <a:xfrm>
                <a:off x="2696409" y="2587978"/>
                <a:ext cx="33803" cy="48757"/>
              </a:xfrm>
              <a:custGeom>
                <a:avLst/>
                <a:gdLst/>
                <a:ahLst/>
                <a:cxnLst/>
                <a:rect l="0" t="0" r="0" b="0"/>
                <a:pathLst>
                  <a:path w="33803" h="48757">
                    <a:moveTo>
                      <a:pt x="21446" y="0"/>
                    </a:moveTo>
                    <a:lnTo>
                      <a:pt x="9107" y="647"/>
                    </a:lnTo>
                    <a:lnTo>
                      <a:pt x="0" y="7151"/>
                    </a:lnTo>
                    <a:lnTo>
                      <a:pt x="0" y="18851"/>
                    </a:lnTo>
                    <a:lnTo>
                      <a:pt x="2607" y="40306"/>
                    </a:lnTo>
                    <a:lnTo>
                      <a:pt x="14303" y="48756"/>
                    </a:lnTo>
                    <a:lnTo>
                      <a:pt x="25356" y="45506"/>
                    </a:lnTo>
                    <a:lnTo>
                      <a:pt x="33802" y="35757"/>
                    </a:lnTo>
                    <a:lnTo>
                      <a:pt x="33802" y="27954"/>
                    </a:lnTo>
                    <a:lnTo>
                      <a:pt x="27945" y="18200"/>
                    </a:lnTo>
                    <a:lnTo>
                      <a:pt x="27945" y="6499"/>
                    </a:lnTo>
                    <a:lnTo>
                      <a:pt x="2144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3803" tIns="487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0" name="shp_Region_Belize_$3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5544C28-A496-C110-8236-A57C41111CB1}"/>
                  </a:ext>
                </a:extLst>
              </p:cNvPr>
              <p:cNvSpPr/>
              <p:nvPr/>
            </p:nvSpPr>
            <p:spPr>
              <a:xfrm>
                <a:off x="3251612" y="2611383"/>
                <a:ext cx="1494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9504">
                    <a:moveTo>
                      <a:pt x="11696" y="0"/>
                    </a:moveTo>
                    <a:lnTo>
                      <a:pt x="0" y="4549"/>
                    </a:lnTo>
                    <a:lnTo>
                      <a:pt x="11696" y="19503"/>
                    </a:lnTo>
                    <a:lnTo>
                      <a:pt x="14946" y="1950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7" tIns="195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1" name="shp_Region_Belize_$3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3EE4BD25-EFA6-C368-4B67-7E4E54899397}"/>
                  </a:ext>
                </a:extLst>
              </p:cNvPr>
              <p:cNvSpPr/>
              <p:nvPr/>
            </p:nvSpPr>
            <p:spPr>
              <a:xfrm>
                <a:off x="2410996" y="2645189"/>
                <a:ext cx="57873" cy="29910"/>
              </a:xfrm>
              <a:custGeom>
                <a:avLst/>
                <a:gdLst/>
                <a:ahLst/>
                <a:cxnLst/>
                <a:rect l="0" t="0" r="0" b="0"/>
                <a:pathLst>
                  <a:path w="57873" h="29910">
                    <a:moveTo>
                      <a:pt x="0" y="0"/>
                    </a:moveTo>
                    <a:lnTo>
                      <a:pt x="3250" y="7799"/>
                    </a:lnTo>
                    <a:lnTo>
                      <a:pt x="10410" y="13651"/>
                    </a:lnTo>
                    <a:lnTo>
                      <a:pt x="22106" y="13651"/>
                    </a:lnTo>
                    <a:lnTo>
                      <a:pt x="30570" y="29909"/>
                    </a:lnTo>
                    <a:lnTo>
                      <a:pt x="41623" y="29248"/>
                    </a:lnTo>
                    <a:lnTo>
                      <a:pt x="57872" y="18200"/>
                    </a:lnTo>
                    <a:lnTo>
                      <a:pt x="57872" y="14303"/>
                    </a:lnTo>
                    <a:lnTo>
                      <a:pt x="37712" y="20151"/>
                    </a:lnTo>
                    <a:lnTo>
                      <a:pt x="28606" y="12352"/>
                    </a:lnTo>
                    <a:lnTo>
                      <a:pt x="11714" y="11048"/>
                    </a:lnTo>
                    <a:lnTo>
                      <a:pt x="10410" y="58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7873" tIns="299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2" name="shp_Region_Belize_$3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112E36A1-F6BF-FC66-1D96-30CC4C6EEDD8}"/>
                  </a:ext>
                </a:extLst>
              </p:cNvPr>
              <p:cNvSpPr/>
              <p:nvPr/>
            </p:nvSpPr>
            <p:spPr>
              <a:xfrm>
                <a:off x="3037730" y="2678343"/>
                <a:ext cx="1039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0394" h="7805">
                    <a:moveTo>
                      <a:pt x="10393" y="0"/>
                    </a:moveTo>
                    <a:lnTo>
                      <a:pt x="0" y="1956"/>
                    </a:lnTo>
                    <a:lnTo>
                      <a:pt x="3250" y="7804"/>
                    </a:lnTo>
                    <a:lnTo>
                      <a:pt x="1039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394" tIns="7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3" name="shp_Region_Belize_$3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7870B3B2-E7E9-3D01-53DC-3B402EB27A77}"/>
                  </a:ext>
                </a:extLst>
              </p:cNvPr>
              <p:cNvSpPr/>
              <p:nvPr/>
            </p:nvSpPr>
            <p:spPr>
              <a:xfrm>
                <a:off x="3100781" y="2708900"/>
                <a:ext cx="1235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2357" h="14955">
                    <a:moveTo>
                      <a:pt x="11713" y="0"/>
                    </a:moveTo>
                    <a:lnTo>
                      <a:pt x="0" y="7151"/>
                    </a:lnTo>
                    <a:lnTo>
                      <a:pt x="2607" y="14954"/>
                    </a:lnTo>
                    <a:lnTo>
                      <a:pt x="12356" y="3901"/>
                    </a:lnTo>
                    <a:lnTo>
                      <a:pt x="1171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57" tIns="149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4" name="shp_Region_Belize_$3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8204DBF-C14B-E5D3-58C9-1DED97FB2480}"/>
                  </a:ext>
                </a:extLst>
              </p:cNvPr>
              <p:cNvSpPr/>
              <p:nvPr/>
            </p:nvSpPr>
            <p:spPr>
              <a:xfrm>
                <a:off x="3170348" y="2749862"/>
                <a:ext cx="11054" cy="1169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697">
                    <a:moveTo>
                      <a:pt x="5197" y="0"/>
                    </a:moveTo>
                    <a:lnTo>
                      <a:pt x="643" y="1294"/>
                    </a:lnTo>
                    <a:lnTo>
                      <a:pt x="0" y="11696"/>
                    </a:lnTo>
                    <a:lnTo>
                      <a:pt x="11053" y="6495"/>
                    </a:lnTo>
                    <a:lnTo>
                      <a:pt x="519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16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5" name="shp_Region_Belize_$3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546B7DB-FC53-B36F-CE26-C89285933E53}"/>
                  </a:ext>
                </a:extLst>
              </p:cNvPr>
              <p:cNvSpPr/>
              <p:nvPr/>
            </p:nvSpPr>
            <p:spPr>
              <a:xfrm>
                <a:off x="3091674" y="2763508"/>
                <a:ext cx="9768" cy="13010"/>
              </a:xfrm>
              <a:custGeom>
                <a:avLst/>
                <a:gdLst/>
                <a:ahLst/>
                <a:cxnLst/>
                <a:rect l="0" t="0" r="0" b="0"/>
                <a:pathLst>
                  <a:path w="9768" h="13010">
                    <a:moveTo>
                      <a:pt x="9767" y="0"/>
                    </a:moveTo>
                    <a:lnTo>
                      <a:pt x="0" y="13009"/>
                    </a:lnTo>
                    <a:lnTo>
                      <a:pt x="8464" y="13009"/>
                    </a:lnTo>
                    <a:lnTo>
                      <a:pt x="976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68" tIns="130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6" name="shp_Region_Belize_$3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A0EC1618-0FAD-EC8C-B1D8-ADBF74E6B6B0}"/>
                  </a:ext>
                </a:extLst>
              </p:cNvPr>
              <p:cNvSpPr/>
              <p:nvPr/>
            </p:nvSpPr>
            <p:spPr>
              <a:xfrm>
                <a:off x="3179455" y="2799913"/>
                <a:ext cx="12340" cy="8456"/>
              </a:xfrm>
              <a:custGeom>
                <a:avLst/>
                <a:gdLst/>
                <a:ahLst/>
                <a:cxnLst/>
                <a:rect l="0" t="0" r="0" b="0"/>
                <a:pathLst>
                  <a:path w="12340" h="8456">
                    <a:moveTo>
                      <a:pt x="12339" y="0"/>
                    </a:moveTo>
                    <a:lnTo>
                      <a:pt x="0" y="656"/>
                    </a:lnTo>
                    <a:lnTo>
                      <a:pt x="4553" y="8455"/>
                    </a:lnTo>
                    <a:lnTo>
                      <a:pt x="1233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40" tIns="84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7" name="shp_Region_Belize_$3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FC3F503E-B8F2-8546-CA2D-FE775A6A8FBF}"/>
                  </a:ext>
                </a:extLst>
              </p:cNvPr>
              <p:cNvSpPr/>
              <p:nvPr/>
            </p:nvSpPr>
            <p:spPr>
              <a:xfrm>
                <a:off x="3197008" y="2801216"/>
                <a:ext cx="68908" cy="75417"/>
              </a:xfrm>
              <a:custGeom>
                <a:avLst/>
                <a:gdLst/>
                <a:ahLst/>
                <a:cxnLst/>
                <a:rect l="0" t="0" r="0" b="0"/>
                <a:pathLst>
                  <a:path w="68908" h="75417">
                    <a:moveTo>
                      <a:pt x="21445" y="0"/>
                    </a:moveTo>
                    <a:lnTo>
                      <a:pt x="24052" y="14303"/>
                    </a:lnTo>
                    <a:lnTo>
                      <a:pt x="21445" y="19504"/>
                    </a:lnTo>
                    <a:lnTo>
                      <a:pt x="33159" y="24704"/>
                    </a:lnTo>
                    <a:lnTo>
                      <a:pt x="21445" y="31208"/>
                    </a:lnTo>
                    <a:lnTo>
                      <a:pt x="20802" y="40958"/>
                    </a:lnTo>
                    <a:lnTo>
                      <a:pt x="13642" y="40958"/>
                    </a:lnTo>
                    <a:lnTo>
                      <a:pt x="9089" y="33802"/>
                    </a:lnTo>
                    <a:lnTo>
                      <a:pt x="8446" y="24057"/>
                    </a:lnTo>
                    <a:lnTo>
                      <a:pt x="0" y="29262"/>
                    </a:lnTo>
                    <a:lnTo>
                      <a:pt x="3892" y="39663"/>
                    </a:lnTo>
                    <a:lnTo>
                      <a:pt x="2589" y="46159"/>
                    </a:lnTo>
                    <a:lnTo>
                      <a:pt x="12999" y="46810"/>
                    </a:lnTo>
                    <a:lnTo>
                      <a:pt x="18856" y="52658"/>
                    </a:lnTo>
                    <a:lnTo>
                      <a:pt x="26659" y="53962"/>
                    </a:lnTo>
                    <a:lnTo>
                      <a:pt x="31194" y="63064"/>
                    </a:lnTo>
                    <a:lnTo>
                      <a:pt x="22106" y="72166"/>
                    </a:lnTo>
                    <a:lnTo>
                      <a:pt x="12356" y="67613"/>
                    </a:lnTo>
                    <a:lnTo>
                      <a:pt x="643" y="68264"/>
                    </a:lnTo>
                    <a:lnTo>
                      <a:pt x="3250" y="75416"/>
                    </a:lnTo>
                    <a:lnTo>
                      <a:pt x="11053" y="70215"/>
                    </a:lnTo>
                    <a:lnTo>
                      <a:pt x="22106" y="75416"/>
                    </a:lnTo>
                    <a:lnTo>
                      <a:pt x="30552" y="67613"/>
                    </a:lnTo>
                    <a:lnTo>
                      <a:pt x="35748" y="67613"/>
                    </a:lnTo>
                    <a:lnTo>
                      <a:pt x="41605" y="59814"/>
                    </a:lnTo>
                    <a:lnTo>
                      <a:pt x="57854" y="32508"/>
                    </a:lnTo>
                    <a:lnTo>
                      <a:pt x="64353" y="26655"/>
                    </a:lnTo>
                    <a:lnTo>
                      <a:pt x="63710" y="17553"/>
                    </a:lnTo>
                    <a:lnTo>
                      <a:pt x="68907" y="7152"/>
                    </a:lnTo>
                    <a:lnTo>
                      <a:pt x="51354" y="3902"/>
                    </a:lnTo>
                    <a:lnTo>
                      <a:pt x="28605" y="7152"/>
                    </a:lnTo>
                    <a:lnTo>
                      <a:pt x="2144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908" tIns="754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8" name="shp_Region_Belize_$3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C72EF37D-7FC3-08C4-1901-55928C371546}"/>
                  </a:ext>
                </a:extLst>
              </p:cNvPr>
              <p:cNvSpPr/>
              <p:nvPr/>
            </p:nvSpPr>
            <p:spPr>
              <a:xfrm>
                <a:off x="2654144" y="2812269"/>
                <a:ext cx="26660" cy="87773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87773">
                    <a:moveTo>
                      <a:pt x="22106" y="0"/>
                    </a:moveTo>
                    <a:lnTo>
                      <a:pt x="8464" y="3902"/>
                    </a:lnTo>
                    <a:lnTo>
                      <a:pt x="0" y="13004"/>
                    </a:lnTo>
                    <a:lnTo>
                      <a:pt x="660" y="20807"/>
                    </a:lnTo>
                    <a:lnTo>
                      <a:pt x="7803" y="35757"/>
                    </a:lnTo>
                    <a:lnTo>
                      <a:pt x="9749" y="48761"/>
                    </a:lnTo>
                    <a:lnTo>
                      <a:pt x="9106" y="59810"/>
                    </a:lnTo>
                    <a:lnTo>
                      <a:pt x="5214" y="66314"/>
                    </a:lnTo>
                    <a:lnTo>
                      <a:pt x="3910" y="81911"/>
                    </a:lnTo>
                    <a:lnTo>
                      <a:pt x="9106" y="87772"/>
                    </a:lnTo>
                    <a:lnTo>
                      <a:pt x="20159" y="76715"/>
                    </a:lnTo>
                    <a:lnTo>
                      <a:pt x="18856" y="59162"/>
                    </a:lnTo>
                    <a:lnTo>
                      <a:pt x="21463" y="55913"/>
                    </a:lnTo>
                    <a:lnTo>
                      <a:pt x="23409" y="40958"/>
                    </a:lnTo>
                    <a:lnTo>
                      <a:pt x="26659" y="31856"/>
                    </a:lnTo>
                    <a:lnTo>
                      <a:pt x="22766" y="13651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0" tIns="8777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09" name="shp_Region_Belize_$3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28B14F29-E8EB-E289-2B8A-3E7BD1F1C934}"/>
                  </a:ext>
                </a:extLst>
              </p:cNvPr>
              <p:cNvSpPr/>
              <p:nvPr/>
            </p:nvSpPr>
            <p:spPr>
              <a:xfrm>
                <a:off x="3187258" y="2822671"/>
                <a:ext cx="128066" cy="93621"/>
              </a:xfrm>
              <a:custGeom>
                <a:avLst/>
                <a:gdLst/>
                <a:ahLst/>
                <a:cxnLst/>
                <a:rect l="0" t="0" r="0" b="0"/>
                <a:pathLst>
                  <a:path w="128066" h="93621">
                    <a:moveTo>
                      <a:pt x="119619" y="0"/>
                    </a:moveTo>
                    <a:lnTo>
                      <a:pt x="105316" y="7807"/>
                    </a:lnTo>
                    <a:lnTo>
                      <a:pt x="95566" y="19503"/>
                    </a:lnTo>
                    <a:lnTo>
                      <a:pt x="98816" y="23409"/>
                    </a:lnTo>
                    <a:lnTo>
                      <a:pt x="95566" y="31203"/>
                    </a:lnTo>
                    <a:lnTo>
                      <a:pt x="96209" y="44863"/>
                    </a:lnTo>
                    <a:lnTo>
                      <a:pt x="87763" y="55260"/>
                    </a:lnTo>
                    <a:lnTo>
                      <a:pt x="84514" y="63710"/>
                    </a:lnTo>
                    <a:lnTo>
                      <a:pt x="74103" y="58510"/>
                    </a:lnTo>
                    <a:lnTo>
                      <a:pt x="76710" y="51358"/>
                    </a:lnTo>
                    <a:lnTo>
                      <a:pt x="66300" y="47461"/>
                    </a:lnTo>
                    <a:lnTo>
                      <a:pt x="60461" y="63710"/>
                    </a:lnTo>
                    <a:lnTo>
                      <a:pt x="51997" y="65014"/>
                    </a:lnTo>
                    <a:lnTo>
                      <a:pt x="40302" y="59162"/>
                    </a:lnTo>
                    <a:lnTo>
                      <a:pt x="20142" y="61760"/>
                    </a:lnTo>
                    <a:lnTo>
                      <a:pt x="5839" y="60461"/>
                    </a:lnTo>
                    <a:lnTo>
                      <a:pt x="0" y="68911"/>
                    </a:lnTo>
                    <a:lnTo>
                      <a:pt x="1947" y="74768"/>
                    </a:lnTo>
                    <a:lnTo>
                      <a:pt x="9750" y="74768"/>
                    </a:lnTo>
                    <a:lnTo>
                      <a:pt x="18839" y="80616"/>
                    </a:lnTo>
                    <a:lnTo>
                      <a:pt x="23392" y="93620"/>
                    </a:lnTo>
                    <a:lnTo>
                      <a:pt x="49408" y="92316"/>
                    </a:lnTo>
                    <a:lnTo>
                      <a:pt x="51997" y="82567"/>
                    </a:lnTo>
                    <a:lnTo>
                      <a:pt x="63711" y="67612"/>
                    </a:lnTo>
                    <a:lnTo>
                      <a:pt x="71514" y="67612"/>
                    </a:lnTo>
                    <a:lnTo>
                      <a:pt x="79960" y="72170"/>
                    </a:lnTo>
                    <a:lnTo>
                      <a:pt x="87763" y="70857"/>
                    </a:lnTo>
                    <a:lnTo>
                      <a:pt x="95566" y="61112"/>
                    </a:lnTo>
                    <a:lnTo>
                      <a:pt x="96870" y="47461"/>
                    </a:lnTo>
                    <a:lnTo>
                      <a:pt x="101406" y="42908"/>
                    </a:lnTo>
                    <a:lnTo>
                      <a:pt x="109869" y="43560"/>
                    </a:lnTo>
                    <a:lnTo>
                      <a:pt x="115708" y="23409"/>
                    </a:lnTo>
                    <a:lnTo>
                      <a:pt x="126761" y="20155"/>
                    </a:lnTo>
                    <a:lnTo>
                      <a:pt x="128065" y="13008"/>
                    </a:lnTo>
                    <a:lnTo>
                      <a:pt x="121565" y="9102"/>
                    </a:lnTo>
                    <a:lnTo>
                      <a:pt x="11961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8066" tIns="9362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0" name="shp_Region_Belize_$4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60C9C6B7-3D78-ADE2-A35E-C1A33C5AD70C}"/>
                  </a:ext>
                </a:extLst>
              </p:cNvPr>
              <p:cNvSpPr/>
              <p:nvPr/>
            </p:nvSpPr>
            <p:spPr>
              <a:xfrm>
                <a:off x="2990912" y="2830478"/>
                <a:ext cx="86478" cy="272397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272397">
                    <a:moveTo>
                      <a:pt x="21463" y="78661"/>
                    </a:moveTo>
                    <a:lnTo>
                      <a:pt x="14302" y="68907"/>
                    </a:lnTo>
                    <a:lnTo>
                      <a:pt x="11052" y="59162"/>
                    </a:lnTo>
                    <a:lnTo>
                      <a:pt x="14963" y="53305"/>
                    </a:lnTo>
                    <a:lnTo>
                      <a:pt x="20159" y="35753"/>
                    </a:lnTo>
                    <a:lnTo>
                      <a:pt x="33158" y="35753"/>
                    </a:lnTo>
                    <a:lnTo>
                      <a:pt x="41604" y="46154"/>
                    </a:lnTo>
                    <a:lnTo>
                      <a:pt x="52015" y="52006"/>
                    </a:lnTo>
                    <a:lnTo>
                      <a:pt x="43569" y="70206"/>
                    </a:lnTo>
                    <a:lnTo>
                      <a:pt x="52015" y="68907"/>
                    </a:lnTo>
                    <a:lnTo>
                      <a:pt x="58514" y="61756"/>
                    </a:lnTo>
                    <a:lnTo>
                      <a:pt x="61121" y="40953"/>
                    </a:lnTo>
                    <a:lnTo>
                      <a:pt x="57871" y="24048"/>
                    </a:lnTo>
                    <a:lnTo>
                      <a:pt x="48765" y="15602"/>
                    </a:lnTo>
                    <a:lnTo>
                      <a:pt x="47461" y="0"/>
                    </a:lnTo>
                    <a:lnTo>
                      <a:pt x="39658" y="2598"/>
                    </a:lnTo>
                    <a:lnTo>
                      <a:pt x="25998" y="27298"/>
                    </a:lnTo>
                    <a:lnTo>
                      <a:pt x="19498" y="21450"/>
                    </a:lnTo>
                    <a:lnTo>
                      <a:pt x="3249" y="33802"/>
                    </a:lnTo>
                    <a:lnTo>
                      <a:pt x="4553" y="46806"/>
                    </a:lnTo>
                    <a:lnTo>
                      <a:pt x="0" y="53305"/>
                    </a:lnTo>
                    <a:lnTo>
                      <a:pt x="0" y="66309"/>
                    </a:lnTo>
                    <a:lnTo>
                      <a:pt x="5856" y="78009"/>
                    </a:lnTo>
                    <a:lnTo>
                      <a:pt x="5196" y="95558"/>
                    </a:lnTo>
                    <a:lnTo>
                      <a:pt x="9106" y="115717"/>
                    </a:lnTo>
                    <a:lnTo>
                      <a:pt x="14963" y="126770"/>
                    </a:lnTo>
                    <a:lnTo>
                      <a:pt x="20802" y="146921"/>
                    </a:lnTo>
                    <a:lnTo>
                      <a:pt x="20159" y="161224"/>
                    </a:lnTo>
                    <a:lnTo>
                      <a:pt x="29909" y="174879"/>
                    </a:lnTo>
                    <a:lnTo>
                      <a:pt x="37051" y="176830"/>
                    </a:lnTo>
                    <a:lnTo>
                      <a:pt x="44854" y="188530"/>
                    </a:lnTo>
                    <a:lnTo>
                      <a:pt x="55907" y="187236"/>
                    </a:lnTo>
                    <a:lnTo>
                      <a:pt x="58514" y="195682"/>
                    </a:lnTo>
                    <a:lnTo>
                      <a:pt x="65014" y="204132"/>
                    </a:lnTo>
                    <a:lnTo>
                      <a:pt x="58514" y="212587"/>
                    </a:lnTo>
                    <a:lnTo>
                      <a:pt x="65014" y="217788"/>
                    </a:lnTo>
                    <a:lnTo>
                      <a:pt x="61764" y="230787"/>
                    </a:lnTo>
                    <a:lnTo>
                      <a:pt x="68907" y="239242"/>
                    </a:lnTo>
                    <a:lnTo>
                      <a:pt x="68907" y="252241"/>
                    </a:lnTo>
                    <a:lnTo>
                      <a:pt x="77370" y="267847"/>
                    </a:lnTo>
                    <a:lnTo>
                      <a:pt x="86477" y="272396"/>
                    </a:lnTo>
                    <a:lnTo>
                      <a:pt x="81263" y="255495"/>
                    </a:lnTo>
                    <a:lnTo>
                      <a:pt x="81263" y="242492"/>
                    </a:lnTo>
                    <a:lnTo>
                      <a:pt x="75424" y="233389"/>
                    </a:lnTo>
                    <a:lnTo>
                      <a:pt x="85816" y="224292"/>
                    </a:lnTo>
                    <a:lnTo>
                      <a:pt x="81924" y="213886"/>
                    </a:lnTo>
                    <a:lnTo>
                      <a:pt x="69567" y="208685"/>
                    </a:lnTo>
                    <a:lnTo>
                      <a:pt x="63710" y="198931"/>
                    </a:lnTo>
                    <a:lnTo>
                      <a:pt x="73460" y="185932"/>
                    </a:lnTo>
                    <a:lnTo>
                      <a:pt x="62407" y="175527"/>
                    </a:lnTo>
                    <a:lnTo>
                      <a:pt x="52657" y="174879"/>
                    </a:lnTo>
                    <a:lnTo>
                      <a:pt x="53318" y="159268"/>
                    </a:lnTo>
                    <a:lnTo>
                      <a:pt x="61764" y="154068"/>
                    </a:lnTo>
                    <a:lnTo>
                      <a:pt x="71513" y="159920"/>
                    </a:lnTo>
                    <a:lnTo>
                      <a:pt x="68264" y="141720"/>
                    </a:lnTo>
                    <a:lnTo>
                      <a:pt x="57211" y="138470"/>
                    </a:lnTo>
                    <a:lnTo>
                      <a:pt x="44211" y="141073"/>
                    </a:lnTo>
                    <a:lnTo>
                      <a:pt x="41604" y="150822"/>
                    </a:lnTo>
                    <a:lnTo>
                      <a:pt x="33801" y="148872"/>
                    </a:lnTo>
                    <a:lnTo>
                      <a:pt x="35105" y="131971"/>
                    </a:lnTo>
                    <a:lnTo>
                      <a:pt x="27302" y="121570"/>
                    </a:lnTo>
                    <a:lnTo>
                      <a:pt x="23409" y="109218"/>
                    </a:lnTo>
                    <a:lnTo>
                      <a:pt x="38355" y="97513"/>
                    </a:lnTo>
                    <a:lnTo>
                      <a:pt x="39658" y="89062"/>
                    </a:lnTo>
                    <a:lnTo>
                      <a:pt x="24052" y="86460"/>
                    </a:lnTo>
                    <a:lnTo>
                      <a:pt x="21463" y="7866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6478" tIns="27239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1" name="shp_Region_Belize_$41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0F214E22-06AC-DC86-C0E0-3BF58E09A69E}"/>
                  </a:ext>
                </a:extLst>
              </p:cNvPr>
              <p:cNvSpPr/>
              <p:nvPr/>
            </p:nvSpPr>
            <p:spPr>
              <a:xfrm>
                <a:off x="3137850" y="2870780"/>
                <a:ext cx="21446" cy="29262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29262">
                    <a:moveTo>
                      <a:pt x="16892" y="0"/>
                    </a:moveTo>
                    <a:lnTo>
                      <a:pt x="11696" y="2602"/>
                    </a:lnTo>
                    <a:lnTo>
                      <a:pt x="12339" y="12352"/>
                    </a:lnTo>
                    <a:lnTo>
                      <a:pt x="7143" y="13651"/>
                    </a:lnTo>
                    <a:lnTo>
                      <a:pt x="0" y="24061"/>
                    </a:lnTo>
                    <a:lnTo>
                      <a:pt x="3250" y="29261"/>
                    </a:lnTo>
                    <a:lnTo>
                      <a:pt x="20803" y="14954"/>
                    </a:lnTo>
                    <a:lnTo>
                      <a:pt x="21445" y="7151"/>
                    </a:lnTo>
                    <a:lnTo>
                      <a:pt x="1689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2926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2" name="shp_Region_Belize_$42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AC2B797D-AF58-C373-0365-BD54825EF7F8}"/>
                  </a:ext>
                </a:extLst>
              </p:cNvPr>
              <p:cNvSpPr/>
              <p:nvPr/>
            </p:nvSpPr>
            <p:spPr>
              <a:xfrm>
                <a:off x="3115084" y="2927991"/>
                <a:ext cx="86478" cy="137828"/>
              </a:xfrm>
              <a:custGeom>
                <a:avLst/>
                <a:gdLst/>
                <a:ahLst/>
                <a:cxnLst/>
                <a:rect l="0" t="0" r="0" b="0"/>
                <a:pathLst>
                  <a:path w="86478" h="137828">
                    <a:moveTo>
                      <a:pt x="36408" y="137827"/>
                    </a:moveTo>
                    <a:lnTo>
                      <a:pt x="49408" y="137827"/>
                    </a:lnTo>
                    <a:lnTo>
                      <a:pt x="55264" y="126118"/>
                    </a:lnTo>
                    <a:lnTo>
                      <a:pt x="68924" y="112471"/>
                    </a:lnTo>
                    <a:lnTo>
                      <a:pt x="65014" y="91017"/>
                    </a:lnTo>
                    <a:lnTo>
                      <a:pt x="56568" y="81263"/>
                    </a:lnTo>
                    <a:lnTo>
                      <a:pt x="65014" y="74764"/>
                    </a:lnTo>
                    <a:lnTo>
                      <a:pt x="67621" y="53961"/>
                    </a:lnTo>
                    <a:lnTo>
                      <a:pt x="76067" y="47457"/>
                    </a:lnTo>
                    <a:lnTo>
                      <a:pt x="73460" y="30561"/>
                    </a:lnTo>
                    <a:lnTo>
                      <a:pt x="86477" y="22753"/>
                    </a:lnTo>
                    <a:lnTo>
                      <a:pt x="86477" y="16901"/>
                    </a:lnTo>
                    <a:lnTo>
                      <a:pt x="72174" y="0"/>
                    </a:lnTo>
                    <a:lnTo>
                      <a:pt x="57871" y="7151"/>
                    </a:lnTo>
                    <a:lnTo>
                      <a:pt x="56568" y="15602"/>
                    </a:lnTo>
                    <a:lnTo>
                      <a:pt x="63068" y="24057"/>
                    </a:lnTo>
                    <a:lnTo>
                      <a:pt x="55907" y="35105"/>
                    </a:lnTo>
                    <a:lnTo>
                      <a:pt x="60461" y="48109"/>
                    </a:lnTo>
                    <a:lnTo>
                      <a:pt x="49408" y="53961"/>
                    </a:lnTo>
                    <a:lnTo>
                      <a:pt x="42908" y="51359"/>
                    </a:lnTo>
                    <a:lnTo>
                      <a:pt x="27302" y="53309"/>
                    </a:lnTo>
                    <a:lnTo>
                      <a:pt x="23409" y="50060"/>
                    </a:lnTo>
                    <a:lnTo>
                      <a:pt x="26016" y="37708"/>
                    </a:lnTo>
                    <a:lnTo>
                      <a:pt x="38355" y="37708"/>
                    </a:lnTo>
                    <a:lnTo>
                      <a:pt x="35765" y="29257"/>
                    </a:lnTo>
                    <a:lnTo>
                      <a:pt x="26659" y="29900"/>
                    </a:lnTo>
                    <a:lnTo>
                      <a:pt x="23409" y="20802"/>
                    </a:lnTo>
                    <a:lnTo>
                      <a:pt x="14963" y="24699"/>
                    </a:lnTo>
                    <a:lnTo>
                      <a:pt x="1946" y="26655"/>
                    </a:lnTo>
                    <a:lnTo>
                      <a:pt x="0" y="31855"/>
                    </a:lnTo>
                    <a:lnTo>
                      <a:pt x="8463" y="44207"/>
                    </a:lnTo>
                    <a:lnTo>
                      <a:pt x="5856" y="55260"/>
                    </a:lnTo>
                    <a:lnTo>
                      <a:pt x="14963" y="59162"/>
                    </a:lnTo>
                    <a:lnTo>
                      <a:pt x="14302" y="65666"/>
                    </a:lnTo>
                    <a:lnTo>
                      <a:pt x="3910" y="74764"/>
                    </a:lnTo>
                    <a:lnTo>
                      <a:pt x="11713" y="77366"/>
                    </a:lnTo>
                    <a:lnTo>
                      <a:pt x="18856" y="66313"/>
                    </a:lnTo>
                    <a:lnTo>
                      <a:pt x="30551" y="69563"/>
                    </a:lnTo>
                    <a:lnTo>
                      <a:pt x="40319" y="69563"/>
                    </a:lnTo>
                    <a:lnTo>
                      <a:pt x="39015" y="100124"/>
                    </a:lnTo>
                    <a:lnTo>
                      <a:pt x="47461" y="110516"/>
                    </a:lnTo>
                    <a:lnTo>
                      <a:pt x="36408" y="137827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6478" tIns="13782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3" name="shp_Region_Belize_$43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1056082-442C-12F3-5F14-0B32A4A4E8B6}"/>
                  </a:ext>
                </a:extLst>
              </p:cNvPr>
              <p:cNvSpPr/>
              <p:nvPr/>
            </p:nvSpPr>
            <p:spPr>
              <a:xfrm>
                <a:off x="3099477" y="2936441"/>
                <a:ext cx="13018" cy="20808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20808">
                    <a:moveTo>
                      <a:pt x="0" y="0"/>
                    </a:moveTo>
                    <a:lnTo>
                      <a:pt x="1964" y="20807"/>
                    </a:lnTo>
                    <a:lnTo>
                      <a:pt x="11053" y="12352"/>
                    </a:lnTo>
                    <a:lnTo>
                      <a:pt x="13017" y="32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18" tIns="2080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4" name="shp_Region_Belize_$44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E27AC7D9-FBBA-EEED-5B04-CA2264805018}"/>
                  </a:ext>
                </a:extLst>
              </p:cNvPr>
              <p:cNvSpPr/>
              <p:nvPr/>
            </p:nvSpPr>
            <p:spPr>
              <a:xfrm>
                <a:off x="2654804" y="2949445"/>
                <a:ext cx="11697" cy="39660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39660">
                    <a:moveTo>
                      <a:pt x="11696" y="0"/>
                    </a:moveTo>
                    <a:lnTo>
                      <a:pt x="2590" y="7151"/>
                    </a:lnTo>
                    <a:lnTo>
                      <a:pt x="6500" y="18204"/>
                    </a:lnTo>
                    <a:lnTo>
                      <a:pt x="0" y="37708"/>
                    </a:lnTo>
                    <a:lnTo>
                      <a:pt x="7804" y="39659"/>
                    </a:lnTo>
                    <a:lnTo>
                      <a:pt x="11696" y="27954"/>
                    </a:lnTo>
                    <a:lnTo>
                      <a:pt x="10393" y="17553"/>
                    </a:lnTo>
                    <a:lnTo>
                      <a:pt x="1169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396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5" name="shp_Region_Belize_$45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DA1F3375-9CAD-4B80-1DCF-476D5CE80D19}"/>
                  </a:ext>
                </a:extLst>
              </p:cNvPr>
              <p:cNvSpPr/>
              <p:nvPr/>
            </p:nvSpPr>
            <p:spPr>
              <a:xfrm>
                <a:off x="3788619" y="2985207"/>
                <a:ext cx="46159" cy="72809"/>
              </a:xfrm>
              <a:custGeom>
                <a:avLst/>
                <a:gdLst/>
                <a:ahLst/>
                <a:cxnLst/>
                <a:rect l="0" t="0" r="0" b="0"/>
                <a:pathLst>
                  <a:path w="46159" h="72809">
                    <a:moveTo>
                      <a:pt x="28605" y="0"/>
                    </a:moveTo>
                    <a:lnTo>
                      <a:pt x="22749" y="0"/>
                    </a:lnTo>
                    <a:lnTo>
                      <a:pt x="22749" y="12347"/>
                    </a:lnTo>
                    <a:lnTo>
                      <a:pt x="12356" y="42908"/>
                    </a:lnTo>
                    <a:lnTo>
                      <a:pt x="11696" y="49403"/>
                    </a:lnTo>
                    <a:lnTo>
                      <a:pt x="4553" y="55255"/>
                    </a:lnTo>
                    <a:lnTo>
                      <a:pt x="0" y="66304"/>
                    </a:lnTo>
                    <a:lnTo>
                      <a:pt x="643" y="72808"/>
                    </a:lnTo>
                    <a:lnTo>
                      <a:pt x="16249" y="52006"/>
                    </a:lnTo>
                    <a:lnTo>
                      <a:pt x="31855" y="43555"/>
                    </a:lnTo>
                    <a:lnTo>
                      <a:pt x="42908" y="32507"/>
                    </a:lnTo>
                    <a:lnTo>
                      <a:pt x="46158" y="17548"/>
                    </a:lnTo>
                    <a:lnTo>
                      <a:pt x="36409" y="11695"/>
                    </a:lnTo>
                    <a:lnTo>
                      <a:pt x="36409" y="4539"/>
                    </a:lnTo>
                    <a:lnTo>
                      <a:pt x="28605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159" tIns="7280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6" name="shp_Region_Belize_$46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4E7E970D-BE22-BF1A-62F6-BB390C1ED3F1}"/>
                  </a:ext>
                </a:extLst>
              </p:cNvPr>
              <p:cNvSpPr/>
              <p:nvPr/>
            </p:nvSpPr>
            <p:spPr>
              <a:xfrm>
                <a:off x="3083889" y="3004054"/>
                <a:ext cx="9089" cy="9103"/>
              </a:xfrm>
              <a:custGeom>
                <a:avLst/>
                <a:gdLst/>
                <a:ahLst/>
                <a:cxnLst/>
                <a:rect l="0" t="0" r="0" b="0"/>
                <a:pathLst>
                  <a:path w="9089" h="9103">
                    <a:moveTo>
                      <a:pt x="3250" y="0"/>
                    </a:moveTo>
                    <a:lnTo>
                      <a:pt x="0" y="9102"/>
                    </a:lnTo>
                    <a:lnTo>
                      <a:pt x="9088" y="7798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89" tIns="91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7" name="shp_Region_Belize_$47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8112DCD-2CDC-ECFA-48FA-53DBE3EE8776}"/>
                  </a:ext>
                </a:extLst>
              </p:cNvPr>
              <p:cNvSpPr/>
              <p:nvPr/>
            </p:nvSpPr>
            <p:spPr>
              <a:xfrm>
                <a:off x="2658054" y="3039163"/>
                <a:ext cx="13001" cy="29906"/>
              </a:xfrm>
              <a:custGeom>
                <a:avLst/>
                <a:gdLst/>
                <a:ahLst/>
                <a:cxnLst/>
                <a:rect l="0" t="0" r="0" b="0"/>
                <a:pathLst>
                  <a:path w="13001" h="29906">
                    <a:moveTo>
                      <a:pt x="6500" y="0"/>
                    </a:moveTo>
                    <a:lnTo>
                      <a:pt x="0" y="17553"/>
                    </a:lnTo>
                    <a:lnTo>
                      <a:pt x="1947" y="29905"/>
                    </a:lnTo>
                    <a:lnTo>
                      <a:pt x="13000" y="26004"/>
                    </a:lnTo>
                    <a:lnTo>
                      <a:pt x="13000" y="7799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1" tIns="299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8" name="shp_Region_Belize_$48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739F24C3-821F-A9AD-5E87-0F274D27D6D2}"/>
                  </a:ext>
                </a:extLst>
              </p:cNvPr>
              <p:cNvSpPr/>
              <p:nvPr/>
            </p:nvSpPr>
            <p:spPr>
              <a:xfrm>
                <a:off x="3076728" y="3094424"/>
                <a:ext cx="21465" cy="17554"/>
              </a:xfrm>
              <a:custGeom>
                <a:avLst/>
                <a:gdLst/>
                <a:ahLst/>
                <a:cxnLst/>
                <a:rect l="0" t="0" r="0" b="0"/>
                <a:pathLst>
                  <a:path w="21465" h="17554">
                    <a:moveTo>
                      <a:pt x="18214" y="0"/>
                    </a:moveTo>
                    <a:lnTo>
                      <a:pt x="11696" y="647"/>
                    </a:lnTo>
                    <a:lnTo>
                      <a:pt x="0" y="14303"/>
                    </a:lnTo>
                    <a:lnTo>
                      <a:pt x="15607" y="17553"/>
                    </a:lnTo>
                    <a:lnTo>
                      <a:pt x="21464" y="13646"/>
                    </a:lnTo>
                    <a:lnTo>
                      <a:pt x="1821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65" tIns="175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19" name="shp_Region_Belize_$49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B7C41A01-0F07-E443-7B29-8F50E38B9907}"/>
                  </a:ext>
                </a:extLst>
              </p:cNvPr>
              <p:cNvSpPr/>
              <p:nvPr/>
            </p:nvSpPr>
            <p:spPr>
              <a:xfrm>
                <a:off x="2676910" y="3183495"/>
                <a:ext cx="15590" cy="22098"/>
              </a:xfrm>
              <a:custGeom>
                <a:avLst/>
                <a:gdLst/>
                <a:ahLst/>
                <a:cxnLst/>
                <a:rect l="0" t="0" r="0" b="0"/>
                <a:pathLst>
                  <a:path w="15590" h="22098">
                    <a:moveTo>
                      <a:pt x="0" y="0"/>
                    </a:moveTo>
                    <a:lnTo>
                      <a:pt x="8446" y="7794"/>
                    </a:lnTo>
                    <a:lnTo>
                      <a:pt x="5197" y="22097"/>
                    </a:lnTo>
                    <a:lnTo>
                      <a:pt x="15589" y="18195"/>
                    </a:lnTo>
                    <a:lnTo>
                      <a:pt x="15589" y="12348"/>
                    </a:lnTo>
                    <a:lnTo>
                      <a:pt x="6500" y="25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590" tIns="2209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  <p:sp>
            <p:nvSpPr>
              <p:cNvPr id="320" name="shp_Region_Belize_$50" descr="Admin1_Id=&quot;BLZ&quot;&#10;Admin1_Label=&quot;Belize&quot;&#10;Admin2_Id=&quot;BLZ.1_1&quot;&#10;Admin2_Label=&quot;Belize&quot;&#10;" title="Belize">
                <a:extLst>
                  <a:ext uri="{FF2B5EF4-FFF2-40B4-BE49-F238E27FC236}">
                    <a16:creationId xmlns:a16="http://schemas.microsoft.com/office/drawing/2014/main" id="{87236FB5-AF4F-2F44-F687-06686B28B060}"/>
                  </a:ext>
                </a:extLst>
              </p:cNvPr>
              <p:cNvSpPr/>
              <p:nvPr/>
            </p:nvSpPr>
            <p:spPr>
              <a:xfrm>
                <a:off x="2017678" y="4638471"/>
                <a:ext cx="9107" cy="18196"/>
              </a:xfrm>
              <a:custGeom>
                <a:avLst/>
                <a:gdLst/>
                <a:ahLst/>
                <a:cxnLst/>
                <a:rect l="0" t="0" r="0" b="0"/>
                <a:pathLst>
                  <a:path w="9107" h="18196">
                    <a:moveTo>
                      <a:pt x="7803" y="0"/>
                    </a:moveTo>
                    <a:lnTo>
                      <a:pt x="0" y="1294"/>
                    </a:lnTo>
                    <a:lnTo>
                      <a:pt x="2607" y="17548"/>
                    </a:lnTo>
                    <a:lnTo>
                      <a:pt x="9106" y="18195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07" tIns="1819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Belize</a:t>
                </a:r>
              </a:p>
            </p:txBody>
          </p:sp>
        </p:grpSp>
        <p:sp>
          <p:nvSpPr>
            <p:cNvPr id="17" name="shp_Region_Cayo" descr="Admin1_Id=&quot;BLZ&quot;&#10;Admin1_Label=&quot;Belize&quot;&#10;Admin2_Id=&quot;BLZ.2_1&quot;&#10;Admin2_Label=&quot;Cayo&quot;&#10;" title="Cayo">
              <a:extLst>
                <a:ext uri="{FF2B5EF4-FFF2-40B4-BE49-F238E27FC236}">
                  <a16:creationId xmlns:a16="http://schemas.microsoft.com/office/drawing/2014/main" id="{5CBF79D3-5797-BBAA-CECC-9628EE2423E9}"/>
                </a:ext>
              </a:extLst>
            </p:cNvPr>
            <p:cNvSpPr/>
            <p:nvPr/>
          </p:nvSpPr>
          <p:spPr>
            <a:xfrm>
              <a:off x="85138" y="2323153"/>
              <a:ext cx="1509278" cy="2519196"/>
            </a:xfrm>
            <a:custGeom>
              <a:avLst/>
              <a:gdLst/>
              <a:ahLst/>
              <a:cxnLst/>
              <a:rect l="0" t="0" r="0" b="0"/>
              <a:pathLst>
                <a:path w="1509278" h="2519196">
                  <a:moveTo>
                    <a:pt x="96067" y="409942"/>
                  </a:moveTo>
                  <a:lnTo>
                    <a:pt x="97459" y="1064510"/>
                  </a:lnTo>
                  <a:lnTo>
                    <a:pt x="79639" y="1330723"/>
                  </a:lnTo>
                  <a:lnTo>
                    <a:pt x="62051" y="1593289"/>
                  </a:lnTo>
                  <a:lnTo>
                    <a:pt x="39266" y="1933316"/>
                  </a:lnTo>
                  <a:lnTo>
                    <a:pt x="47712" y="1933369"/>
                  </a:lnTo>
                  <a:lnTo>
                    <a:pt x="21142" y="2324139"/>
                  </a:lnTo>
                  <a:lnTo>
                    <a:pt x="13053" y="2324532"/>
                  </a:lnTo>
                  <a:lnTo>
                    <a:pt x="0" y="2519195"/>
                  </a:lnTo>
                  <a:lnTo>
                    <a:pt x="176812" y="2401331"/>
                  </a:lnTo>
                  <a:lnTo>
                    <a:pt x="329697" y="2373529"/>
                  </a:lnTo>
                  <a:lnTo>
                    <a:pt x="420049" y="2283181"/>
                  </a:lnTo>
                  <a:lnTo>
                    <a:pt x="496492" y="2324884"/>
                  </a:lnTo>
                  <a:lnTo>
                    <a:pt x="593790" y="2262334"/>
                  </a:lnTo>
                  <a:lnTo>
                    <a:pt x="593790" y="2199784"/>
                  </a:lnTo>
                  <a:lnTo>
                    <a:pt x="711944" y="2171986"/>
                  </a:lnTo>
                  <a:lnTo>
                    <a:pt x="823135" y="2116386"/>
                  </a:lnTo>
                  <a:lnTo>
                    <a:pt x="885685" y="2019088"/>
                  </a:lnTo>
                  <a:lnTo>
                    <a:pt x="878739" y="1984340"/>
                  </a:lnTo>
                  <a:lnTo>
                    <a:pt x="878739" y="1963493"/>
                  </a:lnTo>
                  <a:lnTo>
                    <a:pt x="896863" y="1939316"/>
                  </a:lnTo>
                  <a:lnTo>
                    <a:pt x="913362" y="1939432"/>
                  </a:lnTo>
                  <a:lnTo>
                    <a:pt x="980001" y="1889448"/>
                  </a:lnTo>
                  <a:lnTo>
                    <a:pt x="986162" y="1875096"/>
                  </a:lnTo>
                  <a:lnTo>
                    <a:pt x="1002875" y="1836102"/>
                  </a:lnTo>
                  <a:lnTo>
                    <a:pt x="1060015" y="1695119"/>
                  </a:lnTo>
                  <a:lnTo>
                    <a:pt x="1117173" y="1618909"/>
                  </a:lnTo>
                  <a:lnTo>
                    <a:pt x="1155278" y="1592236"/>
                  </a:lnTo>
                  <a:lnTo>
                    <a:pt x="1227685" y="1592236"/>
                  </a:lnTo>
                  <a:lnTo>
                    <a:pt x="1201008" y="1535083"/>
                  </a:lnTo>
                  <a:lnTo>
                    <a:pt x="1260308" y="1504651"/>
                  </a:lnTo>
                  <a:lnTo>
                    <a:pt x="1239113" y="1321701"/>
                  </a:lnTo>
                  <a:lnTo>
                    <a:pt x="1297931" y="1302095"/>
                  </a:lnTo>
                  <a:lnTo>
                    <a:pt x="1304859" y="1281757"/>
                  </a:lnTo>
                  <a:lnTo>
                    <a:pt x="1339375" y="1253821"/>
                  </a:lnTo>
                  <a:lnTo>
                    <a:pt x="1405604" y="1149728"/>
                  </a:lnTo>
                  <a:lnTo>
                    <a:pt x="1486046" y="1055104"/>
                  </a:lnTo>
                  <a:lnTo>
                    <a:pt x="1475975" y="1030610"/>
                  </a:lnTo>
                  <a:lnTo>
                    <a:pt x="1472689" y="1032261"/>
                  </a:lnTo>
                  <a:lnTo>
                    <a:pt x="1439459" y="917754"/>
                  </a:lnTo>
                  <a:lnTo>
                    <a:pt x="1450780" y="904295"/>
                  </a:lnTo>
                  <a:lnTo>
                    <a:pt x="1457262" y="895179"/>
                  </a:lnTo>
                  <a:lnTo>
                    <a:pt x="1478171" y="876475"/>
                  </a:lnTo>
                  <a:lnTo>
                    <a:pt x="1489814" y="862445"/>
                  </a:lnTo>
                  <a:lnTo>
                    <a:pt x="1496777" y="850767"/>
                  </a:lnTo>
                  <a:lnTo>
                    <a:pt x="1496760" y="818067"/>
                  </a:lnTo>
                  <a:lnTo>
                    <a:pt x="1487439" y="785373"/>
                  </a:lnTo>
                  <a:lnTo>
                    <a:pt x="1485082" y="755004"/>
                  </a:lnTo>
                  <a:lnTo>
                    <a:pt x="1485064" y="722309"/>
                  </a:lnTo>
                  <a:lnTo>
                    <a:pt x="1509277" y="674231"/>
                  </a:lnTo>
                  <a:lnTo>
                    <a:pt x="1481314" y="596155"/>
                  </a:lnTo>
                  <a:lnTo>
                    <a:pt x="1467118" y="317005"/>
                  </a:lnTo>
                  <a:lnTo>
                    <a:pt x="1443459" y="0"/>
                  </a:lnTo>
                  <a:lnTo>
                    <a:pt x="1400872" y="75701"/>
                  </a:lnTo>
                  <a:lnTo>
                    <a:pt x="1327733" y="53193"/>
                  </a:lnTo>
                  <a:lnTo>
                    <a:pt x="1060211" y="193989"/>
                  </a:lnTo>
                  <a:lnTo>
                    <a:pt x="776334" y="212912"/>
                  </a:lnTo>
                  <a:lnTo>
                    <a:pt x="781066" y="175062"/>
                  </a:lnTo>
                  <a:lnTo>
                    <a:pt x="691178" y="269690"/>
                  </a:lnTo>
                  <a:lnTo>
                    <a:pt x="459333" y="269690"/>
                  </a:lnTo>
                  <a:lnTo>
                    <a:pt x="416746" y="312273"/>
                  </a:lnTo>
                  <a:lnTo>
                    <a:pt x="359981" y="321737"/>
                  </a:lnTo>
                  <a:lnTo>
                    <a:pt x="388355" y="283882"/>
                  </a:lnTo>
                  <a:lnTo>
                    <a:pt x="303198" y="283882"/>
                  </a:lnTo>
                  <a:lnTo>
                    <a:pt x="208561" y="326464"/>
                  </a:lnTo>
                  <a:lnTo>
                    <a:pt x="96067" y="40994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09278" tIns="2519196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>
                  <a:solidFill>
                    <a:srgbClr val="FFFFFF"/>
                  </a:solidFill>
                  <a:latin typeface="Arial" panose="020B0604020202020204" pitchFamily="34" charset="0"/>
                </a:rPr>
                <a:t>Cayo</a:t>
              </a:r>
            </a:p>
          </p:txBody>
        </p:sp>
        <p:grpSp>
          <p:nvGrpSpPr>
            <p:cNvPr id="21" name="shp_Region_Corozal" descr="Admin1_Id=&quot;BLZ&quot;&#10;Admin1_Label=&quot;Belize&quot;&#10;Admin2_Id=&quot;BLZ.3_1&quot;&#10;Admin2_Label=&quot;Corozal&quot;&#10;" title="Corozal">
              <a:extLst>
                <a:ext uri="{FF2B5EF4-FFF2-40B4-BE49-F238E27FC236}">
                  <a16:creationId xmlns:a16="http://schemas.microsoft.com/office/drawing/2014/main" id="{4FA8B407-245A-0F0F-65EE-FB4DD800104F}"/>
                </a:ext>
              </a:extLst>
            </p:cNvPr>
            <p:cNvGrpSpPr/>
            <p:nvPr/>
          </p:nvGrpSpPr>
          <p:grpSpPr>
            <a:xfrm>
              <a:off x="1450565" y="0"/>
              <a:ext cx="1818600" cy="1525027"/>
              <a:chOff x="1450565" y="0"/>
              <a:chExt cx="1818600" cy="1525027"/>
            </a:xfrm>
            <a:solidFill>
              <a:srgbClr val="92D050"/>
            </a:solidFill>
          </p:grpSpPr>
          <p:sp>
            <p:nvSpPr>
              <p:cNvPr id="261" name="shp_Region_Corozal_$1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7E97253B-D782-CFDC-2FD5-34ED5E2BBC33}"/>
                  </a:ext>
                </a:extLst>
              </p:cNvPr>
              <p:cNvSpPr/>
              <p:nvPr/>
            </p:nvSpPr>
            <p:spPr>
              <a:xfrm>
                <a:off x="1450565" y="0"/>
                <a:ext cx="1206187" cy="1213664"/>
              </a:xfrm>
              <a:custGeom>
                <a:avLst/>
                <a:gdLst/>
                <a:ahLst/>
                <a:cxnLst/>
                <a:rect l="0" t="0" r="0" b="0"/>
                <a:pathLst>
                  <a:path w="1206187" h="1213664">
                    <a:moveTo>
                      <a:pt x="1052105" y="1213663"/>
                    </a:moveTo>
                    <a:lnTo>
                      <a:pt x="1050801" y="1199963"/>
                    </a:lnTo>
                    <a:lnTo>
                      <a:pt x="1057301" y="1165500"/>
                    </a:lnTo>
                    <a:lnTo>
                      <a:pt x="1059908" y="1158353"/>
                    </a:lnTo>
                    <a:lnTo>
                      <a:pt x="1081353" y="1138850"/>
                    </a:lnTo>
                    <a:lnTo>
                      <a:pt x="1089817" y="1125846"/>
                    </a:lnTo>
                    <a:lnTo>
                      <a:pt x="1104120" y="1110244"/>
                    </a:lnTo>
                    <a:lnTo>
                      <a:pt x="1111923" y="1085540"/>
                    </a:lnTo>
                    <a:lnTo>
                      <a:pt x="1116476" y="1054332"/>
                    </a:lnTo>
                    <a:lnTo>
                      <a:pt x="1122976" y="1031579"/>
                    </a:lnTo>
                    <a:lnTo>
                      <a:pt x="1127512" y="1020526"/>
                    </a:lnTo>
                    <a:lnTo>
                      <a:pt x="1128815" y="1004919"/>
                    </a:lnTo>
                    <a:lnTo>
                      <a:pt x="1141171" y="988023"/>
                    </a:lnTo>
                    <a:lnTo>
                      <a:pt x="1146368" y="954217"/>
                    </a:lnTo>
                    <a:lnTo>
                      <a:pt x="1148975" y="943164"/>
                    </a:lnTo>
                    <a:lnTo>
                      <a:pt x="1158081" y="930160"/>
                    </a:lnTo>
                    <a:lnTo>
                      <a:pt x="1167170" y="932111"/>
                    </a:lnTo>
                    <a:lnTo>
                      <a:pt x="1169777" y="902854"/>
                    </a:lnTo>
                    <a:lnTo>
                      <a:pt x="1178223" y="887252"/>
                    </a:lnTo>
                    <a:lnTo>
                      <a:pt x="1177580" y="854744"/>
                    </a:lnTo>
                    <a:lnTo>
                      <a:pt x="1182776" y="844339"/>
                    </a:lnTo>
                    <a:lnTo>
                      <a:pt x="1183437" y="824840"/>
                    </a:lnTo>
                    <a:lnTo>
                      <a:pt x="1188633" y="800788"/>
                    </a:lnTo>
                    <a:lnTo>
                      <a:pt x="1187990" y="776731"/>
                    </a:lnTo>
                    <a:lnTo>
                      <a:pt x="1192526" y="763727"/>
                    </a:lnTo>
                    <a:lnTo>
                      <a:pt x="1192526" y="740974"/>
                    </a:lnTo>
                    <a:lnTo>
                      <a:pt x="1196436" y="718221"/>
                    </a:lnTo>
                    <a:lnTo>
                      <a:pt x="1200990" y="705217"/>
                    </a:lnTo>
                    <a:lnTo>
                      <a:pt x="1204239" y="685062"/>
                    </a:lnTo>
                    <a:lnTo>
                      <a:pt x="1204882" y="665563"/>
                    </a:lnTo>
                    <a:lnTo>
                      <a:pt x="1199686" y="660362"/>
                    </a:lnTo>
                    <a:lnTo>
                      <a:pt x="1199025" y="649956"/>
                    </a:lnTo>
                    <a:lnTo>
                      <a:pt x="1193829" y="644756"/>
                    </a:lnTo>
                    <a:lnTo>
                      <a:pt x="1192526" y="622645"/>
                    </a:lnTo>
                    <a:lnTo>
                      <a:pt x="1193829" y="607700"/>
                    </a:lnTo>
                    <a:lnTo>
                      <a:pt x="1190580" y="589495"/>
                    </a:lnTo>
                    <a:lnTo>
                      <a:pt x="1191240" y="574545"/>
                    </a:lnTo>
                    <a:lnTo>
                      <a:pt x="1195133" y="563492"/>
                    </a:lnTo>
                    <a:lnTo>
                      <a:pt x="1193829" y="545288"/>
                    </a:lnTo>
                    <a:lnTo>
                      <a:pt x="1190580" y="534230"/>
                    </a:lnTo>
                    <a:lnTo>
                      <a:pt x="1201632" y="537489"/>
                    </a:lnTo>
                    <a:lnTo>
                      <a:pt x="1206186" y="534230"/>
                    </a:lnTo>
                    <a:lnTo>
                      <a:pt x="1206186" y="522535"/>
                    </a:lnTo>
                    <a:lnTo>
                      <a:pt x="1187330" y="517329"/>
                    </a:lnTo>
                    <a:lnTo>
                      <a:pt x="1190580" y="503031"/>
                    </a:lnTo>
                    <a:lnTo>
                      <a:pt x="1203579" y="503678"/>
                    </a:lnTo>
                    <a:lnTo>
                      <a:pt x="1199025" y="495875"/>
                    </a:lnTo>
                    <a:lnTo>
                      <a:pt x="1193187" y="497826"/>
                    </a:lnTo>
                    <a:lnTo>
                      <a:pt x="1187990" y="489376"/>
                    </a:lnTo>
                    <a:lnTo>
                      <a:pt x="1179527" y="488077"/>
                    </a:lnTo>
                    <a:lnTo>
                      <a:pt x="1180830" y="497174"/>
                    </a:lnTo>
                    <a:lnTo>
                      <a:pt x="1172384" y="498478"/>
                    </a:lnTo>
                    <a:lnTo>
                      <a:pt x="1173688" y="480273"/>
                    </a:lnTo>
                    <a:lnTo>
                      <a:pt x="1176937" y="465971"/>
                    </a:lnTo>
                    <a:lnTo>
                      <a:pt x="1182776" y="464667"/>
                    </a:lnTo>
                    <a:lnTo>
                      <a:pt x="1185383" y="454918"/>
                    </a:lnTo>
                    <a:lnTo>
                      <a:pt x="1179527" y="448418"/>
                    </a:lnTo>
                    <a:lnTo>
                      <a:pt x="1184723" y="437365"/>
                    </a:lnTo>
                    <a:lnTo>
                      <a:pt x="1185383" y="411362"/>
                    </a:lnTo>
                    <a:lnTo>
                      <a:pt x="1189937" y="400309"/>
                    </a:lnTo>
                    <a:lnTo>
                      <a:pt x="1187330" y="386006"/>
                    </a:lnTo>
                    <a:lnTo>
                      <a:pt x="1186687" y="369110"/>
                    </a:lnTo>
                    <a:lnTo>
                      <a:pt x="1183437" y="357401"/>
                    </a:lnTo>
                    <a:lnTo>
                      <a:pt x="1174973" y="349593"/>
                    </a:lnTo>
                    <a:lnTo>
                      <a:pt x="1173688" y="328795"/>
                    </a:lnTo>
                    <a:lnTo>
                      <a:pt x="1181473" y="328795"/>
                    </a:lnTo>
                    <a:lnTo>
                      <a:pt x="1181473" y="311242"/>
                    </a:lnTo>
                    <a:lnTo>
                      <a:pt x="1186687" y="297591"/>
                    </a:lnTo>
                    <a:lnTo>
                      <a:pt x="1182776" y="288489"/>
                    </a:lnTo>
                    <a:lnTo>
                      <a:pt x="1169134" y="302140"/>
                    </a:lnTo>
                    <a:lnTo>
                      <a:pt x="1150921" y="307992"/>
                    </a:lnTo>
                    <a:lnTo>
                      <a:pt x="1122976" y="306042"/>
                    </a:lnTo>
                    <a:lnTo>
                      <a:pt x="1115173" y="310591"/>
                    </a:lnTo>
                    <a:lnTo>
                      <a:pt x="1103459" y="312546"/>
                    </a:lnTo>
                    <a:lnTo>
                      <a:pt x="1094370" y="319045"/>
                    </a:lnTo>
                    <a:lnTo>
                      <a:pt x="1079407" y="324246"/>
                    </a:lnTo>
                    <a:lnTo>
                      <a:pt x="1075514" y="329447"/>
                    </a:lnTo>
                    <a:lnTo>
                      <a:pt x="1061854" y="338549"/>
                    </a:lnTo>
                    <a:lnTo>
                      <a:pt x="1028053" y="351548"/>
                    </a:lnTo>
                    <a:lnTo>
                      <a:pt x="1020892" y="361302"/>
                    </a:lnTo>
                    <a:lnTo>
                      <a:pt x="1005304" y="369753"/>
                    </a:lnTo>
                    <a:lnTo>
                      <a:pt x="989037" y="370404"/>
                    </a:lnTo>
                    <a:lnTo>
                      <a:pt x="974734" y="369110"/>
                    </a:lnTo>
                    <a:lnTo>
                      <a:pt x="953931" y="369753"/>
                    </a:lnTo>
                    <a:lnTo>
                      <a:pt x="944843" y="371703"/>
                    </a:lnTo>
                    <a:lnTo>
                      <a:pt x="924022" y="389908"/>
                    </a:lnTo>
                    <a:lnTo>
                      <a:pt x="911684" y="396407"/>
                    </a:lnTo>
                    <a:lnTo>
                      <a:pt x="900631" y="382109"/>
                    </a:lnTo>
                    <a:lnTo>
                      <a:pt x="927290" y="372355"/>
                    </a:lnTo>
                    <a:lnTo>
                      <a:pt x="917523" y="365847"/>
                    </a:lnTo>
                    <a:lnTo>
                      <a:pt x="925326" y="356749"/>
                    </a:lnTo>
                    <a:lnTo>
                      <a:pt x="928576" y="342446"/>
                    </a:lnTo>
                    <a:lnTo>
                      <a:pt x="918826" y="345700"/>
                    </a:lnTo>
                    <a:lnTo>
                      <a:pt x="911023" y="351548"/>
                    </a:lnTo>
                    <a:lnTo>
                      <a:pt x="897381" y="356749"/>
                    </a:lnTo>
                    <a:lnTo>
                      <a:pt x="885024" y="365204"/>
                    </a:lnTo>
                    <a:lnTo>
                      <a:pt x="877221" y="365204"/>
                    </a:lnTo>
                    <a:lnTo>
                      <a:pt x="865525" y="369110"/>
                    </a:lnTo>
                    <a:lnTo>
                      <a:pt x="857062" y="358048"/>
                    </a:lnTo>
                    <a:lnTo>
                      <a:pt x="857062" y="351548"/>
                    </a:lnTo>
                    <a:lnTo>
                      <a:pt x="864865" y="347656"/>
                    </a:lnTo>
                    <a:lnTo>
                      <a:pt x="873329" y="339196"/>
                    </a:lnTo>
                    <a:lnTo>
                      <a:pt x="862276" y="335946"/>
                    </a:lnTo>
                    <a:lnTo>
                      <a:pt x="854472" y="326844"/>
                    </a:lnTo>
                    <a:lnTo>
                      <a:pt x="843420" y="323594"/>
                    </a:lnTo>
                    <a:lnTo>
                      <a:pt x="836259" y="333996"/>
                    </a:lnTo>
                    <a:lnTo>
                      <a:pt x="822617" y="337245"/>
                    </a:lnTo>
                    <a:lnTo>
                      <a:pt x="816117" y="330094"/>
                    </a:lnTo>
                    <a:lnTo>
                      <a:pt x="809618" y="335946"/>
                    </a:lnTo>
                    <a:lnTo>
                      <a:pt x="795958" y="334647"/>
                    </a:lnTo>
                    <a:lnTo>
                      <a:pt x="777102" y="346999"/>
                    </a:lnTo>
                    <a:lnTo>
                      <a:pt x="762799" y="345053"/>
                    </a:lnTo>
                    <a:lnTo>
                      <a:pt x="756299" y="349593"/>
                    </a:lnTo>
                    <a:lnTo>
                      <a:pt x="749157" y="348298"/>
                    </a:lnTo>
                    <a:lnTo>
                      <a:pt x="739389" y="351548"/>
                    </a:lnTo>
                    <a:lnTo>
                      <a:pt x="727694" y="350901"/>
                    </a:lnTo>
                    <a:lnTo>
                      <a:pt x="714694" y="357401"/>
                    </a:lnTo>
                    <a:lnTo>
                      <a:pt x="711445" y="361954"/>
                    </a:lnTo>
                    <a:lnTo>
                      <a:pt x="684142" y="373650"/>
                    </a:lnTo>
                    <a:lnTo>
                      <a:pt x="673732" y="373650"/>
                    </a:lnTo>
                    <a:lnTo>
                      <a:pt x="664625" y="382109"/>
                    </a:lnTo>
                    <a:lnTo>
                      <a:pt x="639270" y="389256"/>
                    </a:lnTo>
                    <a:lnTo>
                      <a:pt x="636680" y="396407"/>
                    </a:lnTo>
                    <a:lnTo>
                      <a:pt x="630824" y="396407"/>
                    </a:lnTo>
                    <a:lnTo>
                      <a:pt x="616521" y="390559"/>
                    </a:lnTo>
                    <a:lnTo>
                      <a:pt x="607414" y="391207"/>
                    </a:lnTo>
                    <a:lnTo>
                      <a:pt x="607414" y="376908"/>
                    </a:lnTo>
                    <a:lnTo>
                      <a:pt x="611325" y="363248"/>
                    </a:lnTo>
                    <a:lnTo>
                      <a:pt x="617824" y="361954"/>
                    </a:lnTo>
                    <a:lnTo>
                      <a:pt x="619771" y="354802"/>
                    </a:lnTo>
                    <a:lnTo>
                      <a:pt x="630824" y="343098"/>
                    </a:lnTo>
                    <a:lnTo>
                      <a:pt x="646430" y="334647"/>
                    </a:lnTo>
                    <a:lnTo>
                      <a:pt x="652287" y="325545"/>
                    </a:lnTo>
                    <a:lnTo>
                      <a:pt x="660072" y="324246"/>
                    </a:lnTo>
                    <a:lnTo>
                      <a:pt x="671786" y="315144"/>
                    </a:lnTo>
                    <a:lnTo>
                      <a:pt x="665929" y="306042"/>
                    </a:lnTo>
                    <a:lnTo>
                      <a:pt x="648376" y="305390"/>
                    </a:lnTo>
                    <a:lnTo>
                      <a:pt x="636020" y="307341"/>
                    </a:lnTo>
                    <a:lnTo>
                      <a:pt x="634074" y="311894"/>
                    </a:lnTo>
                    <a:lnTo>
                      <a:pt x="615878" y="317095"/>
                    </a:lnTo>
                    <a:lnTo>
                      <a:pt x="602218" y="324246"/>
                    </a:lnTo>
                    <a:lnTo>
                      <a:pt x="588576" y="322943"/>
                    </a:lnTo>
                    <a:lnTo>
                      <a:pt x="587272" y="326844"/>
                    </a:lnTo>
                    <a:lnTo>
                      <a:pt x="561917" y="341794"/>
                    </a:lnTo>
                    <a:lnTo>
                      <a:pt x="546953" y="348298"/>
                    </a:lnTo>
                    <a:lnTo>
                      <a:pt x="539150" y="348298"/>
                    </a:lnTo>
                    <a:lnTo>
                      <a:pt x="513794" y="354151"/>
                    </a:lnTo>
                    <a:lnTo>
                      <a:pt x="505348" y="346348"/>
                    </a:lnTo>
                    <a:lnTo>
                      <a:pt x="504705" y="341147"/>
                    </a:lnTo>
                    <a:lnTo>
                      <a:pt x="495599" y="337897"/>
                    </a:lnTo>
                    <a:lnTo>
                      <a:pt x="482600" y="319693"/>
                    </a:lnTo>
                    <a:lnTo>
                      <a:pt x="481939" y="280030"/>
                    </a:lnTo>
                    <a:lnTo>
                      <a:pt x="491046" y="264437"/>
                    </a:lnTo>
                    <a:lnTo>
                      <a:pt x="498206" y="263133"/>
                    </a:lnTo>
                    <a:lnTo>
                      <a:pt x="517062" y="245576"/>
                    </a:lnTo>
                    <a:lnTo>
                      <a:pt x="533954" y="243630"/>
                    </a:lnTo>
                    <a:lnTo>
                      <a:pt x="545668" y="235827"/>
                    </a:lnTo>
                    <a:lnTo>
                      <a:pt x="554114" y="226724"/>
                    </a:lnTo>
                    <a:lnTo>
                      <a:pt x="574916" y="217622"/>
                    </a:lnTo>
                    <a:lnTo>
                      <a:pt x="581416" y="211123"/>
                    </a:lnTo>
                    <a:lnTo>
                      <a:pt x="588576" y="209172"/>
                    </a:lnTo>
                    <a:lnTo>
                      <a:pt x="595718" y="202672"/>
                    </a:lnTo>
                    <a:lnTo>
                      <a:pt x="612628" y="200074"/>
                    </a:lnTo>
                    <a:lnTo>
                      <a:pt x="626270" y="187718"/>
                    </a:lnTo>
                    <a:lnTo>
                      <a:pt x="636680" y="185767"/>
                    </a:lnTo>
                    <a:lnTo>
                      <a:pt x="659429" y="166915"/>
                    </a:lnTo>
                    <a:lnTo>
                      <a:pt x="668536" y="153911"/>
                    </a:lnTo>
                    <a:lnTo>
                      <a:pt x="668536" y="145461"/>
                    </a:lnTo>
                    <a:lnTo>
                      <a:pt x="672429" y="129207"/>
                    </a:lnTo>
                    <a:lnTo>
                      <a:pt x="680232" y="123355"/>
                    </a:lnTo>
                    <a:lnTo>
                      <a:pt x="687392" y="125310"/>
                    </a:lnTo>
                    <a:lnTo>
                      <a:pt x="691285" y="116204"/>
                    </a:lnTo>
                    <a:lnTo>
                      <a:pt x="708195" y="108405"/>
                    </a:lnTo>
                    <a:lnTo>
                      <a:pt x="715998" y="95401"/>
                    </a:lnTo>
                    <a:lnTo>
                      <a:pt x="720551" y="93455"/>
                    </a:lnTo>
                    <a:lnTo>
                      <a:pt x="708195" y="75898"/>
                    </a:lnTo>
                    <a:lnTo>
                      <a:pt x="704945" y="58341"/>
                    </a:lnTo>
                    <a:lnTo>
                      <a:pt x="695195" y="51194"/>
                    </a:lnTo>
                    <a:lnTo>
                      <a:pt x="684142" y="47944"/>
                    </a:lnTo>
                    <a:lnTo>
                      <a:pt x="678285" y="38190"/>
                    </a:lnTo>
                    <a:lnTo>
                      <a:pt x="670482" y="34293"/>
                    </a:lnTo>
                    <a:lnTo>
                      <a:pt x="672429" y="27789"/>
                    </a:lnTo>
                    <a:lnTo>
                      <a:pt x="670482" y="17294"/>
                    </a:lnTo>
                    <a:lnTo>
                      <a:pt x="645930" y="15374"/>
                    </a:lnTo>
                    <a:lnTo>
                      <a:pt x="616128" y="19423"/>
                    </a:lnTo>
                    <a:lnTo>
                      <a:pt x="584540" y="25369"/>
                    </a:lnTo>
                    <a:lnTo>
                      <a:pt x="533918" y="27570"/>
                    </a:lnTo>
                    <a:lnTo>
                      <a:pt x="519651" y="23521"/>
                    </a:lnTo>
                    <a:lnTo>
                      <a:pt x="500170" y="0"/>
                    </a:lnTo>
                    <a:lnTo>
                      <a:pt x="489260" y="491"/>
                    </a:lnTo>
                    <a:lnTo>
                      <a:pt x="475350" y="5540"/>
                    </a:lnTo>
                    <a:lnTo>
                      <a:pt x="413818" y="31882"/>
                    </a:lnTo>
                    <a:lnTo>
                      <a:pt x="400193" y="36766"/>
                    </a:lnTo>
                    <a:lnTo>
                      <a:pt x="379855" y="39694"/>
                    </a:lnTo>
                    <a:lnTo>
                      <a:pt x="367552" y="35217"/>
                    </a:lnTo>
                    <a:lnTo>
                      <a:pt x="354892" y="15120"/>
                    </a:lnTo>
                    <a:lnTo>
                      <a:pt x="313323" y="7513"/>
                    </a:lnTo>
                    <a:lnTo>
                      <a:pt x="309430" y="4236"/>
                    </a:lnTo>
                    <a:lnTo>
                      <a:pt x="288770" y="11455"/>
                    </a:lnTo>
                    <a:lnTo>
                      <a:pt x="243916" y="54064"/>
                    </a:lnTo>
                    <a:lnTo>
                      <a:pt x="220739" y="67380"/>
                    </a:lnTo>
                    <a:lnTo>
                      <a:pt x="201990" y="85362"/>
                    </a:lnTo>
                    <a:lnTo>
                      <a:pt x="189258" y="114699"/>
                    </a:lnTo>
                    <a:lnTo>
                      <a:pt x="188401" y="133471"/>
                    </a:lnTo>
                    <a:lnTo>
                      <a:pt x="173687" y="183709"/>
                    </a:lnTo>
                    <a:lnTo>
                      <a:pt x="161545" y="209837"/>
                    </a:lnTo>
                    <a:lnTo>
                      <a:pt x="151242" y="225260"/>
                    </a:lnTo>
                    <a:lnTo>
                      <a:pt x="144153" y="251991"/>
                    </a:lnTo>
                    <a:lnTo>
                      <a:pt x="126922" y="281806"/>
                    </a:lnTo>
                    <a:lnTo>
                      <a:pt x="123851" y="300546"/>
                    </a:lnTo>
                    <a:lnTo>
                      <a:pt x="130708" y="329076"/>
                    </a:lnTo>
                    <a:lnTo>
                      <a:pt x="126583" y="344049"/>
                    </a:lnTo>
                    <a:lnTo>
                      <a:pt x="120262" y="354691"/>
                    </a:lnTo>
                    <a:lnTo>
                      <a:pt x="94156" y="380096"/>
                    </a:lnTo>
                    <a:lnTo>
                      <a:pt x="60551" y="420955"/>
                    </a:lnTo>
                    <a:lnTo>
                      <a:pt x="20535" y="455034"/>
                    </a:lnTo>
                    <a:lnTo>
                      <a:pt x="14017" y="468082"/>
                    </a:lnTo>
                    <a:lnTo>
                      <a:pt x="15464" y="484202"/>
                    </a:lnTo>
                    <a:lnTo>
                      <a:pt x="7232" y="513066"/>
                    </a:lnTo>
                    <a:lnTo>
                      <a:pt x="0" y="562448"/>
                    </a:lnTo>
                    <a:lnTo>
                      <a:pt x="67675" y="578478"/>
                    </a:lnTo>
                    <a:lnTo>
                      <a:pt x="149653" y="614914"/>
                    </a:lnTo>
                    <a:lnTo>
                      <a:pt x="274164" y="669571"/>
                    </a:lnTo>
                    <a:lnTo>
                      <a:pt x="340964" y="781922"/>
                    </a:lnTo>
                    <a:lnTo>
                      <a:pt x="380444" y="882127"/>
                    </a:lnTo>
                    <a:lnTo>
                      <a:pt x="562631" y="1027878"/>
                    </a:lnTo>
                    <a:lnTo>
                      <a:pt x="711409" y="1188811"/>
                    </a:lnTo>
                    <a:lnTo>
                      <a:pt x="722265" y="1189977"/>
                    </a:lnTo>
                    <a:lnTo>
                      <a:pt x="749889" y="1192936"/>
                    </a:lnTo>
                    <a:lnTo>
                      <a:pt x="750871" y="1194432"/>
                    </a:lnTo>
                    <a:lnTo>
                      <a:pt x="1052105" y="1213663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06187" tIns="121366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2" name="shp_Region_Corozal_$2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EE1B1AE5-37D4-DADF-84E7-8C306D4E665D}"/>
                  </a:ext>
                </a:extLst>
              </p:cNvPr>
              <p:cNvSpPr/>
              <p:nvPr/>
            </p:nvSpPr>
            <p:spPr>
              <a:xfrm>
                <a:off x="2636591" y="323594"/>
                <a:ext cx="11054" cy="16907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6907">
                    <a:moveTo>
                      <a:pt x="0" y="0"/>
                    </a:moveTo>
                    <a:lnTo>
                      <a:pt x="661" y="16906"/>
                    </a:lnTo>
                    <a:lnTo>
                      <a:pt x="11053" y="6500"/>
                    </a:lnTo>
                    <a:lnTo>
                      <a:pt x="1964" y="45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690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3" name="shp_Region_Corozal_$3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05EB65B5-B36C-9D36-5939-741FE803B6B5}"/>
                  </a:ext>
                </a:extLst>
              </p:cNvPr>
              <p:cNvSpPr/>
              <p:nvPr/>
            </p:nvSpPr>
            <p:spPr>
              <a:xfrm>
                <a:off x="2771816" y="688535"/>
                <a:ext cx="497349" cy="769526"/>
              </a:xfrm>
              <a:custGeom>
                <a:avLst/>
                <a:gdLst/>
                <a:ahLst/>
                <a:cxnLst/>
                <a:rect l="0" t="0" r="0" b="0"/>
                <a:pathLst>
                  <a:path w="497349" h="769526">
                    <a:moveTo>
                      <a:pt x="224952" y="603744"/>
                    </a:moveTo>
                    <a:lnTo>
                      <a:pt x="232095" y="593990"/>
                    </a:lnTo>
                    <a:lnTo>
                      <a:pt x="235345" y="579040"/>
                    </a:lnTo>
                    <a:lnTo>
                      <a:pt x="244451" y="574487"/>
                    </a:lnTo>
                    <a:lnTo>
                      <a:pt x="253558" y="565385"/>
                    </a:lnTo>
                    <a:lnTo>
                      <a:pt x="258111" y="549787"/>
                    </a:lnTo>
                    <a:lnTo>
                      <a:pt x="273057" y="525079"/>
                    </a:lnTo>
                    <a:lnTo>
                      <a:pt x="286717" y="495174"/>
                    </a:lnTo>
                    <a:lnTo>
                      <a:pt x="288003" y="486724"/>
                    </a:lnTo>
                    <a:lnTo>
                      <a:pt x="294520" y="476965"/>
                    </a:lnTo>
                    <a:lnTo>
                      <a:pt x="304912" y="449663"/>
                    </a:lnTo>
                    <a:lnTo>
                      <a:pt x="315323" y="426263"/>
                    </a:lnTo>
                    <a:lnTo>
                      <a:pt x="330268" y="409357"/>
                    </a:lnTo>
                    <a:lnTo>
                      <a:pt x="339375" y="391805"/>
                    </a:lnTo>
                    <a:lnTo>
                      <a:pt x="343928" y="378145"/>
                    </a:lnTo>
                    <a:lnTo>
                      <a:pt x="344571" y="359954"/>
                    </a:lnTo>
                    <a:lnTo>
                      <a:pt x="350428" y="345646"/>
                    </a:lnTo>
                    <a:lnTo>
                      <a:pt x="357570" y="338495"/>
                    </a:lnTo>
                    <a:lnTo>
                      <a:pt x="366034" y="317688"/>
                    </a:lnTo>
                    <a:lnTo>
                      <a:pt x="369284" y="294935"/>
                    </a:lnTo>
                    <a:lnTo>
                      <a:pt x="375784" y="282583"/>
                    </a:lnTo>
                    <a:lnTo>
                      <a:pt x="385533" y="268932"/>
                    </a:lnTo>
                    <a:lnTo>
                      <a:pt x="406978" y="252674"/>
                    </a:lnTo>
                    <a:lnTo>
                      <a:pt x="418031" y="241625"/>
                    </a:lnTo>
                    <a:lnTo>
                      <a:pt x="425835" y="224720"/>
                    </a:lnTo>
                    <a:lnTo>
                      <a:pt x="434941" y="221470"/>
                    </a:lnTo>
                    <a:lnTo>
                      <a:pt x="444048" y="211720"/>
                    </a:lnTo>
                    <a:lnTo>
                      <a:pt x="457690" y="204565"/>
                    </a:lnTo>
                    <a:lnTo>
                      <a:pt x="461600" y="205216"/>
                    </a:lnTo>
                    <a:lnTo>
                      <a:pt x="478492" y="194815"/>
                    </a:lnTo>
                    <a:lnTo>
                      <a:pt x="492152" y="195467"/>
                    </a:lnTo>
                    <a:lnTo>
                      <a:pt x="497348" y="187016"/>
                    </a:lnTo>
                    <a:lnTo>
                      <a:pt x="495402" y="174664"/>
                    </a:lnTo>
                    <a:lnTo>
                      <a:pt x="486296" y="164910"/>
                    </a:lnTo>
                    <a:lnTo>
                      <a:pt x="480439" y="142804"/>
                    </a:lnTo>
                    <a:lnTo>
                      <a:pt x="479153" y="120051"/>
                    </a:lnTo>
                    <a:lnTo>
                      <a:pt x="473296" y="105101"/>
                    </a:lnTo>
                    <a:lnTo>
                      <a:pt x="467439" y="95352"/>
                    </a:lnTo>
                    <a:lnTo>
                      <a:pt x="467439" y="79745"/>
                    </a:lnTo>
                    <a:lnTo>
                      <a:pt x="464190" y="67393"/>
                    </a:lnTo>
                    <a:lnTo>
                      <a:pt x="457047" y="58291"/>
                    </a:lnTo>
                    <a:lnTo>
                      <a:pt x="455744" y="48537"/>
                    </a:lnTo>
                    <a:lnTo>
                      <a:pt x="446637" y="38136"/>
                    </a:lnTo>
                    <a:lnTo>
                      <a:pt x="457047" y="29034"/>
                    </a:lnTo>
                    <a:lnTo>
                      <a:pt x="457726" y="25208"/>
                    </a:lnTo>
                    <a:lnTo>
                      <a:pt x="448423" y="11584"/>
                    </a:lnTo>
                    <a:lnTo>
                      <a:pt x="431781" y="0"/>
                    </a:lnTo>
                    <a:lnTo>
                      <a:pt x="427138" y="13432"/>
                    </a:lnTo>
                    <a:lnTo>
                      <a:pt x="419978" y="19932"/>
                    </a:lnTo>
                    <a:lnTo>
                      <a:pt x="414139" y="33592"/>
                    </a:lnTo>
                    <a:lnTo>
                      <a:pt x="408282" y="33592"/>
                    </a:lnTo>
                    <a:lnTo>
                      <a:pt x="405032" y="42689"/>
                    </a:lnTo>
                    <a:lnTo>
                      <a:pt x="397229" y="43337"/>
                    </a:lnTo>
                    <a:lnTo>
                      <a:pt x="394640" y="55689"/>
                    </a:lnTo>
                    <a:lnTo>
                      <a:pt x="381623" y="67393"/>
                    </a:lnTo>
                    <a:lnTo>
                      <a:pt x="366034" y="84946"/>
                    </a:lnTo>
                    <a:lnTo>
                      <a:pt x="358231" y="97954"/>
                    </a:lnTo>
                    <a:lnTo>
                      <a:pt x="355624" y="107699"/>
                    </a:lnTo>
                    <a:lnTo>
                      <a:pt x="356267" y="117453"/>
                    </a:lnTo>
                    <a:lnTo>
                      <a:pt x="340678" y="118748"/>
                    </a:lnTo>
                    <a:lnTo>
                      <a:pt x="341321" y="129810"/>
                    </a:lnTo>
                    <a:lnTo>
                      <a:pt x="335464" y="135006"/>
                    </a:lnTo>
                    <a:lnTo>
                      <a:pt x="332875" y="145407"/>
                    </a:lnTo>
                    <a:lnTo>
                      <a:pt x="337429" y="165562"/>
                    </a:lnTo>
                    <a:lnTo>
                      <a:pt x="335464" y="175312"/>
                    </a:lnTo>
                    <a:lnTo>
                      <a:pt x="327018" y="183762"/>
                    </a:lnTo>
                    <a:lnTo>
                      <a:pt x="326376" y="198065"/>
                    </a:lnTo>
                    <a:lnTo>
                      <a:pt x="311412" y="209765"/>
                    </a:lnTo>
                    <a:lnTo>
                      <a:pt x="299716" y="239674"/>
                    </a:lnTo>
                    <a:lnTo>
                      <a:pt x="292556" y="244228"/>
                    </a:lnTo>
                    <a:lnTo>
                      <a:pt x="276967" y="249428"/>
                    </a:lnTo>
                    <a:lnTo>
                      <a:pt x="275003" y="273481"/>
                    </a:lnTo>
                    <a:lnTo>
                      <a:pt x="282806" y="265682"/>
                    </a:lnTo>
                    <a:lnTo>
                      <a:pt x="296466" y="273481"/>
                    </a:lnTo>
                    <a:lnTo>
                      <a:pt x="305573" y="270883"/>
                    </a:lnTo>
                    <a:lnTo>
                      <a:pt x="309466" y="277382"/>
                    </a:lnTo>
                    <a:lnTo>
                      <a:pt x="304269" y="291033"/>
                    </a:lnTo>
                    <a:lnTo>
                      <a:pt x="289306" y="295587"/>
                    </a:lnTo>
                    <a:lnTo>
                      <a:pt x="282806" y="294935"/>
                    </a:lnTo>
                    <a:lnTo>
                      <a:pt x="278253" y="285833"/>
                    </a:lnTo>
                    <a:lnTo>
                      <a:pt x="254861" y="304689"/>
                    </a:lnTo>
                    <a:lnTo>
                      <a:pt x="249005" y="318340"/>
                    </a:lnTo>
                    <a:lnTo>
                      <a:pt x="241201" y="328741"/>
                    </a:lnTo>
                    <a:lnTo>
                      <a:pt x="221042" y="326790"/>
                    </a:lnTo>
                    <a:lnTo>
                      <a:pt x="209989" y="319643"/>
                    </a:lnTo>
                    <a:lnTo>
                      <a:pt x="204150" y="326143"/>
                    </a:lnTo>
                    <a:lnTo>
                      <a:pt x="204793" y="345646"/>
                    </a:lnTo>
                    <a:lnTo>
                      <a:pt x="208043" y="351499"/>
                    </a:lnTo>
                    <a:lnTo>
                      <a:pt x="209989" y="373600"/>
                    </a:lnTo>
                    <a:lnTo>
                      <a:pt x="204150" y="391805"/>
                    </a:lnTo>
                    <a:lnTo>
                      <a:pt x="213239" y="390506"/>
                    </a:lnTo>
                    <a:lnTo>
                      <a:pt x="217792" y="382051"/>
                    </a:lnTo>
                    <a:lnTo>
                      <a:pt x="215203" y="368400"/>
                    </a:lnTo>
                    <a:lnTo>
                      <a:pt x="225595" y="363199"/>
                    </a:lnTo>
                    <a:lnTo>
                      <a:pt x="230791" y="357347"/>
                    </a:lnTo>
                    <a:lnTo>
                      <a:pt x="230148" y="350195"/>
                    </a:lnTo>
                    <a:lnTo>
                      <a:pt x="242505" y="339142"/>
                    </a:lnTo>
                    <a:lnTo>
                      <a:pt x="250951" y="335245"/>
                    </a:lnTo>
                    <a:lnTo>
                      <a:pt x="257451" y="337843"/>
                    </a:lnTo>
                    <a:lnTo>
                      <a:pt x="260700" y="353445"/>
                    </a:lnTo>
                    <a:lnTo>
                      <a:pt x="255504" y="364498"/>
                    </a:lnTo>
                    <a:lnTo>
                      <a:pt x="261361" y="368400"/>
                    </a:lnTo>
                    <a:lnTo>
                      <a:pt x="262004" y="380100"/>
                    </a:lnTo>
                    <a:lnTo>
                      <a:pt x="251612" y="381408"/>
                    </a:lnTo>
                    <a:lnTo>
                      <a:pt x="248362" y="388555"/>
                    </a:lnTo>
                    <a:lnTo>
                      <a:pt x="240559" y="395054"/>
                    </a:lnTo>
                    <a:lnTo>
                      <a:pt x="227541" y="413906"/>
                    </a:lnTo>
                    <a:lnTo>
                      <a:pt x="219756" y="421709"/>
                    </a:lnTo>
                    <a:lnTo>
                      <a:pt x="211292" y="426263"/>
                    </a:lnTo>
                    <a:lnTo>
                      <a:pt x="209346" y="437311"/>
                    </a:lnTo>
                    <a:lnTo>
                      <a:pt x="202846" y="436012"/>
                    </a:lnTo>
                    <a:lnTo>
                      <a:pt x="198293" y="448368"/>
                    </a:lnTo>
                    <a:lnTo>
                      <a:pt x="190490" y="461363"/>
                    </a:lnTo>
                    <a:lnTo>
                      <a:pt x="185294" y="474372"/>
                    </a:lnTo>
                    <a:lnTo>
                      <a:pt x="187240" y="501022"/>
                    </a:lnTo>
                    <a:lnTo>
                      <a:pt x="169687" y="503620"/>
                    </a:lnTo>
                    <a:lnTo>
                      <a:pt x="167741" y="515329"/>
                    </a:lnTo>
                    <a:lnTo>
                      <a:pt x="161884" y="525079"/>
                    </a:lnTo>
                    <a:lnTo>
                      <a:pt x="155385" y="551086"/>
                    </a:lnTo>
                    <a:lnTo>
                      <a:pt x="147582" y="563443"/>
                    </a:lnTo>
                    <a:lnTo>
                      <a:pt x="130690" y="579040"/>
                    </a:lnTo>
                    <a:lnTo>
                      <a:pt x="128083" y="592044"/>
                    </a:lnTo>
                    <a:lnTo>
                      <a:pt x="118333" y="621297"/>
                    </a:lnTo>
                    <a:lnTo>
                      <a:pt x="103370" y="644702"/>
                    </a:lnTo>
                    <a:lnTo>
                      <a:pt x="103370" y="657054"/>
                    </a:lnTo>
                    <a:lnTo>
                      <a:pt x="112476" y="649255"/>
                    </a:lnTo>
                    <a:lnTo>
                      <a:pt x="114423" y="641452"/>
                    </a:lnTo>
                    <a:lnTo>
                      <a:pt x="126136" y="633006"/>
                    </a:lnTo>
                    <a:lnTo>
                      <a:pt x="127422" y="642751"/>
                    </a:lnTo>
                    <a:lnTo>
                      <a:pt x="117030" y="649255"/>
                    </a:lnTo>
                    <a:lnTo>
                      <a:pt x="106619" y="679807"/>
                    </a:lnTo>
                    <a:lnTo>
                      <a:pt x="123529" y="675910"/>
                    </a:lnTo>
                    <a:lnTo>
                      <a:pt x="131975" y="671357"/>
                    </a:lnTo>
                    <a:lnTo>
                      <a:pt x="137832" y="657706"/>
                    </a:lnTo>
                    <a:lnTo>
                      <a:pt x="135225" y="646653"/>
                    </a:lnTo>
                    <a:lnTo>
                      <a:pt x="138475" y="636899"/>
                    </a:lnTo>
                    <a:lnTo>
                      <a:pt x="148242" y="641452"/>
                    </a:lnTo>
                    <a:lnTo>
                      <a:pt x="158634" y="632345"/>
                    </a:lnTo>
                    <a:lnTo>
                      <a:pt x="159295" y="624547"/>
                    </a:lnTo>
                    <a:lnTo>
                      <a:pt x="168384" y="609597"/>
                    </a:lnTo>
                    <a:lnTo>
                      <a:pt x="183990" y="592044"/>
                    </a:lnTo>
                    <a:lnTo>
                      <a:pt x="188544" y="575790"/>
                    </a:lnTo>
                    <a:lnTo>
                      <a:pt x="201543" y="577089"/>
                    </a:lnTo>
                    <a:lnTo>
                      <a:pt x="202846" y="590093"/>
                    </a:lnTo>
                    <a:lnTo>
                      <a:pt x="201543" y="601793"/>
                    </a:lnTo>
                    <a:lnTo>
                      <a:pt x="190490" y="605695"/>
                    </a:lnTo>
                    <a:lnTo>
                      <a:pt x="183990" y="635604"/>
                    </a:lnTo>
                    <a:lnTo>
                      <a:pt x="178794" y="636251"/>
                    </a:lnTo>
                    <a:lnTo>
                      <a:pt x="174884" y="657706"/>
                    </a:lnTo>
                    <a:lnTo>
                      <a:pt x="180740" y="659661"/>
                    </a:lnTo>
                    <a:lnTo>
                      <a:pt x="169045" y="669406"/>
                    </a:lnTo>
                    <a:lnTo>
                      <a:pt x="165795" y="662906"/>
                    </a:lnTo>
                    <a:lnTo>
                      <a:pt x="152135" y="669406"/>
                    </a:lnTo>
                    <a:lnTo>
                      <a:pt x="152778" y="680459"/>
                    </a:lnTo>
                    <a:lnTo>
                      <a:pt x="143689" y="681111"/>
                    </a:lnTo>
                    <a:lnTo>
                      <a:pt x="143028" y="687610"/>
                    </a:lnTo>
                    <a:lnTo>
                      <a:pt x="131975" y="693458"/>
                    </a:lnTo>
                    <a:lnTo>
                      <a:pt x="122886" y="693458"/>
                    </a:lnTo>
                    <a:lnTo>
                      <a:pt x="121583" y="701261"/>
                    </a:lnTo>
                    <a:lnTo>
                      <a:pt x="105977" y="702569"/>
                    </a:lnTo>
                    <a:lnTo>
                      <a:pt x="105334" y="695413"/>
                    </a:lnTo>
                    <a:lnTo>
                      <a:pt x="100120" y="689561"/>
                    </a:lnTo>
                    <a:lnTo>
                      <a:pt x="89727" y="703212"/>
                    </a:lnTo>
                    <a:lnTo>
                      <a:pt x="87781" y="715564"/>
                    </a:lnTo>
                    <a:lnTo>
                      <a:pt x="98816" y="725970"/>
                    </a:lnTo>
                    <a:lnTo>
                      <a:pt x="109869" y="731822"/>
                    </a:lnTo>
                    <a:lnTo>
                      <a:pt x="104673" y="746120"/>
                    </a:lnTo>
                    <a:lnTo>
                      <a:pt x="85817" y="746772"/>
                    </a:lnTo>
                    <a:lnTo>
                      <a:pt x="81924" y="742871"/>
                    </a:lnTo>
                    <a:lnTo>
                      <a:pt x="58515" y="740268"/>
                    </a:lnTo>
                    <a:lnTo>
                      <a:pt x="46819" y="744170"/>
                    </a:lnTo>
                    <a:lnTo>
                      <a:pt x="42909" y="750674"/>
                    </a:lnTo>
                    <a:lnTo>
                      <a:pt x="29909" y="752620"/>
                    </a:lnTo>
                    <a:lnTo>
                      <a:pt x="21463" y="742223"/>
                    </a:lnTo>
                    <a:lnTo>
                      <a:pt x="5214" y="745473"/>
                    </a:lnTo>
                    <a:lnTo>
                      <a:pt x="0" y="753272"/>
                    </a:lnTo>
                    <a:lnTo>
                      <a:pt x="9107" y="766927"/>
                    </a:lnTo>
                    <a:lnTo>
                      <a:pt x="20160" y="758477"/>
                    </a:lnTo>
                    <a:lnTo>
                      <a:pt x="27302" y="761722"/>
                    </a:lnTo>
                    <a:lnTo>
                      <a:pt x="33159" y="755879"/>
                    </a:lnTo>
                    <a:lnTo>
                      <a:pt x="49408" y="769525"/>
                    </a:lnTo>
                    <a:lnTo>
                      <a:pt x="65675" y="764325"/>
                    </a:lnTo>
                    <a:lnTo>
                      <a:pt x="81924" y="757173"/>
                    </a:lnTo>
                    <a:lnTo>
                      <a:pt x="101423" y="760419"/>
                    </a:lnTo>
                    <a:lnTo>
                      <a:pt x="124833" y="748071"/>
                    </a:lnTo>
                    <a:lnTo>
                      <a:pt x="130029" y="743522"/>
                    </a:lnTo>
                    <a:lnTo>
                      <a:pt x="149528" y="720117"/>
                    </a:lnTo>
                    <a:lnTo>
                      <a:pt x="152135" y="699315"/>
                    </a:lnTo>
                    <a:lnTo>
                      <a:pt x="157331" y="694766"/>
                    </a:lnTo>
                    <a:lnTo>
                      <a:pt x="174884" y="673307"/>
                    </a:lnTo>
                    <a:lnTo>
                      <a:pt x="187883" y="662906"/>
                    </a:lnTo>
                    <a:lnTo>
                      <a:pt x="189847" y="649255"/>
                    </a:lnTo>
                    <a:lnTo>
                      <a:pt x="209346" y="621297"/>
                    </a:lnTo>
                    <a:lnTo>
                      <a:pt x="224952" y="603744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97349" tIns="76952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4" name="shp_Region_Corozal_$4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E9274BE3-5611-94A9-9994-971E6325091D}"/>
                  </a:ext>
                </a:extLst>
              </p:cNvPr>
              <p:cNvSpPr/>
              <p:nvPr/>
            </p:nvSpPr>
            <p:spPr>
              <a:xfrm>
                <a:off x="2964252" y="868400"/>
                <a:ext cx="48124" cy="87117"/>
              </a:xfrm>
              <a:custGeom>
                <a:avLst/>
                <a:gdLst/>
                <a:ahLst/>
                <a:cxnLst/>
                <a:rect l="0" t="0" r="0" b="0"/>
                <a:pathLst>
                  <a:path w="48124" h="87117">
                    <a:moveTo>
                      <a:pt x="48123" y="0"/>
                    </a:moveTo>
                    <a:lnTo>
                      <a:pt x="31856" y="7799"/>
                    </a:lnTo>
                    <a:lnTo>
                      <a:pt x="31213" y="16254"/>
                    </a:lnTo>
                    <a:lnTo>
                      <a:pt x="26660" y="22753"/>
                    </a:lnTo>
                    <a:lnTo>
                      <a:pt x="11714" y="26655"/>
                    </a:lnTo>
                    <a:lnTo>
                      <a:pt x="15607" y="31855"/>
                    </a:lnTo>
                    <a:lnTo>
                      <a:pt x="39659" y="33806"/>
                    </a:lnTo>
                    <a:lnTo>
                      <a:pt x="39659" y="39654"/>
                    </a:lnTo>
                    <a:lnTo>
                      <a:pt x="27963" y="40301"/>
                    </a:lnTo>
                    <a:lnTo>
                      <a:pt x="23410" y="32498"/>
                    </a:lnTo>
                    <a:lnTo>
                      <a:pt x="18214" y="33806"/>
                    </a:lnTo>
                    <a:lnTo>
                      <a:pt x="16267" y="41605"/>
                    </a:lnTo>
                    <a:lnTo>
                      <a:pt x="0" y="46806"/>
                    </a:lnTo>
                    <a:lnTo>
                      <a:pt x="0" y="63711"/>
                    </a:lnTo>
                    <a:lnTo>
                      <a:pt x="7161" y="68260"/>
                    </a:lnTo>
                    <a:lnTo>
                      <a:pt x="5214" y="87116"/>
                    </a:lnTo>
                    <a:lnTo>
                      <a:pt x="18214" y="79313"/>
                    </a:lnTo>
                    <a:lnTo>
                      <a:pt x="22767" y="66309"/>
                    </a:lnTo>
                    <a:lnTo>
                      <a:pt x="35766" y="64363"/>
                    </a:lnTo>
                    <a:lnTo>
                      <a:pt x="44873" y="54609"/>
                    </a:lnTo>
                    <a:lnTo>
                      <a:pt x="45516" y="15602"/>
                    </a:lnTo>
                    <a:lnTo>
                      <a:pt x="4812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8124" tIns="8711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5" name="shp_Region_Corozal_$5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512BF84B-4BAC-F569-810B-F2787084B52F}"/>
                  </a:ext>
                </a:extLst>
              </p:cNvPr>
              <p:cNvSpPr/>
              <p:nvPr/>
            </p:nvSpPr>
            <p:spPr>
              <a:xfrm>
                <a:off x="2954503" y="870351"/>
                <a:ext cx="26660" cy="31204"/>
              </a:xfrm>
              <a:custGeom>
                <a:avLst/>
                <a:gdLst/>
                <a:ahLst/>
                <a:cxnLst/>
                <a:rect l="0" t="0" r="0" b="0"/>
                <a:pathLst>
                  <a:path w="26660" h="31204">
                    <a:moveTo>
                      <a:pt x="22766" y="0"/>
                    </a:moveTo>
                    <a:lnTo>
                      <a:pt x="22106" y="8450"/>
                    </a:lnTo>
                    <a:lnTo>
                      <a:pt x="15606" y="14303"/>
                    </a:lnTo>
                    <a:lnTo>
                      <a:pt x="13660" y="22101"/>
                    </a:lnTo>
                    <a:lnTo>
                      <a:pt x="0" y="22749"/>
                    </a:lnTo>
                    <a:lnTo>
                      <a:pt x="1303" y="28605"/>
                    </a:lnTo>
                    <a:lnTo>
                      <a:pt x="11053" y="31203"/>
                    </a:lnTo>
                    <a:lnTo>
                      <a:pt x="26016" y="18200"/>
                    </a:lnTo>
                    <a:lnTo>
                      <a:pt x="26659" y="7798"/>
                    </a:lnTo>
                    <a:lnTo>
                      <a:pt x="22766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0" tIns="312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6" name="shp_Region_Corozal_$6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BA2F6010-C48B-0994-C3C9-89373ACB54A6}"/>
                  </a:ext>
                </a:extLst>
              </p:cNvPr>
              <p:cNvSpPr/>
              <p:nvPr/>
            </p:nvSpPr>
            <p:spPr>
              <a:xfrm>
                <a:off x="2897292" y="927558"/>
                <a:ext cx="61765" cy="55913"/>
              </a:xfrm>
              <a:custGeom>
                <a:avLst/>
                <a:gdLst/>
                <a:ahLst/>
                <a:cxnLst/>
                <a:rect l="0" t="0" r="0" b="0"/>
                <a:pathLst>
                  <a:path w="61765" h="55913">
                    <a:moveTo>
                      <a:pt x="59157" y="0"/>
                    </a:moveTo>
                    <a:lnTo>
                      <a:pt x="53961" y="5205"/>
                    </a:lnTo>
                    <a:lnTo>
                      <a:pt x="55907" y="16258"/>
                    </a:lnTo>
                    <a:lnTo>
                      <a:pt x="46158" y="20155"/>
                    </a:lnTo>
                    <a:lnTo>
                      <a:pt x="37712" y="20155"/>
                    </a:lnTo>
                    <a:lnTo>
                      <a:pt x="30551" y="10405"/>
                    </a:lnTo>
                    <a:lnTo>
                      <a:pt x="25355" y="18199"/>
                    </a:lnTo>
                    <a:lnTo>
                      <a:pt x="17552" y="24056"/>
                    </a:lnTo>
                    <a:lnTo>
                      <a:pt x="18856" y="30556"/>
                    </a:lnTo>
                    <a:lnTo>
                      <a:pt x="4553" y="42261"/>
                    </a:lnTo>
                    <a:lnTo>
                      <a:pt x="0" y="53314"/>
                    </a:lnTo>
                    <a:lnTo>
                      <a:pt x="20802" y="52010"/>
                    </a:lnTo>
                    <a:lnTo>
                      <a:pt x="35765" y="55912"/>
                    </a:lnTo>
                    <a:lnTo>
                      <a:pt x="35105" y="46167"/>
                    </a:lnTo>
                    <a:lnTo>
                      <a:pt x="49408" y="44211"/>
                    </a:lnTo>
                    <a:lnTo>
                      <a:pt x="54622" y="39658"/>
                    </a:lnTo>
                    <a:lnTo>
                      <a:pt x="51372" y="29909"/>
                    </a:lnTo>
                    <a:lnTo>
                      <a:pt x="61764" y="21449"/>
                    </a:lnTo>
                    <a:lnTo>
                      <a:pt x="59157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765" tIns="5591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7" name="shp_Region_Corozal_$7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E6E2A7D3-7953-A5E8-9F6D-A72C72FD8334}"/>
                  </a:ext>
                </a:extLst>
              </p:cNvPr>
              <p:cNvSpPr/>
              <p:nvPr/>
            </p:nvSpPr>
            <p:spPr>
              <a:xfrm>
                <a:off x="2799779" y="1062787"/>
                <a:ext cx="21446" cy="46159"/>
              </a:xfrm>
              <a:custGeom>
                <a:avLst/>
                <a:gdLst/>
                <a:ahLst/>
                <a:cxnLst/>
                <a:rect l="0" t="0" r="0" b="0"/>
                <a:pathLst>
                  <a:path w="21446" h="46159">
                    <a:moveTo>
                      <a:pt x="2607" y="46158"/>
                    </a:moveTo>
                    <a:lnTo>
                      <a:pt x="13642" y="16901"/>
                    </a:lnTo>
                    <a:lnTo>
                      <a:pt x="21445" y="2598"/>
                    </a:lnTo>
                    <a:lnTo>
                      <a:pt x="17553" y="0"/>
                    </a:lnTo>
                    <a:lnTo>
                      <a:pt x="0" y="37056"/>
                    </a:lnTo>
                    <a:lnTo>
                      <a:pt x="2607" y="46158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446" tIns="4615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8" name="shp_Region_Corozal_$8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4A1DE1CA-B6AF-4B77-E265-79C41FA1941D}"/>
                  </a:ext>
                </a:extLst>
              </p:cNvPr>
              <p:cNvSpPr/>
              <p:nvPr/>
            </p:nvSpPr>
            <p:spPr>
              <a:xfrm>
                <a:off x="2657394" y="1231166"/>
                <a:ext cx="11054" cy="9751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9751">
                    <a:moveTo>
                      <a:pt x="11053" y="0"/>
                    </a:moveTo>
                    <a:lnTo>
                      <a:pt x="1964" y="1956"/>
                    </a:lnTo>
                    <a:lnTo>
                      <a:pt x="0" y="7803"/>
                    </a:lnTo>
                    <a:lnTo>
                      <a:pt x="10410" y="9750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97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69" name="shp_Region_Corozal_$9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7B772CAB-1C3F-FEE8-BD86-43D4506B3D03}"/>
                  </a:ext>
                </a:extLst>
              </p:cNvPr>
              <p:cNvSpPr/>
              <p:nvPr/>
            </p:nvSpPr>
            <p:spPr>
              <a:xfrm>
                <a:off x="2840741" y="1403452"/>
                <a:ext cx="9090" cy="15603"/>
              </a:xfrm>
              <a:custGeom>
                <a:avLst/>
                <a:gdLst/>
                <a:ahLst/>
                <a:cxnLst/>
                <a:rect l="0" t="0" r="0" b="0"/>
                <a:pathLst>
                  <a:path w="9090" h="15603">
                    <a:moveTo>
                      <a:pt x="3250" y="0"/>
                    </a:moveTo>
                    <a:lnTo>
                      <a:pt x="0" y="14307"/>
                    </a:lnTo>
                    <a:lnTo>
                      <a:pt x="9089" y="15602"/>
                    </a:lnTo>
                    <a:lnTo>
                      <a:pt x="9089" y="7151"/>
                    </a:lnTo>
                    <a:lnTo>
                      <a:pt x="3250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090" tIns="156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  <p:sp>
            <p:nvSpPr>
              <p:cNvPr id="270" name="shp_Region_Corozal_$10" descr="Admin1_Id=&quot;BLZ&quot;&#10;Admin1_Label=&quot;Belize&quot;&#10;Admin2_Id=&quot;BLZ.3_1&quot;&#10;Admin2_Label=&quot;Corozal&quot;&#10;" title="Corozal">
                <a:extLst>
                  <a:ext uri="{FF2B5EF4-FFF2-40B4-BE49-F238E27FC236}">
                    <a16:creationId xmlns:a16="http://schemas.microsoft.com/office/drawing/2014/main" id="{EEECDB1E-D556-2AA0-DF45-66FA69995399}"/>
                  </a:ext>
                </a:extLst>
              </p:cNvPr>
              <p:cNvSpPr/>
              <p:nvPr/>
            </p:nvSpPr>
            <p:spPr>
              <a:xfrm>
                <a:off x="2695106" y="1482764"/>
                <a:ext cx="68265" cy="42263"/>
              </a:xfrm>
              <a:custGeom>
                <a:avLst/>
                <a:gdLst/>
                <a:ahLst/>
                <a:cxnLst/>
                <a:rect l="0" t="0" r="0" b="0"/>
                <a:pathLst>
                  <a:path w="68265" h="42263">
                    <a:moveTo>
                      <a:pt x="34462" y="0"/>
                    </a:moveTo>
                    <a:lnTo>
                      <a:pt x="28605" y="6505"/>
                    </a:lnTo>
                    <a:lnTo>
                      <a:pt x="18856" y="9754"/>
                    </a:lnTo>
                    <a:lnTo>
                      <a:pt x="7803" y="9754"/>
                    </a:lnTo>
                    <a:lnTo>
                      <a:pt x="8446" y="24057"/>
                    </a:lnTo>
                    <a:lnTo>
                      <a:pt x="0" y="28611"/>
                    </a:lnTo>
                    <a:lnTo>
                      <a:pt x="7803" y="33811"/>
                    </a:lnTo>
                    <a:lnTo>
                      <a:pt x="12999" y="42262"/>
                    </a:lnTo>
                    <a:lnTo>
                      <a:pt x="19499" y="42262"/>
                    </a:lnTo>
                    <a:lnTo>
                      <a:pt x="46158" y="36414"/>
                    </a:lnTo>
                    <a:lnTo>
                      <a:pt x="55265" y="37708"/>
                    </a:lnTo>
                    <a:lnTo>
                      <a:pt x="68264" y="27307"/>
                    </a:lnTo>
                    <a:lnTo>
                      <a:pt x="54604" y="26013"/>
                    </a:lnTo>
                    <a:lnTo>
                      <a:pt x="39658" y="27959"/>
                    </a:lnTo>
                    <a:lnTo>
                      <a:pt x="33159" y="9754"/>
                    </a:lnTo>
                    <a:lnTo>
                      <a:pt x="34462" y="0"/>
                    </a:lnTo>
                    <a:close/>
                  </a:path>
                </a:pathLst>
              </a:custGeom>
              <a:solidFill>
                <a:srgbClr val="92D05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265" tIns="422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Corozal</a:t>
                </a:r>
              </a:p>
            </p:txBody>
          </p:sp>
        </p:grpSp>
        <p:sp>
          <p:nvSpPr>
            <p:cNvPr id="22" name="shp_Region_Orange_Walk" descr="Admin1_Id=&quot;BLZ&quot;&#10;Admin1_Label=&quot;Belize&quot;&#10;Admin2_Id=&quot;BLZ.4_1&quot;&#10;Admin2_Label=&quot;Orange Walk&quot;&#10;" title="Orange Walk">
              <a:extLst>
                <a:ext uri="{FF2B5EF4-FFF2-40B4-BE49-F238E27FC236}">
                  <a16:creationId xmlns:a16="http://schemas.microsoft.com/office/drawing/2014/main" id="{C84AD393-985C-835C-7436-7C17E263BF2D}"/>
                </a:ext>
              </a:extLst>
            </p:cNvPr>
            <p:cNvSpPr/>
            <p:nvPr/>
          </p:nvSpPr>
          <p:spPr>
            <a:xfrm>
              <a:off x="178794" y="562448"/>
              <a:ext cx="1994037" cy="2170648"/>
            </a:xfrm>
            <a:custGeom>
              <a:avLst/>
              <a:gdLst/>
              <a:ahLst/>
              <a:cxnLst/>
              <a:rect l="0" t="0" r="0" b="0"/>
              <a:pathLst>
                <a:path w="1994037" h="2170648">
                  <a:moveTo>
                    <a:pt x="1234077" y="1813898"/>
                  </a:moveTo>
                  <a:lnTo>
                    <a:pt x="1236255" y="1812751"/>
                  </a:lnTo>
                  <a:lnTo>
                    <a:pt x="1239737" y="1742973"/>
                  </a:lnTo>
                  <a:lnTo>
                    <a:pt x="1236987" y="1742929"/>
                  </a:lnTo>
                  <a:lnTo>
                    <a:pt x="1226792" y="1528864"/>
                  </a:lnTo>
                  <a:lnTo>
                    <a:pt x="1236255" y="1391657"/>
                  </a:lnTo>
                  <a:lnTo>
                    <a:pt x="1274110" y="1339611"/>
                  </a:lnTo>
                  <a:lnTo>
                    <a:pt x="1368730" y="1311224"/>
                  </a:lnTo>
                  <a:lnTo>
                    <a:pt x="1406585" y="1278101"/>
                  </a:lnTo>
                  <a:lnTo>
                    <a:pt x="1373462" y="1244982"/>
                  </a:lnTo>
                  <a:lnTo>
                    <a:pt x="1373462" y="852275"/>
                  </a:lnTo>
                  <a:lnTo>
                    <a:pt x="1411317" y="833352"/>
                  </a:lnTo>
                  <a:lnTo>
                    <a:pt x="1397122" y="781306"/>
                  </a:lnTo>
                  <a:lnTo>
                    <a:pt x="1576916" y="743455"/>
                  </a:lnTo>
                  <a:lnTo>
                    <a:pt x="1841866" y="672482"/>
                  </a:lnTo>
                  <a:lnTo>
                    <a:pt x="1994036" y="627529"/>
                  </a:lnTo>
                  <a:lnTo>
                    <a:pt x="1983180" y="626363"/>
                  </a:lnTo>
                  <a:lnTo>
                    <a:pt x="1834402" y="465430"/>
                  </a:lnTo>
                  <a:lnTo>
                    <a:pt x="1652215" y="319679"/>
                  </a:lnTo>
                  <a:lnTo>
                    <a:pt x="1612735" y="219474"/>
                  </a:lnTo>
                  <a:lnTo>
                    <a:pt x="1545935" y="107123"/>
                  </a:lnTo>
                  <a:lnTo>
                    <a:pt x="1421424" y="52466"/>
                  </a:lnTo>
                  <a:lnTo>
                    <a:pt x="1339446" y="16030"/>
                  </a:lnTo>
                  <a:lnTo>
                    <a:pt x="1271771" y="0"/>
                  </a:lnTo>
                  <a:lnTo>
                    <a:pt x="1272986" y="19762"/>
                  </a:lnTo>
                  <a:lnTo>
                    <a:pt x="1260736" y="56617"/>
                  </a:lnTo>
                  <a:lnTo>
                    <a:pt x="1250969" y="74192"/>
                  </a:lnTo>
                  <a:lnTo>
                    <a:pt x="1232845" y="91129"/>
                  </a:lnTo>
                  <a:lnTo>
                    <a:pt x="1206239" y="104784"/>
                  </a:lnTo>
                  <a:lnTo>
                    <a:pt x="1148510" y="196511"/>
                  </a:lnTo>
                  <a:lnTo>
                    <a:pt x="1121404" y="279721"/>
                  </a:lnTo>
                  <a:lnTo>
                    <a:pt x="1085121" y="331839"/>
                  </a:lnTo>
                  <a:lnTo>
                    <a:pt x="1071800" y="359516"/>
                  </a:lnTo>
                  <a:lnTo>
                    <a:pt x="1057854" y="427428"/>
                  </a:lnTo>
                  <a:lnTo>
                    <a:pt x="1041319" y="455060"/>
                  </a:lnTo>
                  <a:lnTo>
                    <a:pt x="1010142" y="465448"/>
                  </a:lnTo>
                  <a:lnTo>
                    <a:pt x="984912" y="478371"/>
                  </a:lnTo>
                  <a:lnTo>
                    <a:pt x="944039" y="493938"/>
                  </a:lnTo>
                  <a:lnTo>
                    <a:pt x="909541" y="524463"/>
                  </a:lnTo>
                  <a:lnTo>
                    <a:pt x="896166" y="566447"/>
                  </a:lnTo>
                  <a:lnTo>
                    <a:pt x="888738" y="579772"/>
                  </a:lnTo>
                  <a:lnTo>
                    <a:pt x="867275" y="599356"/>
                  </a:lnTo>
                  <a:lnTo>
                    <a:pt x="855847" y="619056"/>
                  </a:lnTo>
                  <a:lnTo>
                    <a:pt x="854311" y="651233"/>
                  </a:lnTo>
                  <a:lnTo>
                    <a:pt x="812653" y="677004"/>
                  </a:lnTo>
                  <a:lnTo>
                    <a:pt x="796082" y="707917"/>
                  </a:lnTo>
                  <a:lnTo>
                    <a:pt x="782494" y="723840"/>
                  </a:lnTo>
                  <a:lnTo>
                    <a:pt x="754049" y="733224"/>
                  </a:lnTo>
                  <a:lnTo>
                    <a:pt x="733104" y="745603"/>
                  </a:lnTo>
                  <a:lnTo>
                    <a:pt x="703034" y="769409"/>
                  </a:lnTo>
                  <a:lnTo>
                    <a:pt x="698927" y="781717"/>
                  </a:lnTo>
                  <a:lnTo>
                    <a:pt x="699713" y="807532"/>
                  </a:lnTo>
                  <a:lnTo>
                    <a:pt x="711658" y="838870"/>
                  </a:lnTo>
                  <a:lnTo>
                    <a:pt x="710266" y="858199"/>
                  </a:lnTo>
                  <a:lnTo>
                    <a:pt x="712980" y="912103"/>
                  </a:lnTo>
                  <a:lnTo>
                    <a:pt x="691177" y="895367"/>
                  </a:lnTo>
                  <a:lnTo>
                    <a:pt x="673018" y="873315"/>
                  </a:lnTo>
                  <a:lnTo>
                    <a:pt x="664786" y="859230"/>
                  </a:lnTo>
                  <a:lnTo>
                    <a:pt x="648644" y="847740"/>
                  </a:lnTo>
                  <a:lnTo>
                    <a:pt x="638787" y="828804"/>
                  </a:lnTo>
                  <a:lnTo>
                    <a:pt x="626002" y="819487"/>
                  </a:lnTo>
                  <a:lnTo>
                    <a:pt x="586879" y="806108"/>
                  </a:lnTo>
                  <a:lnTo>
                    <a:pt x="541096" y="784565"/>
                  </a:lnTo>
                  <a:lnTo>
                    <a:pt x="482635" y="700007"/>
                  </a:lnTo>
                  <a:lnTo>
                    <a:pt x="468064" y="698208"/>
                  </a:lnTo>
                  <a:lnTo>
                    <a:pt x="434227" y="709091"/>
                  </a:lnTo>
                  <a:lnTo>
                    <a:pt x="422460" y="706792"/>
                  </a:lnTo>
                  <a:lnTo>
                    <a:pt x="412460" y="698065"/>
                  </a:lnTo>
                  <a:lnTo>
                    <a:pt x="404621" y="696360"/>
                  </a:lnTo>
                  <a:lnTo>
                    <a:pt x="391586" y="705886"/>
                  </a:lnTo>
                  <a:lnTo>
                    <a:pt x="384301" y="703636"/>
                  </a:lnTo>
                  <a:lnTo>
                    <a:pt x="350749" y="647889"/>
                  </a:lnTo>
                  <a:lnTo>
                    <a:pt x="294591" y="598838"/>
                  </a:lnTo>
                  <a:lnTo>
                    <a:pt x="280092" y="591133"/>
                  </a:lnTo>
                  <a:lnTo>
                    <a:pt x="255344" y="592463"/>
                  </a:lnTo>
                  <a:lnTo>
                    <a:pt x="185490" y="618797"/>
                  </a:lnTo>
                  <a:lnTo>
                    <a:pt x="126850" y="634149"/>
                  </a:lnTo>
                  <a:lnTo>
                    <a:pt x="97638" y="674990"/>
                  </a:lnTo>
                  <a:lnTo>
                    <a:pt x="45998" y="683668"/>
                  </a:lnTo>
                  <a:lnTo>
                    <a:pt x="5571" y="736965"/>
                  </a:lnTo>
                  <a:lnTo>
                    <a:pt x="2000" y="1043167"/>
                  </a:lnTo>
                  <a:lnTo>
                    <a:pt x="0" y="1048796"/>
                  </a:lnTo>
                  <a:lnTo>
                    <a:pt x="1446" y="1722524"/>
                  </a:lnTo>
                  <a:lnTo>
                    <a:pt x="2411" y="2170647"/>
                  </a:lnTo>
                  <a:lnTo>
                    <a:pt x="114905" y="2087169"/>
                  </a:lnTo>
                  <a:lnTo>
                    <a:pt x="209542" y="2044587"/>
                  </a:lnTo>
                  <a:lnTo>
                    <a:pt x="294699" y="2044587"/>
                  </a:lnTo>
                  <a:lnTo>
                    <a:pt x="266325" y="2082442"/>
                  </a:lnTo>
                  <a:lnTo>
                    <a:pt x="323090" y="2072978"/>
                  </a:lnTo>
                  <a:lnTo>
                    <a:pt x="365677" y="2030395"/>
                  </a:lnTo>
                  <a:lnTo>
                    <a:pt x="597522" y="2030395"/>
                  </a:lnTo>
                  <a:lnTo>
                    <a:pt x="687410" y="1935767"/>
                  </a:lnTo>
                  <a:lnTo>
                    <a:pt x="682678" y="1973617"/>
                  </a:lnTo>
                  <a:lnTo>
                    <a:pt x="966555" y="1954694"/>
                  </a:lnTo>
                  <a:lnTo>
                    <a:pt x="1234077" y="1813898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94037" tIns="2170648" rIns="0" bIns="0" rtlCol="0" anchor="ctr" anchorCtr="1">
              <a:normAutofit fontScale="25000" lnSpcReduction="20000"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600" b="1" i="1">
                  <a:solidFill>
                    <a:srgbClr val="FFFFFF"/>
                  </a:solidFill>
                  <a:latin typeface="Arial" panose="020B0604020202020204" pitchFamily="34" charset="0"/>
                </a:rPr>
                <a:t>Orange Walk</a:t>
              </a:r>
            </a:p>
          </p:txBody>
        </p:sp>
        <p:grpSp>
          <p:nvGrpSpPr>
            <p:cNvPr id="25" name="shp_Region_Stann_Creek" descr="Admin1_Id=&quot;BLZ&quot;&#10;Admin1_Label=&quot;Belize&quot;&#10;Admin2_Id=&quot;BLZ.5_1&quot;&#10;Admin2_Label=&quot;Stann Creek&quot;&#10;" title="Stann Creek">
              <a:extLst>
                <a:ext uri="{FF2B5EF4-FFF2-40B4-BE49-F238E27FC236}">
                  <a16:creationId xmlns:a16="http://schemas.microsoft.com/office/drawing/2014/main" id="{11D84B9F-3057-6030-CCD1-08290A760ACB}"/>
                </a:ext>
              </a:extLst>
            </p:cNvPr>
            <p:cNvGrpSpPr/>
            <p:nvPr/>
          </p:nvGrpSpPr>
          <p:grpSpPr>
            <a:xfrm>
              <a:off x="1071300" y="3176616"/>
              <a:ext cx="2169260" cy="1518420"/>
              <a:chOff x="1071300" y="3176616"/>
              <a:chExt cx="2169260" cy="1518420"/>
            </a:xfrm>
            <a:solidFill>
              <a:srgbClr val="FFC000"/>
            </a:solidFill>
          </p:grpSpPr>
          <p:sp>
            <p:nvSpPr>
              <p:cNvPr id="240" name="shp_Region_Stann_Creek_$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B703D31B-D4F0-EA11-7E4A-EAE176D2FC41}"/>
                  </a:ext>
                </a:extLst>
              </p:cNvPr>
              <p:cNvSpPr/>
              <p:nvPr/>
            </p:nvSpPr>
            <p:spPr>
              <a:xfrm>
                <a:off x="1071300" y="3176616"/>
                <a:ext cx="1283147" cy="1472904"/>
              </a:xfrm>
              <a:custGeom>
                <a:avLst/>
                <a:gdLst/>
                <a:ahLst/>
                <a:cxnLst/>
                <a:rect l="0" t="0" r="0" b="0"/>
                <a:pathLst>
                  <a:path w="1283147" h="1472904">
                    <a:moveTo>
                      <a:pt x="851454" y="1429343"/>
                    </a:moveTo>
                    <a:lnTo>
                      <a:pt x="854061" y="1418295"/>
                    </a:lnTo>
                    <a:lnTo>
                      <a:pt x="859258" y="1409840"/>
                    </a:lnTo>
                    <a:lnTo>
                      <a:pt x="867721" y="1406590"/>
                    </a:lnTo>
                    <a:lnTo>
                      <a:pt x="867061" y="1401389"/>
                    </a:lnTo>
                    <a:lnTo>
                      <a:pt x="893059" y="1398791"/>
                    </a:lnTo>
                    <a:lnTo>
                      <a:pt x="903469" y="1395537"/>
                    </a:lnTo>
                    <a:lnTo>
                      <a:pt x="917129" y="1403340"/>
                    </a:lnTo>
                    <a:lnTo>
                      <a:pt x="921665" y="1393586"/>
                    </a:lnTo>
                    <a:lnTo>
                      <a:pt x="913880" y="1389689"/>
                    </a:lnTo>
                    <a:lnTo>
                      <a:pt x="908666" y="1376029"/>
                    </a:lnTo>
                    <a:lnTo>
                      <a:pt x="900862" y="1377984"/>
                    </a:lnTo>
                    <a:lnTo>
                      <a:pt x="889809" y="1376029"/>
                    </a:lnTo>
                    <a:lnTo>
                      <a:pt x="889809" y="1368235"/>
                    </a:lnTo>
                    <a:lnTo>
                      <a:pt x="897613" y="1355883"/>
                    </a:lnTo>
                    <a:lnTo>
                      <a:pt x="911915" y="1348080"/>
                    </a:lnTo>
                    <a:lnTo>
                      <a:pt x="922968" y="1348731"/>
                    </a:lnTo>
                    <a:lnTo>
                      <a:pt x="927522" y="1335076"/>
                    </a:lnTo>
                    <a:lnTo>
                      <a:pt x="929468" y="1321425"/>
                    </a:lnTo>
                    <a:lnTo>
                      <a:pt x="927522" y="1309073"/>
                    </a:lnTo>
                    <a:lnTo>
                      <a:pt x="932718" y="1296721"/>
                    </a:lnTo>
                    <a:lnTo>
                      <a:pt x="925575" y="1289570"/>
                    </a:lnTo>
                    <a:lnTo>
                      <a:pt x="922326" y="1279168"/>
                    </a:lnTo>
                    <a:lnTo>
                      <a:pt x="922326" y="1260312"/>
                    </a:lnTo>
                    <a:lnTo>
                      <a:pt x="929468" y="1251210"/>
                    </a:lnTo>
                    <a:lnTo>
                      <a:pt x="921665" y="1231702"/>
                    </a:lnTo>
                    <a:lnTo>
                      <a:pt x="923629" y="1226510"/>
                    </a:lnTo>
                    <a:lnTo>
                      <a:pt x="935325" y="1210904"/>
                    </a:lnTo>
                    <a:lnTo>
                      <a:pt x="941182" y="1210904"/>
                    </a:lnTo>
                    <a:lnTo>
                      <a:pt x="945735" y="1203101"/>
                    </a:lnTo>
                    <a:lnTo>
                      <a:pt x="956127" y="1195302"/>
                    </a:lnTo>
                    <a:lnTo>
                      <a:pt x="960681" y="1185548"/>
                    </a:lnTo>
                    <a:lnTo>
                      <a:pt x="978233" y="1184896"/>
                    </a:lnTo>
                    <a:lnTo>
                      <a:pt x="985394" y="1175799"/>
                    </a:lnTo>
                    <a:lnTo>
                      <a:pt x="986679" y="1166045"/>
                    </a:lnTo>
                    <a:lnTo>
                      <a:pt x="984090" y="1150443"/>
                    </a:lnTo>
                    <a:lnTo>
                      <a:pt x="987983" y="1149144"/>
                    </a:lnTo>
                    <a:lnTo>
                      <a:pt x="1006839" y="1127038"/>
                    </a:lnTo>
                    <a:lnTo>
                      <a:pt x="1022445" y="1123788"/>
                    </a:lnTo>
                    <a:lnTo>
                      <a:pt x="1027641" y="1118587"/>
                    </a:lnTo>
                    <a:lnTo>
                      <a:pt x="1027641" y="1109485"/>
                    </a:lnTo>
                    <a:lnTo>
                      <a:pt x="1033498" y="1100379"/>
                    </a:lnTo>
                    <a:lnTo>
                      <a:pt x="1047801" y="1101030"/>
                    </a:lnTo>
                    <a:lnTo>
                      <a:pt x="1060800" y="1115985"/>
                    </a:lnTo>
                    <a:lnTo>
                      <a:pt x="1057550" y="1140689"/>
                    </a:lnTo>
                    <a:lnTo>
                      <a:pt x="1049104" y="1151742"/>
                    </a:lnTo>
                    <a:lnTo>
                      <a:pt x="1038694" y="1158893"/>
                    </a:lnTo>
                    <a:lnTo>
                      <a:pt x="1035444" y="1164094"/>
                    </a:lnTo>
                    <a:lnTo>
                      <a:pt x="1023749" y="1166045"/>
                    </a:lnTo>
                    <a:lnTo>
                      <a:pt x="1014642" y="1160192"/>
                    </a:lnTo>
                    <a:lnTo>
                      <a:pt x="1005535" y="1162799"/>
                    </a:lnTo>
                    <a:lnTo>
                      <a:pt x="1010089" y="1171897"/>
                    </a:lnTo>
                    <a:lnTo>
                      <a:pt x="997089" y="1179696"/>
                    </a:lnTo>
                    <a:lnTo>
                      <a:pt x="995786" y="1185548"/>
                    </a:lnTo>
                    <a:lnTo>
                      <a:pt x="987340" y="1190749"/>
                    </a:lnTo>
                    <a:lnTo>
                      <a:pt x="972376" y="1193351"/>
                    </a:lnTo>
                    <a:lnTo>
                      <a:pt x="963288" y="1205703"/>
                    </a:lnTo>
                    <a:lnTo>
                      <a:pt x="958074" y="1217403"/>
                    </a:lnTo>
                    <a:lnTo>
                      <a:pt x="957431" y="1226510"/>
                    </a:lnTo>
                    <a:lnTo>
                      <a:pt x="960681" y="1237559"/>
                    </a:lnTo>
                    <a:lnTo>
                      <a:pt x="959377" y="1259665"/>
                    </a:lnTo>
                    <a:lnTo>
                      <a:pt x="951574" y="1269419"/>
                    </a:lnTo>
                    <a:lnTo>
                      <a:pt x="945074" y="1260312"/>
                    </a:lnTo>
                    <a:lnTo>
                      <a:pt x="934682" y="1272664"/>
                    </a:lnTo>
                    <a:lnTo>
                      <a:pt x="936628" y="1301921"/>
                    </a:lnTo>
                    <a:lnTo>
                      <a:pt x="932718" y="1311671"/>
                    </a:lnTo>
                    <a:lnTo>
                      <a:pt x="933379" y="1324670"/>
                    </a:lnTo>
                    <a:lnTo>
                      <a:pt x="927522" y="1351329"/>
                    </a:lnTo>
                    <a:lnTo>
                      <a:pt x="932075" y="1353280"/>
                    </a:lnTo>
                    <a:lnTo>
                      <a:pt x="936628" y="1370186"/>
                    </a:lnTo>
                    <a:lnTo>
                      <a:pt x="932075" y="1401389"/>
                    </a:lnTo>
                    <a:lnTo>
                      <a:pt x="932718" y="1419598"/>
                    </a:lnTo>
                    <a:lnTo>
                      <a:pt x="930129" y="1430647"/>
                    </a:lnTo>
                    <a:lnTo>
                      <a:pt x="918415" y="1449498"/>
                    </a:lnTo>
                    <a:lnTo>
                      <a:pt x="902827" y="1461855"/>
                    </a:lnTo>
                    <a:lnTo>
                      <a:pt x="908666" y="1469002"/>
                    </a:lnTo>
                    <a:lnTo>
                      <a:pt x="915826" y="1465100"/>
                    </a:lnTo>
                    <a:lnTo>
                      <a:pt x="928182" y="1472903"/>
                    </a:lnTo>
                    <a:lnTo>
                      <a:pt x="942485" y="1465752"/>
                    </a:lnTo>
                    <a:lnTo>
                      <a:pt x="934682" y="1454052"/>
                    </a:lnTo>
                    <a:lnTo>
                      <a:pt x="932718" y="1439749"/>
                    </a:lnTo>
                    <a:lnTo>
                      <a:pt x="947681" y="1433245"/>
                    </a:lnTo>
                    <a:lnTo>
                      <a:pt x="952877" y="1422196"/>
                    </a:lnTo>
                    <a:lnTo>
                      <a:pt x="953538" y="1410492"/>
                    </a:lnTo>
                    <a:lnTo>
                      <a:pt x="963288" y="1399438"/>
                    </a:lnTo>
                    <a:lnTo>
                      <a:pt x="948324" y="1366284"/>
                    </a:lnTo>
                    <a:lnTo>
                      <a:pt x="943771" y="1350682"/>
                    </a:lnTo>
                    <a:lnTo>
                      <a:pt x="940521" y="1330527"/>
                    </a:lnTo>
                    <a:lnTo>
                      <a:pt x="942485" y="1305171"/>
                    </a:lnTo>
                    <a:lnTo>
                      <a:pt x="948324" y="1294118"/>
                    </a:lnTo>
                    <a:lnTo>
                      <a:pt x="962627" y="1288275"/>
                    </a:lnTo>
                    <a:lnTo>
                      <a:pt x="960681" y="1268115"/>
                    </a:lnTo>
                    <a:lnTo>
                      <a:pt x="965877" y="1258357"/>
                    </a:lnTo>
                    <a:lnTo>
                      <a:pt x="969127" y="1236260"/>
                    </a:lnTo>
                    <a:lnTo>
                      <a:pt x="969127" y="1216105"/>
                    </a:lnTo>
                    <a:lnTo>
                      <a:pt x="973680" y="1204404"/>
                    </a:lnTo>
                    <a:lnTo>
                      <a:pt x="980180" y="1198552"/>
                    </a:lnTo>
                    <a:lnTo>
                      <a:pt x="999696" y="1190102"/>
                    </a:lnTo>
                    <a:lnTo>
                      <a:pt x="1013339" y="1179696"/>
                    </a:lnTo>
                    <a:lnTo>
                      <a:pt x="1032837" y="1169295"/>
                    </a:lnTo>
                    <a:lnTo>
                      <a:pt x="1056247" y="1151090"/>
                    </a:lnTo>
                    <a:lnTo>
                      <a:pt x="1065354" y="1133538"/>
                    </a:lnTo>
                    <a:lnTo>
                      <a:pt x="1066657" y="1119886"/>
                    </a:lnTo>
                    <a:lnTo>
                      <a:pt x="1070550" y="1113387"/>
                    </a:lnTo>
                    <a:lnTo>
                      <a:pt x="1071853" y="1099731"/>
                    </a:lnTo>
                    <a:lnTo>
                      <a:pt x="1066657" y="1082830"/>
                    </a:lnTo>
                    <a:lnTo>
                      <a:pt x="1069907" y="1073077"/>
                    </a:lnTo>
                    <a:lnTo>
                      <a:pt x="1069907" y="1056823"/>
                    </a:lnTo>
                    <a:lnTo>
                      <a:pt x="1064693" y="1038614"/>
                    </a:lnTo>
                    <a:lnTo>
                      <a:pt x="1073157" y="1024316"/>
                    </a:lnTo>
                    <a:lnTo>
                      <a:pt x="1073800" y="1012620"/>
                    </a:lnTo>
                    <a:lnTo>
                      <a:pt x="1085513" y="1001558"/>
                    </a:lnTo>
                    <a:lnTo>
                      <a:pt x="1088763" y="993112"/>
                    </a:lnTo>
                    <a:lnTo>
                      <a:pt x="1091352" y="976858"/>
                    </a:lnTo>
                    <a:lnTo>
                      <a:pt x="1074460" y="948905"/>
                    </a:lnTo>
                    <a:lnTo>
                      <a:pt x="1068603" y="929401"/>
                    </a:lnTo>
                    <a:lnTo>
                      <a:pt x="1064693" y="921602"/>
                    </a:lnTo>
                    <a:lnTo>
                      <a:pt x="1062104" y="907942"/>
                    </a:lnTo>
                    <a:lnTo>
                      <a:pt x="1063407" y="880640"/>
                    </a:lnTo>
                    <a:lnTo>
                      <a:pt x="1060157" y="881287"/>
                    </a:lnTo>
                    <a:lnTo>
                      <a:pt x="1056247" y="899492"/>
                    </a:lnTo>
                    <a:lnTo>
                      <a:pt x="1047140" y="896242"/>
                    </a:lnTo>
                    <a:lnTo>
                      <a:pt x="1048444" y="882591"/>
                    </a:lnTo>
                    <a:lnTo>
                      <a:pt x="1044551" y="879346"/>
                    </a:lnTo>
                    <a:lnTo>
                      <a:pt x="1046497" y="859186"/>
                    </a:lnTo>
                    <a:lnTo>
                      <a:pt x="1059497" y="847490"/>
                    </a:lnTo>
                    <a:lnTo>
                      <a:pt x="1067943" y="842285"/>
                    </a:lnTo>
                    <a:lnTo>
                      <a:pt x="1082246" y="838379"/>
                    </a:lnTo>
                    <a:lnTo>
                      <a:pt x="1090710" y="845535"/>
                    </a:lnTo>
                    <a:lnTo>
                      <a:pt x="1089406" y="865686"/>
                    </a:lnTo>
                    <a:lnTo>
                      <a:pt x="1097209" y="862436"/>
                    </a:lnTo>
                    <a:lnTo>
                      <a:pt x="1103066" y="842285"/>
                    </a:lnTo>
                    <a:lnTo>
                      <a:pt x="1106316" y="839031"/>
                    </a:lnTo>
                    <a:lnTo>
                      <a:pt x="1104352" y="826032"/>
                    </a:lnTo>
                    <a:lnTo>
                      <a:pt x="1105655" y="818880"/>
                    </a:lnTo>
                    <a:lnTo>
                      <a:pt x="1116708" y="815626"/>
                    </a:lnTo>
                    <a:lnTo>
                      <a:pt x="1134921" y="814983"/>
                    </a:lnTo>
                    <a:lnTo>
                      <a:pt x="1141421" y="809778"/>
                    </a:lnTo>
                    <a:lnTo>
                      <a:pt x="1142707" y="797426"/>
                    </a:lnTo>
                    <a:lnTo>
                      <a:pt x="1149224" y="785070"/>
                    </a:lnTo>
                    <a:lnTo>
                      <a:pt x="1155063" y="781172"/>
                    </a:lnTo>
                    <a:lnTo>
                      <a:pt x="1168723" y="779869"/>
                    </a:lnTo>
                    <a:lnTo>
                      <a:pt x="1176526" y="783771"/>
                    </a:lnTo>
                    <a:lnTo>
                      <a:pt x="1201882" y="787677"/>
                    </a:lnTo>
                    <a:lnTo>
                      <a:pt x="1207078" y="781820"/>
                    </a:lnTo>
                    <a:lnTo>
                      <a:pt x="1196025" y="770119"/>
                    </a:lnTo>
                    <a:lnTo>
                      <a:pt x="1194722" y="765571"/>
                    </a:lnTo>
                    <a:lnTo>
                      <a:pt x="1181722" y="758419"/>
                    </a:lnTo>
                    <a:lnTo>
                      <a:pt x="1171312" y="739567"/>
                    </a:lnTo>
                    <a:lnTo>
                      <a:pt x="1170669" y="726564"/>
                    </a:lnTo>
                    <a:lnTo>
                      <a:pt x="1175866" y="716810"/>
                    </a:lnTo>
                    <a:lnTo>
                      <a:pt x="1162866" y="705757"/>
                    </a:lnTo>
                    <a:lnTo>
                      <a:pt x="1154420" y="695355"/>
                    </a:lnTo>
                    <a:lnTo>
                      <a:pt x="1133618" y="656996"/>
                    </a:lnTo>
                    <a:lnTo>
                      <a:pt x="1123208" y="627748"/>
                    </a:lnTo>
                    <a:lnTo>
                      <a:pt x="1121904" y="614088"/>
                    </a:lnTo>
                    <a:lnTo>
                      <a:pt x="1117369" y="600441"/>
                    </a:lnTo>
                    <a:lnTo>
                      <a:pt x="1117369" y="589379"/>
                    </a:lnTo>
                    <a:lnTo>
                      <a:pt x="1134921" y="571831"/>
                    </a:lnTo>
                    <a:lnTo>
                      <a:pt x="1138814" y="560126"/>
                    </a:lnTo>
                    <a:lnTo>
                      <a:pt x="1138171" y="530873"/>
                    </a:lnTo>
                    <a:lnTo>
                      <a:pt x="1140760" y="522423"/>
                    </a:lnTo>
                    <a:lnTo>
                      <a:pt x="1160277" y="511370"/>
                    </a:lnTo>
                    <a:lnTo>
                      <a:pt x="1171973" y="499674"/>
                    </a:lnTo>
                    <a:lnTo>
                      <a:pt x="1181080" y="494469"/>
                    </a:lnTo>
                    <a:lnTo>
                      <a:pt x="1209025" y="486014"/>
                    </a:lnTo>
                    <a:lnTo>
                      <a:pt x="1234380" y="482113"/>
                    </a:lnTo>
                    <a:lnTo>
                      <a:pt x="1242183" y="483416"/>
                    </a:lnTo>
                    <a:lnTo>
                      <a:pt x="1250629" y="476908"/>
                    </a:lnTo>
                    <a:lnTo>
                      <a:pt x="1255183" y="477568"/>
                    </a:lnTo>
                    <a:lnTo>
                      <a:pt x="1266236" y="467810"/>
                    </a:lnTo>
                    <a:lnTo>
                      <a:pt x="1275342" y="442458"/>
                    </a:lnTo>
                    <a:lnTo>
                      <a:pt x="1281199" y="430754"/>
                    </a:lnTo>
                    <a:lnTo>
                      <a:pt x="1283146" y="403452"/>
                    </a:lnTo>
                    <a:lnTo>
                      <a:pt x="1268843" y="380046"/>
                    </a:lnTo>
                    <a:lnTo>
                      <a:pt x="1266236" y="369641"/>
                    </a:lnTo>
                    <a:lnTo>
                      <a:pt x="1254540" y="354039"/>
                    </a:lnTo>
                    <a:lnTo>
                      <a:pt x="1249987" y="335835"/>
                    </a:lnTo>
                    <a:lnTo>
                      <a:pt x="1242826" y="317635"/>
                    </a:lnTo>
                    <a:lnTo>
                      <a:pt x="1242183" y="302028"/>
                    </a:lnTo>
                    <a:lnTo>
                      <a:pt x="1238934" y="294230"/>
                    </a:lnTo>
                    <a:lnTo>
                      <a:pt x="1242183" y="272775"/>
                    </a:lnTo>
                    <a:lnTo>
                      <a:pt x="1232434" y="260423"/>
                    </a:lnTo>
                    <a:lnTo>
                      <a:pt x="1227881" y="251321"/>
                    </a:lnTo>
                    <a:lnTo>
                      <a:pt x="1224631" y="224015"/>
                    </a:lnTo>
                    <a:lnTo>
                      <a:pt x="1225274" y="207761"/>
                    </a:lnTo>
                    <a:lnTo>
                      <a:pt x="1220738" y="196713"/>
                    </a:lnTo>
                    <a:lnTo>
                      <a:pt x="1222685" y="183709"/>
                    </a:lnTo>
                    <a:lnTo>
                      <a:pt x="1219435" y="175254"/>
                    </a:lnTo>
                    <a:lnTo>
                      <a:pt x="1209685" y="166156"/>
                    </a:lnTo>
                    <a:lnTo>
                      <a:pt x="1194079" y="164205"/>
                    </a:lnTo>
                    <a:lnTo>
                      <a:pt x="1187579" y="170053"/>
                    </a:lnTo>
                    <a:lnTo>
                      <a:pt x="1177830" y="172656"/>
                    </a:lnTo>
                    <a:lnTo>
                      <a:pt x="1157670" y="170053"/>
                    </a:lnTo>
                    <a:lnTo>
                      <a:pt x="1144671" y="163554"/>
                    </a:lnTo>
                    <a:lnTo>
                      <a:pt x="1133618" y="149903"/>
                    </a:lnTo>
                    <a:lnTo>
                      <a:pt x="1128422" y="134952"/>
                    </a:lnTo>
                    <a:lnTo>
                      <a:pt x="1123868" y="128449"/>
                    </a:lnTo>
                    <a:lnTo>
                      <a:pt x="1121904" y="116092"/>
                    </a:lnTo>
                    <a:lnTo>
                      <a:pt x="1117369" y="103097"/>
                    </a:lnTo>
                    <a:lnTo>
                      <a:pt x="1118654" y="86839"/>
                    </a:lnTo>
                    <a:lnTo>
                      <a:pt x="1116708" y="77085"/>
                    </a:lnTo>
                    <a:lnTo>
                      <a:pt x="1090710" y="50430"/>
                    </a:lnTo>
                    <a:lnTo>
                      <a:pt x="1090049" y="39382"/>
                    </a:lnTo>
                    <a:lnTo>
                      <a:pt x="1086156" y="28333"/>
                    </a:lnTo>
                    <a:lnTo>
                      <a:pt x="1082246" y="0"/>
                    </a:lnTo>
                    <a:lnTo>
                      <a:pt x="1001411" y="54966"/>
                    </a:lnTo>
                    <a:lnTo>
                      <a:pt x="713980" y="50801"/>
                    </a:lnTo>
                    <a:lnTo>
                      <a:pt x="715176" y="50234"/>
                    </a:lnTo>
                    <a:lnTo>
                      <a:pt x="471493" y="50234"/>
                    </a:lnTo>
                    <a:lnTo>
                      <a:pt x="464618" y="50832"/>
                    </a:lnTo>
                    <a:lnTo>
                      <a:pt x="453297" y="64291"/>
                    </a:lnTo>
                    <a:lnTo>
                      <a:pt x="486527" y="178798"/>
                    </a:lnTo>
                    <a:lnTo>
                      <a:pt x="489813" y="177147"/>
                    </a:lnTo>
                    <a:lnTo>
                      <a:pt x="499884" y="201641"/>
                    </a:lnTo>
                    <a:lnTo>
                      <a:pt x="419442" y="296265"/>
                    </a:lnTo>
                    <a:lnTo>
                      <a:pt x="353213" y="400358"/>
                    </a:lnTo>
                    <a:lnTo>
                      <a:pt x="318697" y="428294"/>
                    </a:lnTo>
                    <a:lnTo>
                      <a:pt x="311769" y="448632"/>
                    </a:lnTo>
                    <a:lnTo>
                      <a:pt x="252951" y="468238"/>
                    </a:lnTo>
                    <a:lnTo>
                      <a:pt x="274146" y="651188"/>
                    </a:lnTo>
                    <a:lnTo>
                      <a:pt x="214846" y="681620"/>
                    </a:lnTo>
                    <a:lnTo>
                      <a:pt x="241523" y="738773"/>
                    </a:lnTo>
                    <a:lnTo>
                      <a:pt x="169116" y="738773"/>
                    </a:lnTo>
                    <a:lnTo>
                      <a:pt x="131011" y="765446"/>
                    </a:lnTo>
                    <a:lnTo>
                      <a:pt x="73853" y="841656"/>
                    </a:lnTo>
                    <a:lnTo>
                      <a:pt x="16713" y="982639"/>
                    </a:lnTo>
                    <a:lnTo>
                      <a:pt x="0" y="1021633"/>
                    </a:lnTo>
                    <a:lnTo>
                      <a:pt x="278592" y="1027753"/>
                    </a:lnTo>
                    <a:lnTo>
                      <a:pt x="325340" y="1028365"/>
                    </a:lnTo>
                    <a:lnTo>
                      <a:pt x="462511" y="1116003"/>
                    </a:lnTo>
                    <a:lnTo>
                      <a:pt x="416799" y="1173156"/>
                    </a:lnTo>
                    <a:lnTo>
                      <a:pt x="432459" y="1187740"/>
                    </a:lnTo>
                    <a:lnTo>
                      <a:pt x="465904" y="1207029"/>
                    </a:lnTo>
                    <a:lnTo>
                      <a:pt x="527293" y="1268414"/>
                    </a:lnTo>
                    <a:lnTo>
                      <a:pt x="534918" y="1420830"/>
                    </a:lnTo>
                    <a:lnTo>
                      <a:pt x="832652" y="1418504"/>
                    </a:lnTo>
                    <a:lnTo>
                      <a:pt x="851454" y="1429343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83147" tIns="14729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1" name="shp_Region_Stann_Creek_$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96A3360C-89EF-6409-6677-0FEF1F19AE31}"/>
                  </a:ext>
                </a:extLst>
              </p:cNvPr>
              <p:cNvSpPr/>
              <p:nvPr/>
            </p:nvSpPr>
            <p:spPr>
              <a:xfrm>
                <a:off x="2747764" y="3277758"/>
                <a:ext cx="49409" cy="47458"/>
              </a:xfrm>
              <a:custGeom>
                <a:avLst/>
                <a:gdLst/>
                <a:ahLst/>
                <a:cxnLst/>
                <a:rect l="0" t="0" r="0" b="0"/>
                <a:pathLst>
                  <a:path w="49409" h="47458">
                    <a:moveTo>
                      <a:pt x="29909" y="0"/>
                    </a:moveTo>
                    <a:lnTo>
                      <a:pt x="14303" y="4553"/>
                    </a:lnTo>
                    <a:lnTo>
                      <a:pt x="9749" y="10401"/>
                    </a:lnTo>
                    <a:lnTo>
                      <a:pt x="7160" y="27949"/>
                    </a:lnTo>
                    <a:lnTo>
                      <a:pt x="2607" y="29904"/>
                    </a:lnTo>
                    <a:lnTo>
                      <a:pt x="0" y="40957"/>
                    </a:lnTo>
                    <a:lnTo>
                      <a:pt x="1946" y="47457"/>
                    </a:lnTo>
                    <a:lnTo>
                      <a:pt x="16249" y="40306"/>
                    </a:lnTo>
                    <a:lnTo>
                      <a:pt x="43569" y="41609"/>
                    </a:lnTo>
                    <a:lnTo>
                      <a:pt x="48765" y="34458"/>
                    </a:lnTo>
                    <a:lnTo>
                      <a:pt x="49408" y="23409"/>
                    </a:lnTo>
                    <a:lnTo>
                      <a:pt x="44212" y="20802"/>
                    </a:lnTo>
                    <a:lnTo>
                      <a:pt x="44212" y="10401"/>
                    </a:lnTo>
                    <a:lnTo>
                      <a:pt x="2990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9409" tIns="474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2" name="shp_Region_Stann_Creek_$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4D54B077-E81A-5897-CCB1-73589B504167}"/>
                  </a:ext>
                </a:extLst>
              </p:cNvPr>
              <p:cNvSpPr/>
              <p:nvPr/>
            </p:nvSpPr>
            <p:spPr>
              <a:xfrm>
                <a:off x="2797833" y="3477997"/>
                <a:ext cx="12339" cy="18853"/>
              </a:xfrm>
              <a:custGeom>
                <a:avLst/>
                <a:gdLst/>
                <a:ahLst/>
                <a:cxnLst/>
                <a:rect l="0" t="0" r="0" b="0"/>
                <a:pathLst>
                  <a:path w="12339" h="18853">
                    <a:moveTo>
                      <a:pt x="11053" y="0"/>
                    </a:moveTo>
                    <a:lnTo>
                      <a:pt x="0" y="1299"/>
                    </a:lnTo>
                    <a:lnTo>
                      <a:pt x="0" y="17553"/>
                    </a:lnTo>
                    <a:lnTo>
                      <a:pt x="12338" y="18852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339" tIns="188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3" name="shp_Region_Stann_Creek_$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15A66338-5B8D-1D12-9556-4039F73C0730}"/>
                  </a:ext>
                </a:extLst>
              </p:cNvPr>
              <p:cNvSpPr/>
              <p:nvPr/>
            </p:nvSpPr>
            <p:spPr>
              <a:xfrm>
                <a:off x="2732157" y="3544306"/>
                <a:ext cx="25357" cy="12357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2357">
                    <a:moveTo>
                      <a:pt x="14964" y="0"/>
                    </a:moveTo>
                    <a:lnTo>
                      <a:pt x="1304" y="3254"/>
                    </a:lnTo>
                    <a:lnTo>
                      <a:pt x="0" y="7799"/>
                    </a:lnTo>
                    <a:lnTo>
                      <a:pt x="9768" y="12356"/>
                    </a:lnTo>
                    <a:lnTo>
                      <a:pt x="23410" y="8459"/>
                    </a:lnTo>
                    <a:lnTo>
                      <a:pt x="25356" y="3254"/>
                    </a:lnTo>
                    <a:lnTo>
                      <a:pt x="14964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23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4" name="shp_Region_Stann_Creek_$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67550F9B-143E-29A2-42A4-29C605D39B94}"/>
                  </a:ext>
                </a:extLst>
              </p:cNvPr>
              <p:cNvSpPr/>
              <p:nvPr/>
            </p:nvSpPr>
            <p:spPr>
              <a:xfrm>
                <a:off x="2647644" y="3572916"/>
                <a:ext cx="14304" cy="11706"/>
              </a:xfrm>
              <a:custGeom>
                <a:avLst/>
                <a:gdLst/>
                <a:ahLst/>
                <a:cxnLst/>
                <a:rect l="0" t="0" r="0" b="0"/>
                <a:pathLst>
                  <a:path w="14304" h="11706">
                    <a:moveTo>
                      <a:pt x="7803" y="0"/>
                    </a:moveTo>
                    <a:lnTo>
                      <a:pt x="0" y="5843"/>
                    </a:lnTo>
                    <a:lnTo>
                      <a:pt x="4553" y="11705"/>
                    </a:lnTo>
                    <a:lnTo>
                      <a:pt x="14303" y="7152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304" tIns="117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5" name="shp_Region_Stann_Creek_$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9F6FF736-8688-85D0-733C-680CD31A2EC7}"/>
                  </a:ext>
                </a:extLst>
              </p:cNvPr>
              <p:cNvSpPr/>
              <p:nvPr/>
            </p:nvSpPr>
            <p:spPr>
              <a:xfrm>
                <a:off x="2651555" y="3719194"/>
                <a:ext cx="32499" cy="79965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79965">
                    <a:moveTo>
                      <a:pt x="32498" y="0"/>
                    </a:moveTo>
                    <a:lnTo>
                      <a:pt x="25998" y="647"/>
                    </a:lnTo>
                    <a:lnTo>
                      <a:pt x="15588" y="12348"/>
                    </a:lnTo>
                    <a:lnTo>
                      <a:pt x="7142" y="17548"/>
                    </a:lnTo>
                    <a:lnTo>
                      <a:pt x="3892" y="24052"/>
                    </a:lnTo>
                    <a:lnTo>
                      <a:pt x="4553" y="33154"/>
                    </a:lnTo>
                    <a:lnTo>
                      <a:pt x="13642" y="31855"/>
                    </a:lnTo>
                    <a:lnTo>
                      <a:pt x="14302" y="40306"/>
                    </a:lnTo>
                    <a:lnTo>
                      <a:pt x="7803" y="52002"/>
                    </a:lnTo>
                    <a:lnTo>
                      <a:pt x="12999" y="56560"/>
                    </a:lnTo>
                    <a:lnTo>
                      <a:pt x="7142" y="70862"/>
                    </a:lnTo>
                    <a:lnTo>
                      <a:pt x="0" y="74112"/>
                    </a:lnTo>
                    <a:lnTo>
                      <a:pt x="2589" y="79964"/>
                    </a:lnTo>
                    <a:lnTo>
                      <a:pt x="13642" y="66961"/>
                    </a:lnTo>
                    <a:lnTo>
                      <a:pt x="15588" y="59809"/>
                    </a:lnTo>
                    <a:lnTo>
                      <a:pt x="14945" y="42257"/>
                    </a:lnTo>
                    <a:lnTo>
                      <a:pt x="16249" y="31208"/>
                    </a:lnTo>
                    <a:lnTo>
                      <a:pt x="25998" y="18852"/>
                    </a:lnTo>
                    <a:lnTo>
                      <a:pt x="27945" y="7147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99" tIns="7996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6" name="shp_Region_Stann_Creek_$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A58D4897-B3AB-7CCC-4FF2-124D3F9B47BD}"/>
                  </a:ext>
                </a:extLst>
              </p:cNvPr>
              <p:cNvSpPr/>
              <p:nvPr/>
            </p:nvSpPr>
            <p:spPr>
              <a:xfrm>
                <a:off x="2611896" y="3889524"/>
                <a:ext cx="23393" cy="26660"/>
              </a:xfrm>
              <a:custGeom>
                <a:avLst/>
                <a:gdLst/>
                <a:ahLst/>
                <a:cxnLst/>
                <a:rect l="0" t="0" r="0" b="0"/>
                <a:pathLst>
                  <a:path w="23393" h="26660">
                    <a:moveTo>
                      <a:pt x="8446" y="0"/>
                    </a:moveTo>
                    <a:lnTo>
                      <a:pt x="3250" y="1299"/>
                    </a:lnTo>
                    <a:lnTo>
                      <a:pt x="0" y="9754"/>
                    </a:lnTo>
                    <a:lnTo>
                      <a:pt x="1304" y="16905"/>
                    </a:lnTo>
                    <a:lnTo>
                      <a:pt x="7803" y="26659"/>
                    </a:lnTo>
                    <a:lnTo>
                      <a:pt x="23392" y="19504"/>
                    </a:lnTo>
                    <a:lnTo>
                      <a:pt x="20142" y="5201"/>
                    </a:lnTo>
                    <a:lnTo>
                      <a:pt x="84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93" tIns="266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7" name="shp_Region_Stann_Creek_$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4EF0A793-AC52-F3CF-3F28-DD786B63662F}"/>
                  </a:ext>
                </a:extLst>
              </p:cNvPr>
              <p:cNvSpPr/>
              <p:nvPr/>
            </p:nvSpPr>
            <p:spPr>
              <a:xfrm>
                <a:off x="2502670" y="3944785"/>
                <a:ext cx="25357" cy="1690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6902">
                    <a:moveTo>
                      <a:pt x="7803" y="0"/>
                    </a:moveTo>
                    <a:lnTo>
                      <a:pt x="3893" y="651"/>
                    </a:lnTo>
                    <a:lnTo>
                      <a:pt x="0" y="14302"/>
                    </a:lnTo>
                    <a:lnTo>
                      <a:pt x="5857" y="16901"/>
                    </a:lnTo>
                    <a:lnTo>
                      <a:pt x="12999" y="11700"/>
                    </a:lnTo>
                    <a:lnTo>
                      <a:pt x="25356" y="7803"/>
                    </a:lnTo>
                    <a:lnTo>
                      <a:pt x="23409" y="1950"/>
                    </a:lnTo>
                    <a:lnTo>
                      <a:pt x="11696" y="5200"/>
                    </a:lnTo>
                    <a:lnTo>
                      <a:pt x="780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690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8" name="shp_Region_Stann_Creek_$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4FA3C525-3491-DB3A-30E8-67F71D0E3747}"/>
                  </a:ext>
                </a:extLst>
              </p:cNvPr>
              <p:cNvSpPr/>
              <p:nvPr/>
            </p:nvSpPr>
            <p:spPr>
              <a:xfrm>
                <a:off x="3208703" y="4154778"/>
                <a:ext cx="31857" cy="27303"/>
              </a:xfrm>
              <a:custGeom>
                <a:avLst/>
                <a:gdLst/>
                <a:ahLst/>
                <a:cxnLst/>
                <a:rect l="0" t="0" r="0" b="0"/>
                <a:pathLst>
                  <a:path w="31857" h="27303">
                    <a:moveTo>
                      <a:pt x="30552" y="0"/>
                    </a:moveTo>
                    <a:lnTo>
                      <a:pt x="19499" y="11048"/>
                    </a:lnTo>
                    <a:lnTo>
                      <a:pt x="9750" y="10397"/>
                    </a:lnTo>
                    <a:lnTo>
                      <a:pt x="0" y="19499"/>
                    </a:lnTo>
                    <a:lnTo>
                      <a:pt x="2607" y="27302"/>
                    </a:lnTo>
                    <a:lnTo>
                      <a:pt x="10411" y="25351"/>
                    </a:lnTo>
                    <a:lnTo>
                      <a:pt x="31856" y="3250"/>
                    </a:lnTo>
                    <a:lnTo>
                      <a:pt x="30552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1857" tIns="27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49" name="shp_Region_Stann_Creek_$1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6C94C900-3101-26CA-46FC-9CF6C178CAE0}"/>
                  </a:ext>
                </a:extLst>
              </p:cNvPr>
              <p:cNvSpPr/>
              <p:nvPr/>
            </p:nvSpPr>
            <p:spPr>
              <a:xfrm>
                <a:off x="2458458" y="4176228"/>
                <a:ext cx="9750" cy="14303"/>
              </a:xfrm>
              <a:custGeom>
                <a:avLst/>
                <a:gdLst/>
                <a:ahLst/>
                <a:cxnLst/>
                <a:rect l="0" t="0" r="0" b="0"/>
                <a:pathLst>
                  <a:path w="9750" h="14303">
                    <a:moveTo>
                      <a:pt x="1946" y="0"/>
                    </a:moveTo>
                    <a:lnTo>
                      <a:pt x="0" y="7146"/>
                    </a:lnTo>
                    <a:lnTo>
                      <a:pt x="3250" y="14302"/>
                    </a:lnTo>
                    <a:lnTo>
                      <a:pt x="9749" y="8455"/>
                    </a:lnTo>
                    <a:lnTo>
                      <a:pt x="194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50" tIns="1430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0" name="shp_Region_Stann_Creek_$1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93F2B2E4-E57E-40DC-37CB-537D67D197D5}"/>
                  </a:ext>
                </a:extLst>
              </p:cNvPr>
              <p:cNvSpPr/>
              <p:nvPr/>
            </p:nvSpPr>
            <p:spPr>
              <a:xfrm>
                <a:off x="2461065" y="4221082"/>
                <a:ext cx="7804" cy="28612"/>
              </a:xfrm>
              <a:custGeom>
                <a:avLst/>
                <a:gdLst/>
                <a:ahLst/>
                <a:cxnLst/>
                <a:rect l="0" t="0" r="0" b="0"/>
                <a:pathLst>
                  <a:path w="7804" h="28612">
                    <a:moveTo>
                      <a:pt x="4553" y="0"/>
                    </a:moveTo>
                    <a:lnTo>
                      <a:pt x="0" y="1304"/>
                    </a:lnTo>
                    <a:lnTo>
                      <a:pt x="0" y="28611"/>
                    </a:lnTo>
                    <a:lnTo>
                      <a:pt x="7803" y="10406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804" tIns="2861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1" name="shp_Region_Stann_Creek_$12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D2A6C4A-37AB-5AF9-6879-29F4D48C9F7C}"/>
                  </a:ext>
                </a:extLst>
              </p:cNvPr>
              <p:cNvSpPr/>
              <p:nvPr/>
            </p:nvSpPr>
            <p:spPr>
              <a:xfrm>
                <a:off x="2416853" y="4230189"/>
                <a:ext cx="11697" cy="13005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3005">
                    <a:moveTo>
                      <a:pt x="5857" y="0"/>
                    </a:moveTo>
                    <a:lnTo>
                      <a:pt x="0" y="10401"/>
                    </a:lnTo>
                    <a:lnTo>
                      <a:pt x="11053" y="13004"/>
                    </a:lnTo>
                    <a:lnTo>
                      <a:pt x="11696" y="3902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30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2" name="shp_Region_Stann_Creek_$13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F90D2306-069D-61C4-159D-B55FE6862319}"/>
                  </a:ext>
                </a:extLst>
              </p:cNvPr>
              <p:cNvSpPr/>
              <p:nvPr/>
            </p:nvSpPr>
            <p:spPr>
              <a:xfrm>
                <a:off x="2412960" y="4265294"/>
                <a:ext cx="14947" cy="14300"/>
              </a:xfrm>
              <a:custGeom>
                <a:avLst/>
                <a:gdLst/>
                <a:ahLst/>
                <a:cxnLst/>
                <a:rect l="0" t="0" r="0" b="0"/>
                <a:pathLst>
                  <a:path w="14947" h="14300">
                    <a:moveTo>
                      <a:pt x="5839" y="0"/>
                    </a:moveTo>
                    <a:lnTo>
                      <a:pt x="0" y="652"/>
                    </a:lnTo>
                    <a:lnTo>
                      <a:pt x="7803" y="14299"/>
                    </a:lnTo>
                    <a:lnTo>
                      <a:pt x="14946" y="12352"/>
                    </a:lnTo>
                    <a:lnTo>
                      <a:pt x="11696" y="652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47" tIns="143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3" name="shp_Region_Stann_Creek_$14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3CD0A70C-CD9F-4B54-7250-88D04083E5AA}"/>
                  </a:ext>
                </a:extLst>
              </p:cNvPr>
              <p:cNvSpPr/>
              <p:nvPr/>
            </p:nvSpPr>
            <p:spPr>
              <a:xfrm>
                <a:off x="2412960" y="4279593"/>
                <a:ext cx="8447" cy="10411"/>
              </a:xfrm>
              <a:custGeom>
                <a:avLst/>
                <a:gdLst/>
                <a:ahLst/>
                <a:cxnLst/>
                <a:rect l="0" t="0" r="0" b="0"/>
                <a:pathLst>
                  <a:path w="8447" h="10411">
                    <a:moveTo>
                      <a:pt x="5839" y="0"/>
                    </a:moveTo>
                    <a:lnTo>
                      <a:pt x="0" y="0"/>
                    </a:lnTo>
                    <a:lnTo>
                      <a:pt x="1286" y="10410"/>
                    </a:lnTo>
                    <a:lnTo>
                      <a:pt x="8446" y="5200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447" tIns="1041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4" name="shp_Region_Stann_Creek_$15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04C0411D-9F24-D00B-A739-E9E1B9AF0A18}"/>
                  </a:ext>
                </a:extLst>
              </p:cNvPr>
              <p:cNvSpPr/>
              <p:nvPr/>
            </p:nvSpPr>
            <p:spPr>
              <a:xfrm>
                <a:off x="2429852" y="4293253"/>
                <a:ext cx="13661" cy="16250"/>
              </a:xfrm>
              <a:custGeom>
                <a:avLst/>
                <a:gdLst/>
                <a:ahLst/>
                <a:cxnLst/>
                <a:rect l="0" t="0" r="0" b="0"/>
                <a:pathLst>
                  <a:path w="13661" h="16250">
                    <a:moveTo>
                      <a:pt x="6500" y="0"/>
                    </a:moveTo>
                    <a:lnTo>
                      <a:pt x="0" y="3249"/>
                    </a:lnTo>
                    <a:lnTo>
                      <a:pt x="661" y="10401"/>
                    </a:lnTo>
                    <a:lnTo>
                      <a:pt x="6500" y="16249"/>
                    </a:lnTo>
                    <a:lnTo>
                      <a:pt x="13660" y="14950"/>
                    </a:lnTo>
                    <a:lnTo>
                      <a:pt x="650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661" tIns="1625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5" name="shp_Region_Stann_Creek_$16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33DC4F85-2EA7-1126-2227-B399714817C6}"/>
                  </a:ext>
                </a:extLst>
              </p:cNvPr>
              <p:cNvSpPr/>
              <p:nvPr/>
            </p:nvSpPr>
            <p:spPr>
              <a:xfrm>
                <a:off x="2477975" y="4330956"/>
                <a:ext cx="11036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11036" h="18206">
                    <a:moveTo>
                      <a:pt x="5839" y="0"/>
                    </a:moveTo>
                    <a:lnTo>
                      <a:pt x="0" y="5852"/>
                    </a:lnTo>
                    <a:lnTo>
                      <a:pt x="643" y="18205"/>
                    </a:lnTo>
                    <a:lnTo>
                      <a:pt x="11035" y="9107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36" tIns="182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6" name="shp_Region_Stann_Creek_$17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77ECFBD1-1CAA-CE4D-FBB5-179B2D6464CA}"/>
                  </a:ext>
                </a:extLst>
              </p:cNvPr>
              <p:cNvSpPr/>
              <p:nvPr/>
            </p:nvSpPr>
            <p:spPr>
              <a:xfrm>
                <a:off x="2370695" y="4358263"/>
                <a:ext cx="11054" cy="117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1705">
                    <a:moveTo>
                      <a:pt x="5856" y="0"/>
                    </a:moveTo>
                    <a:lnTo>
                      <a:pt x="0" y="7147"/>
                    </a:lnTo>
                    <a:lnTo>
                      <a:pt x="7160" y="11704"/>
                    </a:lnTo>
                    <a:lnTo>
                      <a:pt x="11053" y="5852"/>
                    </a:lnTo>
                    <a:lnTo>
                      <a:pt x="585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17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7" name="shp_Region_Stann_Creek_$18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AFF6A047-527E-9659-2774-F3BA148493B6}"/>
                  </a:ext>
                </a:extLst>
              </p:cNvPr>
              <p:cNvSpPr/>
              <p:nvPr/>
            </p:nvSpPr>
            <p:spPr>
              <a:xfrm>
                <a:off x="2065140" y="4432375"/>
                <a:ext cx="15607" cy="14955"/>
              </a:xfrm>
              <a:custGeom>
                <a:avLst/>
                <a:gdLst/>
                <a:ahLst/>
                <a:cxnLst/>
                <a:rect l="0" t="0" r="0" b="0"/>
                <a:pathLst>
                  <a:path w="15607" h="14955">
                    <a:moveTo>
                      <a:pt x="15606" y="0"/>
                    </a:moveTo>
                    <a:lnTo>
                      <a:pt x="5196" y="1955"/>
                    </a:lnTo>
                    <a:lnTo>
                      <a:pt x="0" y="6504"/>
                    </a:lnTo>
                    <a:lnTo>
                      <a:pt x="7803" y="14954"/>
                    </a:lnTo>
                    <a:lnTo>
                      <a:pt x="9749" y="4553"/>
                    </a:lnTo>
                    <a:lnTo>
                      <a:pt x="15606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607" tIns="1495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8" name="shp_Region_Stann_Creek_$19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719FBA90-809E-8E1F-1F3F-C02BBEE5CAC6}"/>
                  </a:ext>
                </a:extLst>
              </p:cNvPr>
              <p:cNvSpPr/>
              <p:nvPr/>
            </p:nvSpPr>
            <p:spPr>
              <a:xfrm>
                <a:off x="2351839" y="4438231"/>
                <a:ext cx="14964" cy="7805"/>
              </a:xfrm>
              <a:custGeom>
                <a:avLst/>
                <a:gdLst/>
                <a:ahLst/>
                <a:cxnLst/>
                <a:rect l="0" t="0" r="0" b="0"/>
                <a:pathLst>
                  <a:path w="14964" h="7805">
                    <a:moveTo>
                      <a:pt x="11053" y="0"/>
                    </a:moveTo>
                    <a:lnTo>
                      <a:pt x="0" y="1300"/>
                    </a:lnTo>
                    <a:lnTo>
                      <a:pt x="4553" y="7804"/>
                    </a:lnTo>
                    <a:lnTo>
                      <a:pt x="14963" y="7804"/>
                    </a:lnTo>
                    <a:lnTo>
                      <a:pt x="11053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964" tIns="78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59" name="shp_Region_Stann_Creek_$20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955AAA9C-5C10-75DC-8912-D1E14AB22A97}"/>
                  </a:ext>
                </a:extLst>
              </p:cNvPr>
              <p:cNvSpPr/>
              <p:nvPr/>
            </p:nvSpPr>
            <p:spPr>
              <a:xfrm>
                <a:off x="2189312" y="4624163"/>
                <a:ext cx="32499" cy="18206"/>
              </a:xfrm>
              <a:custGeom>
                <a:avLst/>
                <a:gdLst/>
                <a:ahLst/>
                <a:cxnLst/>
                <a:rect l="0" t="0" r="0" b="0"/>
                <a:pathLst>
                  <a:path w="32499" h="18206">
                    <a:moveTo>
                      <a:pt x="14945" y="0"/>
                    </a:moveTo>
                    <a:lnTo>
                      <a:pt x="5856" y="5201"/>
                    </a:lnTo>
                    <a:lnTo>
                      <a:pt x="0" y="12352"/>
                    </a:lnTo>
                    <a:lnTo>
                      <a:pt x="19499" y="13656"/>
                    </a:lnTo>
                    <a:lnTo>
                      <a:pt x="28605" y="18205"/>
                    </a:lnTo>
                    <a:lnTo>
                      <a:pt x="32498" y="7152"/>
                    </a:lnTo>
                    <a:lnTo>
                      <a:pt x="22748" y="9755"/>
                    </a:lnTo>
                    <a:lnTo>
                      <a:pt x="14945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99" tIns="182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  <p:sp>
            <p:nvSpPr>
              <p:cNvPr id="260" name="shp_Region_Stann_Creek_$21" descr="Admin1_Id=&quot;BLZ&quot;&#10;Admin1_Label=&quot;Belize&quot;&#10;Admin2_Id=&quot;BLZ.5_1&quot;&#10;Admin2_Label=&quot;Stann Creek&quot;&#10;" title="Stann Creek">
                <a:extLst>
                  <a:ext uri="{FF2B5EF4-FFF2-40B4-BE49-F238E27FC236}">
                    <a16:creationId xmlns:a16="http://schemas.microsoft.com/office/drawing/2014/main" id="{92B0AACC-AE34-2851-5312-4817646BB0B8}"/>
                  </a:ext>
                </a:extLst>
              </p:cNvPr>
              <p:cNvSpPr/>
              <p:nvPr/>
            </p:nvSpPr>
            <p:spPr>
              <a:xfrm>
                <a:off x="2364195" y="4672273"/>
                <a:ext cx="20161" cy="2276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22763">
                    <a:moveTo>
                      <a:pt x="20160" y="0"/>
                    </a:moveTo>
                    <a:lnTo>
                      <a:pt x="0" y="18204"/>
                    </a:lnTo>
                    <a:lnTo>
                      <a:pt x="3893" y="22762"/>
                    </a:lnTo>
                    <a:lnTo>
                      <a:pt x="20160" y="0"/>
                    </a:ln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161" tIns="2276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Stann Creek</a:t>
                </a:r>
              </a:p>
            </p:txBody>
          </p:sp>
        </p:grpSp>
        <p:grpSp>
          <p:nvGrpSpPr>
            <p:cNvPr id="26" name="shp_Region_Toledo" descr="Admin1_Id=&quot;BLZ&quot;&#10;Admin1_Label=&quot;Belize&quot;&#10;Admin2_Id=&quot;BLZ.6_1&quot;&#10;Admin2_Label=&quot;Toledo&quot;&#10;" title="Toledo">
              <a:extLst>
                <a:ext uri="{FF2B5EF4-FFF2-40B4-BE49-F238E27FC236}">
                  <a16:creationId xmlns:a16="http://schemas.microsoft.com/office/drawing/2014/main" id="{8BAAE86A-B9AB-3A18-444B-D397991630B9}"/>
                </a:ext>
              </a:extLst>
            </p:cNvPr>
            <p:cNvGrpSpPr/>
            <p:nvPr/>
          </p:nvGrpSpPr>
          <p:grpSpPr>
            <a:xfrm>
              <a:off x="0" y="4198249"/>
              <a:ext cx="1966967" cy="1897752"/>
              <a:chOff x="0" y="4198249"/>
              <a:chExt cx="1966967" cy="1897752"/>
            </a:xfrm>
            <a:solidFill>
              <a:srgbClr val="FF0000"/>
            </a:solidFill>
          </p:grpSpPr>
          <p:sp>
            <p:nvSpPr>
              <p:cNvPr id="113" name="shp_Region_Toledo_$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6C59AC79-7F7A-3EFE-FFA2-8F01FEC076FB}"/>
                  </a:ext>
                </a:extLst>
              </p:cNvPr>
              <p:cNvSpPr/>
              <p:nvPr/>
            </p:nvSpPr>
            <p:spPr>
              <a:xfrm>
                <a:off x="0" y="4198249"/>
                <a:ext cx="1966967" cy="1897752"/>
              </a:xfrm>
              <a:custGeom>
                <a:avLst/>
                <a:gdLst/>
                <a:ahLst/>
                <a:cxnLst/>
                <a:rect l="0" t="0" r="0" b="0"/>
                <a:pathLst>
                  <a:path w="1966967" h="1897752">
                    <a:moveTo>
                      <a:pt x="85138" y="644099"/>
                    </a:moveTo>
                    <a:lnTo>
                      <a:pt x="61443" y="997973"/>
                    </a:lnTo>
                    <a:lnTo>
                      <a:pt x="48587" y="1189918"/>
                    </a:lnTo>
                    <a:lnTo>
                      <a:pt x="21142" y="1599611"/>
                    </a:lnTo>
                    <a:lnTo>
                      <a:pt x="18428" y="1639676"/>
                    </a:lnTo>
                    <a:lnTo>
                      <a:pt x="11499" y="1712884"/>
                    </a:lnTo>
                    <a:lnTo>
                      <a:pt x="0" y="1813626"/>
                    </a:lnTo>
                    <a:lnTo>
                      <a:pt x="3178" y="1874025"/>
                    </a:lnTo>
                    <a:lnTo>
                      <a:pt x="11785" y="1875038"/>
                    </a:lnTo>
                    <a:lnTo>
                      <a:pt x="14214" y="1886118"/>
                    </a:lnTo>
                    <a:lnTo>
                      <a:pt x="26177" y="1891798"/>
                    </a:lnTo>
                    <a:lnTo>
                      <a:pt x="79853" y="1872351"/>
                    </a:lnTo>
                    <a:lnTo>
                      <a:pt x="97763" y="1872243"/>
                    </a:lnTo>
                    <a:lnTo>
                      <a:pt x="102512" y="1852171"/>
                    </a:lnTo>
                    <a:lnTo>
                      <a:pt x="109066" y="1850345"/>
                    </a:lnTo>
                    <a:lnTo>
                      <a:pt x="119547" y="1852972"/>
                    </a:lnTo>
                    <a:lnTo>
                      <a:pt x="148885" y="1878020"/>
                    </a:lnTo>
                    <a:lnTo>
                      <a:pt x="173187" y="1887017"/>
                    </a:lnTo>
                    <a:lnTo>
                      <a:pt x="186954" y="1883205"/>
                    </a:lnTo>
                    <a:lnTo>
                      <a:pt x="210864" y="1864610"/>
                    </a:lnTo>
                    <a:lnTo>
                      <a:pt x="227720" y="1879261"/>
                    </a:lnTo>
                    <a:lnTo>
                      <a:pt x="244790" y="1876518"/>
                    </a:lnTo>
                    <a:lnTo>
                      <a:pt x="250879" y="1881839"/>
                    </a:lnTo>
                    <a:lnTo>
                      <a:pt x="260272" y="1883946"/>
                    </a:lnTo>
                    <a:lnTo>
                      <a:pt x="271003" y="1873203"/>
                    </a:lnTo>
                    <a:lnTo>
                      <a:pt x="265075" y="1859793"/>
                    </a:lnTo>
                    <a:lnTo>
                      <a:pt x="286038" y="1852765"/>
                    </a:lnTo>
                    <a:lnTo>
                      <a:pt x="307519" y="1852126"/>
                    </a:lnTo>
                    <a:lnTo>
                      <a:pt x="318037" y="1857441"/>
                    </a:lnTo>
                    <a:lnTo>
                      <a:pt x="334161" y="1886838"/>
                    </a:lnTo>
                    <a:lnTo>
                      <a:pt x="340750" y="1886272"/>
                    </a:lnTo>
                    <a:lnTo>
                      <a:pt x="343857" y="1880303"/>
                    </a:lnTo>
                    <a:lnTo>
                      <a:pt x="350517" y="1879732"/>
                    </a:lnTo>
                    <a:lnTo>
                      <a:pt x="352213" y="1857298"/>
                    </a:lnTo>
                    <a:lnTo>
                      <a:pt x="370480" y="1877571"/>
                    </a:lnTo>
                    <a:lnTo>
                      <a:pt x="377658" y="1879689"/>
                    </a:lnTo>
                    <a:lnTo>
                      <a:pt x="376533" y="1869511"/>
                    </a:lnTo>
                    <a:lnTo>
                      <a:pt x="387729" y="1873085"/>
                    </a:lnTo>
                    <a:lnTo>
                      <a:pt x="386604" y="1862893"/>
                    </a:lnTo>
                    <a:lnTo>
                      <a:pt x="390426" y="1853227"/>
                    </a:lnTo>
                    <a:lnTo>
                      <a:pt x="387622" y="1842522"/>
                    </a:lnTo>
                    <a:lnTo>
                      <a:pt x="391461" y="1835522"/>
                    </a:lnTo>
                    <a:lnTo>
                      <a:pt x="403711" y="1837602"/>
                    </a:lnTo>
                    <a:lnTo>
                      <a:pt x="411067" y="1862775"/>
                    </a:lnTo>
                    <a:lnTo>
                      <a:pt x="413139" y="1864157"/>
                    </a:lnTo>
                    <a:lnTo>
                      <a:pt x="425495" y="1847877"/>
                    </a:lnTo>
                    <a:lnTo>
                      <a:pt x="445530" y="1845497"/>
                    </a:lnTo>
                    <a:lnTo>
                      <a:pt x="468850" y="1854398"/>
                    </a:lnTo>
                    <a:lnTo>
                      <a:pt x="478171" y="1862108"/>
                    </a:lnTo>
                    <a:lnTo>
                      <a:pt x="486188" y="1883370"/>
                    </a:lnTo>
                    <a:lnTo>
                      <a:pt x="496152" y="1883982"/>
                    </a:lnTo>
                    <a:lnTo>
                      <a:pt x="521990" y="1869719"/>
                    </a:lnTo>
                    <a:lnTo>
                      <a:pt x="530615" y="1869043"/>
                    </a:lnTo>
                    <a:lnTo>
                      <a:pt x="559845" y="1884122"/>
                    </a:lnTo>
                    <a:lnTo>
                      <a:pt x="598361" y="1887876"/>
                    </a:lnTo>
                    <a:lnTo>
                      <a:pt x="642180" y="1897751"/>
                    </a:lnTo>
                    <a:lnTo>
                      <a:pt x="665197" y="1896008"/>
                    </a:lnTo>
                    <a:lnTo>
                      <a:pt x="701962" y="1884745"/>
                    </a:lnTo>
                    <a:lnTo>
                      <a:pt x="725300" y="1873728"/>
                    </a:lnTo>
                    <a:lnTo>
                      <a:pt x="727836" y="1869837"/>
                    </a:lnTo>
                    <a:lnTo>
                      <a:pt x="725229" y="1852939"/>
                    </a:lnTo>
                    <a:lnTo>
                      <a:pt x="719372" y="1848390"/>
                    </a:lnTo>
                    <a:lnTo>
                      <a:pt x="705069" y="1821083"/>
                    </a:lnTo>
                    <a:lnTo>
                      <a:pt x="692070" y="1778820"/>
                    </a:lnTo>
                    <a:lnTo>
                      <a:pt x="688178" y="1772972"/>
                    </a:lnTo>
                    <a:lnTo>
                      <a:pt x="684928" y="1758669"/>
                    </a:lnTo>
                    <a:lnTo>
                      <a:pt x="676464" y="1732012"/>
                    </a:lnTo>
                    <a:lnTo>
                      <a:pt x="678428" y="1719658"/>
                    </a:lnTo>
                    <a:lnTo>
                      <a:pt x="679071" y="1698210"/>
                    </a:lnTo>
                    <a:lnTo>
                      <a:pt x="685571" y="1676754"/>
                    </a:lnTo>
                    <a:lnTo>
                      <a:pt x="692731" y="1667650"/>
                    </a:lnTo>
                    <a:lnTo>
                      <a:pt x="707034" y="1665703"/>
                    </a:lnTo>
                    <a:lnTo>
                      <a:pt x="723283" y="1642948"/>
                    </a:lnTo>
                    <a:lnTo>
                      <a:pt x="747335" y="1631247"/>
                    </a:lnTo>
                    <a:lnTo>
                      <a:pt x="770084" y="1624739"/>
                    </a:lnTo>
                    <a:lnTo>
                      <a:pt x="796743" y="1611739"/>
                    </a:lnTo>
                    <a:lnTo>
                      <a:pt x="810403" y="1601990"/>
                    </a:lnTo>
                    <a:lnTo>
                      <a:pt x="814956" y="1596142"/>
                    </a:lnTo>
                    <a:lnTo>
                      <a:pt x="835098" y="1588344"/>
                    </a:lnTo>
                    <a:lnTo>
                      <a:pt x="855901" y="1577281"/>
                    </a:lnTo>
                    <a:lnTo>
                      <a:pt x="863704" y="1565581"/>
                    </a:lnTo>
                    <a:lnTo>
                      <a:pt x="868918" y="1531128"/>
                    </a:lnTo>
                    <a:lnTo>
                      <a:pt x="866954" y="1523981"/>
                    </a:lnTo>
                    <a:lnTo>
                      <a:pt x="868918" y="1509674"/>
                    </a:lnTo>
                    <a:lnTo>
                      <a:pt x="875417" y="1508370"/>
                    </a:lnTo>
                    <a:lnTo>
                      <a:pt x="881256" y="1501219"/>
                    </a:lnTo>
                    <a:lnTo>
                      <a:pt x="888417" y="1498621"/>
                    </a:lnTo>
                    <a:lnTo>
                      <a:pt x="892309" y="1489518"/>
                    </a:lnTo>
                    <a:lnTo>
                      <a:pt x="910523" y="1482367"/>
                    </a:lnTo>
                    <a:lnTo>
                      <a:pt x="911808" y="1474564"/>
                    </a:lnTo>
                    <a:lnTo>
                      <a:pt x="921576" y="1460913"/>
                    </a:lnTo>
                    <a:lnTo>
                      <a:pt x="928075" y="1458962"/>
                    </a:lnTo>
                    <a:lnTo>
                      <a:pt x="940414" y="1460261"/>
                    </a:lnTo>
                    <a:lnTo>
                      <a:pt x="950824" y="1457663"/>
                    </a:lnTo>
                    <a:lnTo>
                      <a:pt x="956020" y="1461564"/>
                    </a:lnTo>
                    <a:lnTo>
                      <a:pt x="966430" y="1460261"/>
                    </a:lnTo>
                    <a:lnTo>
                      <a:pt x="972287" y="1449212"/>
                    </a:lnTo>
                    <a:lnTo>
                      <a:pt x="974234" y="1431655"/>
                    </a:lnTo>
                    <a:lnTo>
                      <a:pt x="983322" y="1416054"/>
                    </a:lnTo>
                    <a:lnTo>
                      <a:pt x="991786" y="1410853"/>
                    </a:lnTo>
                    <a:lnTo>
                      <a:pt x="993090" y="1395247"/>
                    </a:lnTo>
                    <a:lnTo>
                      <a:pt x="996982" y="1393300"/>
                    </a:lnTo>
                    <a:lnTo>
                      <a:pt x="996340" y="1378997"/>
                    </a:lnTo>
                    <a:lnTo>
                      <a:pt x="1004143" y="1366645"/>
                    </a:lnTo>
                    <a:lnTo>
                      <a:pt x="1028195" y="1361445"/>
                    </a:lnTo>
                    <a:lnTo>
                      <a:pt x="1037284" y="1352994"/>
                    </a:lnTo>
                    <a:lnTo>
                      <a:pt x="1049640" y="1347142"/>
                    </a:lnTo>
                    <a:lnTo>
                      <a:pt x="1073693" y="1339990"/>
                    </a:lnTo>
                    <a:lnTo>
                      <a:pt x="1089960" y="1333482"/>
                    </a:lnTo>
                    <a:lnTo>
                      <a:pt x="1097745" y="1327639"/>
                    </a:lnTo>
                    <a:lnTo>
                      <a:pt x="1109459" y="1323090"/>
                    </a:lnTo>
                    <a:lnTo>
                      <a:pt x="1110101" y="1314635"/>
                    </a:lnTo>
                    <a:lnTo>
                      <a:pt x="1099048" y="1297082"/>
                    </a:lnTo>
                    <a:lnTo>
                      <a:pt x="1099709" y="1289931"/>
                    </a:lnTo>
                    <a:lnTo>
                      <a:pt x="1108155" y="1283436"/>
                    </a:lnTo>
                    <a:lnTo>
                      <a:pt x="1114655" y="1282779"/>
                    </a:lnTo>
                    <a:lnTo>
                      <a:pt x="1114012" y="1262624"/>
                    </a:lnTo>
                    <a:lnTo>
                      <a:pt x="1127654" y="1255473"/>
                    </a:lnTo>
                    <a:lnTo>
                      <a:pt x="1141314" y="1244420"/>
                    </a:lnTo>
                    <a:lnTo>
                      <a:pt x="1141957" y="1240527"/>
                    </a:lnTo>
                    <a:lnTo>
                      <a:pt x="1130904" y="1229465"/>
                    </a:lnTo>
                    <a:lnTo>
                      <a:pt x="1122458" y="1208663"/>
                    </a:lnTo>
                    <a:lnTo>
                      <a:pt x="1128958" y="1202163"/>
                    </a:lnTo>
                    <a:lnTo>
                      <a:pt x="1123761" y="1188512"/>
                    </a:lnTo>
                    <a:lnTo>
                      <a:pt x="1118565" y="1182008"/>
                    </a:lnTo>
                    <a:lnTo>
                      <a:pt x="1112708" y="1165107"/>
                    </a:lnTo>
                    <a:lnTo>
                      <a:pt x="1117262" y="1155353"/>
                    </a:lnTo>
                    <a:lnTo>
                      <a:pt x="1112048" y="1143001"/>
                    </a:lnTo>
                    <a:lnTo>
                      <a:pt x="1114655" y="1133899"/>
                    </a:lnTo>
                    <a:lnTo>
                      <a:pt x="1130904" y="1128056"/>
                    </a:lnTo>
                    <a:lnTo>
                      <a:pt x="1142617" y="1127399"/>
                    </a:lnTo>
                    <a:lnTo>
                      <a:pt x="1149760" y="1122199"/>
                    </a:lnTo>
                    <a:lnTo>
                      <a:pt x="1154313" y="1104646"/>
                    </a:lnTo>
                    <a:lnTo>
                      <a:pt x="1166009" y="1088397"/>
                    </a:lnTo>
                    <a:lnTo>
                      <a:pt x="1186169" y="1090343"/>
                    </a:lnTo>
                    <a:lnTo>
                      <a:pt x="1206971" y="1094892"/>
                    </a:lnTo>
                    <a:lnTo>
                      <a:pt x="1228434" y="1091642"/>
                    </a:lnTo>
                    <a:lnTo>
                      <a:pt x="1234934" y="1086442"/>
                    </a:lnTo>
                    <a:lnTo>
                      <a:pt x="1221274" y="1082540"/>
                    </a:lnTo>
                    <a:lnTo>
                      <a:pt x="1233631" y="1072139"/>
                    </a:lnTo>
                    <a:lnTo>
                      <a:pt x="1258986" y="1072791"/>
                    </a:lnTo>
                    <a:lnTo>
                      <a:pt x="1265486" y="1071487"/>
                    </a:lnTo>
                    <a:lnTo>
                      <a:pt x="1279146" y="1059135"/>
                    </a:lnTo>
                    <a:lnTo>
                      <a:pt x="1287592" y="1059787"/>
                    </a:lnTo>
                    <a:lnTo>
                      <a:pt x="1295395" y="1051336"/>
                    </a:lnTo>
                    <a:lnTo>
                      <a:pt x="1299948" y="1050684"/>
                    </a:lnTo>
                    <a:lnTo>
                      <a:pt x="1309037" y="1061738"/>
                    </a:lnTo>
                    <a:lnTo>
                      <a:pt x="1318144" y="1063037"/>
                    </a:lnTo>
                    <a:lnTo>
                      <a:pt x="1325304" y="1055890"/>
                    </a:lnTo>
                    <a:lnTo>
                      <a:pt x="1335696" y="1040931"/>
                    </a:lnTo>
                    <a:lnTo>
                      <a:pt x="1334393" y="1025976"/>
                    </a:lnTo>
                    <a:lnTo>
                      <a:pt x="1324001" y="1021427"/>
                    </a:lnTo>
                    <a:lnTo>
                      <a:pt x="1324001" y="1006477"/>
                    </a:lnTo>
                    <a:lnTo>
                      <a:pt x="1329197" y="992822"/>
                    </a:lnTo>
                    <a:lnTo>
                      <a:pt x="1344142" y="983072"/>
                    </a:lnTo>
                    <a:lnTo>
                      <a:pt x="1370802" y="982420"/>
                    </a:lnTo>
                    <a:lnTo>
                      <a:pt x="1397461" y="1001277"/>
                    </a:lnTo>
                    <a:lnTo>
                      <a:pt x="1411764" y="1012977"/>
                    </a:lnTo>
                    <a:lnTo>
                      <a:pt x="1424763" y="1029882"/>
                    </a:lnTo>
                    <a:lnTo>
                      <a:pt x="1426067" y="1037038"/>
                    </a:lnTo>
                    <a:lnTo>
                      <a:pt x="1435173" y="1044185"/>
                    </a:lnTo>
                    <a:lnTo>
                      <a:pt x="1448173" y="1040284"/>
                    </a:lnTo>
                    <a:lnTo>
                      <a:pt x="1455976" y="1044832"/>
                    </a:lnTo>
                    <a:lnTo>
                      <a:pt x="1466368" y="1043533"/>
                    </a:lnTo>
                    <a:lnTo>
                      <a:pt x="1466368" y="1035083"/>
                    </a:lnTo>
                    <a:lnTo>
                      <a:pt x="1459868" y="1031181"/>
                    </a:lnTo>
                    <a:lnTo>
                      <a:pt x="1457279" y="1024034"/>
                    </a:lnTo>
                    <a:lnTo>
                      <a:pt x="1464422" y="1013629"/>
                    </a:lnTo>
                    <a:lnTo>
                      <a:pt x="1476118" y="1005826"/>
                    </a:lnTo>
                    <a:lnTo>
                      <a:pt x="1477421" y="1024034"/>
                    </a:lnTo>
                    <a:lnTo>
                      <a:pt x="1471582" y="1029235"/>
                    </a:lnTo>
                    <a:lnTo>
                      <a:pt x="1470279" y="1042881"/>
                    </a:lnTo>
                    <a:lnTo>
                      <a:pt x="1463779" y="1046783"/>
                    </a:lnTo>
                    <a:lnTo>
                      <a:pt x="1468332" y="1054586"/>
                    </a:lnTo>
                    <a:lnTo>
                      <a:pt x="1474171" y="1048734"/>
                    </a:lnTo>
                    <a:lnTo>
                      <a:pt x="1474171" y="1042230"/>
                    </a:lnTo>
                    <a:lnTo>
                      <a:pt x="1479367" y="1035730"/>
                    </a:lnTo>
                    <a:lnTo>
                      <a:pt x="1493670" y="1035730"/>
                    </a:lnTo>
                    <a:lnTo>
                      <a:pt x="1499527" y="1045484"/>
                    </a:lnTo>
                    <a:lnTo>
                      <a:pt x="1481974" y="1059787"/>
                    </a:lnTo>
                    <a:lnTo>
                      <a:pt x="1480671" y="1065639"/>
                    </a:lnTo>
                    <a:lnTo>
                      <a:pt x="1491724" y="1081893"/>
                    </a:lnTo>
                    <a:lnTo>
                      <a:pt x="1500830" y="1080589"/>
                    </a:lnTo>
                    <a:lnTo>
                      <a:pt x="1499527" y="1070188"/>
                    </a:lnTo>
                    <a:lnTo>
                      <a:pt x="1509937" y="1050028"/>
                    </a:lnTo>
                    <a:lnTo>
                      <a:pt x="1509937" y="1040284"/>
                    </a:lnTo>
                    <a:lnTo>
                      <a:pt x="1517740" y="1020775"/>
                    </a:lnTo>
                    <a:lnTo>
                      <a:pt x="1526186" y="1015575"/>
                    </a:lnTo>
                    <a:lnTo>
                      <a:pt x="1537882" y="1016227"/>
                    </a:lnTo>
                    <a:lnTo>
                      <a:pt x="1543739" y="1010379"/>
                    </a:lnTo>
                    <a:lnTo>
                      <a:pt x="1588594" y="1010379"/>
                    </a:lnTo>
                    <a:lnTo>
                      <a:pt x="1591843" y="1008428"/>
                    </a:lnTo>
                    <a:lnTo>
                      <a:pt x="1591201" y="967475"/>
                    </a:lnTo>
                    <a:lnTo>
                      <a:pt x="1592504" y="948614"/>
                    </a:lnTo>
                    <a:lnTo>
                      <a:pt x="1601593" y="935619"/>
                    </a:lnTo>
                    <a:lnTo>
                      <a:pt x="1618503" y="930410"/>
                    </a:lnTo>
                    <a:lnTo>
                      <a:pt x="1632163" y="920009"/>
                    </a:lnTo>
                    <a:lnTo>
                      <a:pt x="1647108" y="905058"/>
                    </a:lnTo>
                    <a:lnTo>
                      <a:pt x="1650358" y="890756"/>
                    </a:lnTo>
                    <a:lnTo>
                      <a:pt x="1654912" y="888153"/>
                    </a:lnTo>
                    <a:lnTo>
                      <a:pt x="1667911" y="873855"/>
                    </a:lnTo>
                    <a:lnTo>
                      <a:pt x="1681571" y="865395"/>
                    </a:lnTo>
                    <a:lnTo>
                      <a:pt x="1690017" y="856298"/>
                    </a:lnTo>
                    <a:lnTo>
                      <a:pt x="1701713" y="851749"/>
                    </a:lnTo>
                    <a:lnTo>
                      <a:pt x="1714069" y="843294"/>
                    </a:lnTo>
                    <a:lnTo>
                      <a:pt x="1715373" y="836799"/>
                    </a:lnTo>
                    <a:lnTo>
                      <a:pt x="1728372" y="810787"/>
                    </a:lnTo>
                    <a:lnTo>
                      <a:pt x="1732282" y="792587"/>
                    </a:lnTo>
                    <a:lnTo>
                      <a:pt x="1743317" y="783485"/>
                    </a:lnTo>
                    <a:lnTo>
                      <a:pt x="1743317" y="770481"/>
                    </a:lnTo>
                    <a:lnTo>
                      <a:pt x="1740068" y="760080"/>
                    </a:lnTo>
                    <a:lnTo>
                      <a:pt x="1743978" y="747076"/>
                    </a:lnTo>
                    <a:lnTo>
                      <a:pt x="1751121" y="741224"/>
                    </a:lnTo>
                    <a:lnTo>
                      <a:pt x="1748531" y="719774"/>
                    </a:lnTo>
                    <a:lnTo>
                      <a:pt x="1754370" y="715220"/>
                    </a:lnTo>
                    <a:lnTo>
                      <a:pt x="1754370" y="708074"/>
                    </a:lnTo>
                    <a:lnTo>
                      <a:pt x="1773887" y="698967"/>
                    </a:lnTo>
                    <a:lnTo>
                      <a:pt x="1781030" y="689865"/>
                    </a:lnTo>
                    <a:lnTo>
                      <a:pt x="1784940" y="690517"/>
                    </a:lnTo>
                    <a:lnTo>
                      <a:pt x="1789476" y="707413"/>
                    </a:lnTo>
                    <a:lnTo>
                      <a:pt x="1782976" y="719774"/>
                    </a:lnTo>
                    <a:lnTo>
                      <a:pt x="1792743" y="723023"/>
                    </a:lnTo>
                    <a:lnTo>
                      <a:pt x="1812242" y="707413"/>
                    </a:lnTo>
                    <a:lnTo>
                      <a:pt x="1820688" y="708074"/>
                    </a:lnTo>
                    <a:lnTo>
                      <a:pt x="1826545" y="704168"/>
                    </a:lnTo>
                    <a:lnTo>
                      <a:pt x="1834991" y="692467"/>
                    </a:lnTo>
                    <a:lnTo>
                      <a:pt x="1840187" y="692467"/>
                    </a:lnTo>
                    <a:lnTo>
                      <a:pt x="1846687" y="683365"/>
                    </a:lnTo>
                    <a:lnTo>
                      <a:pt x="1836937" y="683365"/>
                    </a:lnTo>
                    <a:lnTo>
                      <a:pt x="1827188" y="687267"/>
                    </a:lnTo>
                    <a:lnTo>
                      <a:pt x="1821992" y="695717"/>
                    </a:lnTo>
                    <a:lnTo>
                      <a:pt x="1805743" y="690517"/>
                    </a:lnTo>
                    <a:lnTo>
                      <a:pt x="1804439" y="683365"/>
                    </a:lnTo>
                    <a:lnTo>
                      <a:pt x="1816135" y="664509"/>
                    </a:lnTo>
                    <a:lnTo>
                      <a:pt x="1810296" y="659308"/>
                    </a:lnTo>
                    <a:lnTo>
                      <a:pt x="1812242" y="653460"/>
                    </a:lnTo>
                    <a:lnTo>
                      <a:pt x="1821349" y="658009"/>
                    </a:lnTo>
                    <a:lnTo>
                      <a:pt x="1817438" y="614458"/>
                    </a:lnTo>
                    <a:lnTo>
                      <a:pt x="1823938" y="620301"/>
                    </a:lnTo>
                    <a:lnTo>
                      <a:pt x="1836295" y="625502"/>
                    </a:lnTo>
                    <a:lnTo>
                      <a:pt x="1838902" y="607949"/>
                    </a:lnTo>
                    <a:lnTo>
                      <a:pt x="1846044" y="606650"/>
                    </a:lnTo>
                    <a:lnTo>
                      <a:pt x="1853205" y="598847"/>
                    </a:lnTo>
                    <a:lnTo>
                      <a:pt x="1860347" y="607302"/>
                    </a:lnTo>
                    <a:lnTo>
                      <a:pt x="1870097" y="610552"/>
                    </a:lnTo>
                    <a:lnTo>
                      <a:pt x="1880507" y="605994"/>
                    </a:lnTo>
                    <a:lnTo>
                      <a:pt x="1879203" y="598195"/>
                    </a:lnTo>
                    <a:lnTo>
                      <a:pt x="1884399" y="587799"/>
                    </a:lnTo>
                    <a:lnTo>
                      <a:pt x="1883757" y="579995"/>
                    </a:lnTo>
                    <a:lnTo>
                      <a:pt x="1878560" y="569594"/>
                    </a:lnTo>
                    <a:lnTo>
                      <a:pt x="1879846" y="551390"/>
                    </a:lnTo>
                    <a:lnTo>
                      <a:pt x="1886346" y="543587"/>
                    </a:lnTo>
                    <a:lnTo>
                      <a:pt x="1890256" y="533837"/>
                    </a:lnTo>
                    <a:lnTo>
                      <a:pt x="1888310" y="526039"/>
                    </a:lnTo>
                    <a:lnTo>
                      <a:pt x="1907809" y="513030"/>
                    </a:lnTo>
                    <a:lnTo>
                      <a:pt x="1907809" y="500031"/>
                    </a:lnTo>
                    <a:lnTo>
                      <a:pt x="1912362" y="492880"/>
                    </a:lnTo>
                    <a:lnTo>
                      <a:pt x="1911059" y="474675"/>
                    </a:lnTo>
                    <a:lnTo>
                      <a:pt x="1918862" y="470122"/>
                    </a:lnTo>
                    <a:lnTo>
                      <a:pt x="1934468" y="473376"/>
                    </a:lnTo>
                    <a:lnTo>
                      <a:pt x="1950057" y="468823"/>
                    </a:lnTo>
                    <a:lnTo>
                      <a:pt x="1946807" y="459069"/>
                    </a:lnTo>
                    <a:lnTo>
                      <a:pt x="1936414" y="457127"/>
                    </a:lnTo>
                    <a:lnTo>
                      <a:pt x="1937057" y="446721"/>
                    </a:lnTo>
                    <a:lnTo>
                      <a:pt x="1934468" y="438266"/>
                    </a:lnTo>
                    <a:lnTo>
                      <a:pt x="1954610" y="432419"/>
                    </a:lnTo>
                    <a:lnTo>
                      <a:pt x="1966966" y="409014"/>
                    </a:lnTo>
                    <a:lnTo>
                      <a:pt x="1960467" y="405112"/>
                    </a:lnTo>
                    <a:lnTo>
                      <a:pt x="1950717" y="410313"/>
                    </a:lnTo>
                    <a:lnTo>
                      <a:pt x="1935754" y="409014"/>
                    </a:lnTo>
                    <a:lnTo>
                      <a:pt x="1937718" y="418759"/>
                    </a:lnTo>
                    <a:lnTo>
                      <a:pt x="1922754" y="421361"/>
                    </a:lnTo>
                    <a:lnTo>
                      <a:pt x="1911701" y="416160"/>
                    </a:lnTo>
                    <a:lnTo>
                      <a:pt x="1922754" y="407710"/>
                    </a:lnTo>
                    <a:lnTo>
                      <a:pt x="1903952" y="396871"/>
                    </a:lnTo>
                    <a:lnTo>
                      <a:pt x="1606218" y="399197"/>
                    </a:lnTo>
                    <a:lnTo>
                      <a:pt x="1598593" y="246781"/>
                    </a:lnTo>
                    <a:lnTo>
                      <a:pt x="1537204" y="185396"/>
                    </a:lnTo>
                    <a:lnTo>
                      <a:pt x="1503759" y="166107"/>
                    </a:lnTo>
                    <a:lnTo>
                      <a:pt x="1488099" y="151523"/>
                    </a:lnTo>
                    <a:lnTo>
                      <a:pt x="1533811" y="94370"/>
                    </a:lnTo>
                    <a:lnTo>
                      <a:pt x="1396640" y="6732"/>
                    </a:lnTo>
                    <a:lnTo>
                      <a:pt x="1349892" y="6120"/>
                    </a:lnTo>
                    <a:lnTo>
                      <a:pt x="1071300" y="0"/>
                    </a:lnTo>
                    <a:lnTo>
                      <a:pt x="1065139" y="14352"/>
                    </a:lnTo>
                    <a:lnTo>
                      <a:pt x="998500" y="64336"/>
                    </a:lnTo>
                    <a:lnTo>
                      <a:pt x="982001" y="64220"/>
                    </a:lnTo>
                    <a:lnTo>
                      <a:pt x="963877" y="88397"/>
                    </a:lnTo>
                    <a:lnTo>
                      <a:pt x="963877" y="109244"/>
                    </a:lnTo>
                    <a:lnTo>
                      <a:pt x="970823" y="143992"/>
                    </a:lnTo>
                    <a:lnTo>
                      <a:pt x="908273" y="241290"/>
                    </a:lnTo>
                    <a:lnTo>
                      <a:pt x="797082" y="296890"/>
                    </a:lnTo>
                    <a:lnTo>
                      <a:pt x="678928" y="324688"/>
                    </a:lnTo>
                    <a:lnTo>
                      <a:pt x="678928" y="387238"/>
                    </a:lnTo>
                    <a:lnTo>
                      <a:pt x="581630" y="449788"/>
                    </a:lnTo>
                    <a:lnTo>
                      <a:pt x="505187" y="408085"/>
                    </a:lnTo>
                    <a:lnTo>
                      <a:pt x="414835" y="498433"/>
                    </a:lnTo>
                    <a:lnTo>
                      <a:pt x="261950" y="526235"/>
                    </a:lnTo>
                    <a:lnTo>
                      <a:pt x="85138" y="644099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66967" tIns="189775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25" name="shp_Region_Toledo_$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B995171C-6540-D463-E174-38462677EDCA}"/>
                  </a:ext>
                </a:extLst>
              </p:cNvPr>
              <p:cNvSpPr/>
              <p:nvPr/>
            </p:nvSpPr>
            <p:spPr>
              <a:xfrm>
                <a:off x="1909755" y="4713226"/>
                <a:ext cx="25357" cy="15612"/>
              </a:xfrm>
              <a:custGeom>
                <a:avLst/>
                <a:gdLst/>
                <a:ahLst/>
                <a:cxnLst/>
                <a:rect l="0" t="0" r="0" b="0"/>
                <a:pathLst>
                  <a:path w="25357" h="15612">
                    <a:moveTo>
                      <a:pt x="8446" y="15611"/>
                    </a:moveTo>
                    <a:lnTo>
                      <a:pt x="25356" y="5200"/>
                    </a:lnTo>
                    <a:lnTo>
                      <a:pt x="24052" y="0"/>
                    </a:lnTo>
                    <a:lnTo>
                      <a:pt x="0" y="14307"/>
                    </a:lnTo>
                    <a:lnTo>
                      <a:pt x="8446" y="15611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357" tIns="15612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27" name="shp_Region_Toledo_$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6780D4FE-FDD0-8F33-3932-CED01CE5D9D1}"/>
                  </a:ext>
                </a:extLst>
              </p:cNvPr>
              <p:cNvSpPr/>
              <p:nvPr/>
            </p:nvSpPr>
            <p:spPr>
              <a:xfrm>
                <a:off x="1837598" y="4837407"/>
                <a:ext cx="11697" cy="16254"/>
              </a:xfrm>
              <a:custGeom>
                <a:avLst/>
                <a:gdLst/>
                <a:ahLst/>
                <a:cxnLst/>
                <a:rect l="0" t="0" r="0" b="0"/>
                <a:pathLst>
                  <a:path w="11697" h="16254">
                    <a:moveTo>
                      <a:pt x="1304" y="0"/>
                    </a:moveTo>
                    <a:lnTo>
                      <a:pt x="0" y="11052"/>
                    </a:lnTo>
                    <a:lnTo>
                      <a:pt x="5839" y="16253"/>
                    </a:lnTo>
                    <a:lnTo>
                      <a:pt x="11696" y="8450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697" tIns="1625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28" name="shp_Region_Toledo_$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9B83595E-6D75-5C44-E73C-C59C6E017A33}"/>
                  </a:ext>
                </a:extLst>
              </p:cNvPr>
              <p:cNvSpPr/>
              <p:nvPr/>
            </p:nvSpPr>
            <p:spPr>
              <a:xfrm>
                <a:off x="1392265" y="5283387"/>
                <a:ext cx="11054" cy="17558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7558">
                    <a:moveTo>
                      <a:pt x="7142" y="0"/>
                    </a:moveTo>
                    <a:lnTo>
                      <a:pt x="0" y="17557"/>
                    </a:lnTo>
                    <a:lnTo>
                      <a:pt x="8446" y="13004"/>
                    </a:lnTo>
                    <a:lnTo>
                      <a:pt x="11053" y="4549"/>
                    </a:lnTo>
                    <a:lnTo>
                      <a:pt x="714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7558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29" name="shp_Region_Toledo_$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84CC6096-AF4B-F864-23CF-F49659C5F9E0}"/>
                  </a:ext>
                </a:extLst>
              </p:cNvPr>
              <p:cNvSpPr/>
              <p:nvPr/>
            </p:nvSpPr>
            <p:spPr>
              <a:xfrm>
                <a:off x="1365606" y="5311346"/>
                <a:ext cx="22107" cy="19504"/>
              </a:xfrm>
              <a:custGeom>
                <a:avLst/>
                <a:gdLst/>
                <a:ahLst/>
                <a:cxnLst/>
                <a:rect l="0" t="0" r="0" b="0"/>
                <a:pathLst>
                  <a:path w="22107" h="19504">
                    <a:moveTo>
                      <a:pt x="22106" y="0"/>
                    </a:moveTo>
                    <a:lnTo>
                      <a:pt x="642" y="10401"/>
                    </a:lnTo>
                    <a:lnTo>
                      <a:pt x="0" y="17557"/>
                    </a:lnTo>
                    <a:lnTo>
                      <a:pt x="6499" y="19503"/>
                    </a:lnTo>
                    <a:lnTo>
                      <a:pt x="13642" y="14959"/>
                    </a:lnTo>
                    <a:lnTo>
                      <a:pt x="2210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2107" tIns="19504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0" name="shp_Region_Toledo_$6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C6C0B92E-E77A-607E-F3C2-60E6B87C6520}"/>
                  </a:ext>
                </a:extLst>
              </p:cNvPr>
              <p:cNvSpPr/>
              <p:nvPr/>
            </p:nvSpPr>
            <p:spPr>
              <a:xfrm>
                <a:off x="1282396" y="5315895"/>
                <a:ext cx="35106" cy="38360"/>
              </a:xfrm>
              <a:custGeom>
                <a:avLst/>
                <a:gdLst/>
                <a:ahLst/>
                <a:cxnLst/>
                <a:rect l="0" t="0" r="0" b="0"/>
                <a:pathLst>
                  <a:path w="35106" h="38360">
                    <a:moveTo>
                      <a:pt x="32498" y="0"/>
                    </a:moveTo>
                    <a:lnTo>
                      <a:pt x="24695" y="2606"/>
                    </a:lnTo>
                    <a:lnTo>
                      <a:pt x="24052" y="11052"/>
                    </a:lnTo>
                    <a:lnTo>
                      <a:pt x="11053" y="22757"/>
                    </a:lnTo>
                    <a:lnTo>
                      <a:pt x="1946" y="23400"/>
                    </a:lnTo>
                    <a:lnTo>
                      <a:pt x="0" y="32506"/>
                    </a:lnTo>
                    <a:lnTo>
                      <a:pt x="8446" y="38359"/>
                    </a:lnTo>
                    <a:lnTo>
                      <a:pt x="21445" y="24708"/>
                    </a:lnTo>
                    <a:lnTo>
                      <a:pt x="35105" y="29257"/>
                    </a:lnTo>
                    <a:lnTo>
                      <a:pt x="35105" y="11052"/>
                    </a:lnTo>
                    <a:lnTo>
                      <a:pt x="32498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106" tIns="3836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1" name="shp_Region_Toledo_$7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E06D1672-C7FB-1E03-6CC5-076305345D1E}"/>
                  </a:ext>
                </a:extLst>
              </p:cNvPr>
              <p:cNvSpPr/>
              <p:nvPr/>
            </p:nvSpPr>
            <p:spPr>
              <a:xfrm>
                <a:off x="1476118" y="5317841"/>
                <a:ext cx="13018" cy="9759"/>
              </a:xfrm>
              <a:custGeom>
                <a:avLst/>
                <a:gdLst/>
                <a:ahLst/>
                <a:cxnLst/>
                <a:rect l="0" t="0" r="0" b="0"/>
                <a:pathLst>
                  <a:path w="13018" h="9759">
                    <a:moveTo>
                      <a:pt x="13017" y="0"/>
                    </a:moveTo>
                    <a:lnTo>
                      <a:pt x="0" y="4557"/>
                    </a:lnTo>
                    <a:lnTo>
                      <a:pt x="9106" y="9758"/>
                    </a:lnTo>
                    <a:lnTo>
                      <a:pt x="1301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18" tIns="9759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2" name="shp_Region_Toledo_$8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300DF5E6-2B5B-D5C3-00EF-D36DF00A53FB}"/>
                  </a:ext>
                </a:extLst>
              </p:cNvPr>
              <p:cNvSpPr/>
              <p:nvPr/>
            </p:nvSpPr>
            <p:spPr>
              <a:xfrm>
                <a:off x="1370159" y="5343853"/>
                <a:ext cx="11054" cy="18205"/>
              </a:xfrm>
              <a:custGeom>
                <a:avLst/>
                <a:gdLst/>
                <a:ahLst/>
                <a:cxnLst/>
                <a:rect l="0" t="0" r="0" b="0"/>
                <a:pathLst>
                  <a:path w="11054" h="18205">
                    <a:moveTo>
                      <a:pt x="9749" y="0"/>
                    </a:moveTo>
                    <a:lnTo>
                      <a:pt x="4553" y="1299"/>
                    </a:lnTo>
                    <a:lnTo>
                      <a:pt x="0" y="14950"/>
                    </a:lnTo>
                    <a:lnTo>
                      <a:pt x="5839" y="18204"/>
                    </a:lnTo>
                    <a:lnTo>
                      <a:pt x="11053" y="6504"/>
                    </a:lnTo>
                    <a:lnTo>
                      <a:pt x="974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054" tIns="18205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3" name="shp_Region_Toledo_$9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1042BA0C-A659-D0F2-A62F-2658C595742D}"/>
                  </a:ext>
                </a:extLst>
              </p:cNvPr>
              <p:cNvSpPr/>
              <p:nvPr/>
            </p:nvSpPr>
            <p:spPr>
              <a:xfrm>
                <a:off x="1262879" y="5371155"/>
                <a:ext cx="9108" cy="11710"/>
              </a:xfrm>
              <a:custGeom>
                <a:avLst/>
                <a:gdLst/>
                <a:ahLst/>
                <a:cxnLst/>
                <a:rect l="0" t="0" r="0" b="0"/>
                <a:pathLst>
                  <a:path w="9108" h="11710">
                    <a:moveTo>
                      <a:pt x="5857" y="0"/>
                    </a:moveTo>
                    <a:lnTo>
                      <a:pt x="0" y="11709"/>
                    </a:lnTo>
                    <a:lnTo>
                      <a:pt x="9107" y="9754"/>
                    </a:lnTo>
                    <a:lnTo>
                      <a:pt x="5857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08" tIns="1171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4" name="shp_Region_Toledo_$10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9D3706D-6939-3DFF-AB73-502EBA8DE391}"/>
                  </a:ext>
                </a:extLst>
              </p:cNvPr>
              <p:cNvSpPr/>
              <p:nvPr/>
            </p:nvSpPr>
            <p:spPr>
              <a:xfrm>
                <a:off x="1324001" y="5393261"/>
                <a:ext cx="17553" cy="16906"/>
              </a:xfrm>
              <a:custGeom>
                <a:avLst/>
                <a:gdLst/>
                <a:ahLst/>
                <a:cxnLst/>
                <a:rect l="0" t="0" r="0" b="0"/>
                <a:pathLst>
                  <a:path w="17553" h="16906">
                    <a:moveTo>
                      <a:pt x="0" y="0"/>
                    </a:moveTo>
                    <a:lnTo>
                      <a:pt x="10392" y="8450"/>
                    </a:lnTo>
                    <a:lnTo>
                      <a:pt x="8446" y="16905"/>
                    </a:lnTo>
                    <a:lnTo>
                      <a:pt x="17552" y="16258"/>
                    </a:lnTo>
                    <a:lnTo>
                      <a:pt x="13642" y="8450"/>
                    </a:lnTo>
                    <a:lnTo>
                      <a:pt x="5839" y="12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7553" tIns="1690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5" name="shp_Region_Toledo_$11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DBB2C6DA-6071-C9F7-F306-804CFF6CC62B}"/>
                  </a:ext>
                </a:extLst>
              </p:cNvPr>
              <p:cNvSpPr/>
              <p:nvPr/>
            </p:nvSpPr>
            <p:spPr>
              <a:xfrm>
                <a:off x="1238827" y="5394560"/>
                <a:ext cx="13000" cy="19500"/>
              </a:xfrm>
              <a:custGeom>
                <a:avLst/>
                <a:gdLst/>
                <a:ahLst/>
                <a:cxnLst/>
                <a:rect l="0" t="0" r="0" b="0"/>
                <a:pathLst>
                  <a:path w="13000" h="19500">
                    <a:moveTo>
                      <a:pt x="4553" y="0"/>
                    </a:moveTo>
                    <a:lnTo>
                      <a:pt x="0" y="9754"/>
                    </a:lnTo>
                    <a:lnTo>
                      <a:pt x="5196" y="19499"/>
                    </a:lnTo>
                    <a:lnTo>
                      <a:pt x="12999" y="7151"/>
                    </a:lnTo>
                    <a:lnTo>
                      <a:pt x="6499" y="7151"/>
                    </a:lnTo>
                    <a:lnTo>
                      <a:pt x="4553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000" tIns="19500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6" name="shp_Region_Toledo_$12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039E785A-3B55-0852-4861-D4775D4089BE}"/>
                  </a:ext>
                </a:extLst>
              </p:cNvPr>
              <p:cNvSpPr/>
              <p:nvPr/>
            </p:nvSpPr>
            <p:spPr>
              <a:xfrm>
                <a:off x="1212828" y="5404965"/>
                <a:ext cx="20804" cy="16251"/>
              </a:xfrm>
              <a:custGeom>
                <a:avLst/>
                <a:gdLst/>
                <a:ahLst/>
                <a:cxnLst/>
                <a:rect l="0" t="0" r="0" b="0"/>
                <a:pathLst>
                  <a:path w="20804" h="16251">
                    <a:moveTo>
                      <a:pt x="14946" y="0"/>
                    </a:moveTo>
                    <a:lnTo>
                      <a:pt x="9107" y="5849"/>
                    </a:lnTo>
                    <a:lnTo>
                      <a:pt x="0" y="9094"/>
                    </a:lnTo>
                    <a:lnTo>
                      <a:pt x="11696" y="16250"/>
                    </a:lnTo>
                    <a:lnTo>
                      <a:pt x="20142" y="15602"/>
                    </a:lnTo>
                    <a:lnTo>
                      <a:pt x="20803" y="3893"/>
                    </a:lnTo>
                    <a:lnTo>
                      <a:pt x="1494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4" tIns="16251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7" name="shp_Region_Toledo_$13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D0B82393-8059-56AA-EBD5-9F69D30A53C4}"/>
                  </a:ext>
                </a:extLst>
              </p:cNvPr>
              <p:cNvSpPr/>
              <p:nvPr/>
            </p:nvSpPr>
            <p:spPr>
              <a:xfrm>
                <a:off x="1303841" y="5405613"/>
                <a:ext cx="20161" cy="12353"/>
              </a:xfrm>
              <a:custGeom>
                <a:avLst/>
                <a:gdLst/>
                <a:ahLst/>
                <a:cxnLst/>
                <a:rect l="0" t="0" r="0" b="0"/>
                <a:pathLst>
                  <a:path w="20161" h="12353">
                    <a:moveTo>
                      <a:pt x="12356" y="0"/>
                    </a:moveTo>
                    <a:lnTo>
                      <a:pt x="0" y="3906"/>
                    </a:lnTo>
                    <a:lnTo>
                      <a:pt x="2607" y="12352"/>
                    </a:lnTo>
                    <a:lnTo>
                      <a:pt x="20160" y="11709"/>
                    </a:lnTo>
                    <a:lnTo>
                      <a:pt x="18856" y="4553"/>
                    </a:lnTo>
                    <a:lnTo>
                      <a:pt x="12356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161" tIns="12353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8" name="shp_Region_Toledo_$14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B4043972-9BDC-CB1E-AB0E-6ADB3BA71DCF}"/>
                  </a:ext>
                </a:extLst>
              </p:cNvPr>
              <p:cNvSpPr/>
              <p:nvPr/>
            </p:nvSpPr>
            <p:spPr>
              <a:xfrm>
                <a:off x="1325304" y="5421215"/>
                <a:ext cx="10393" cy="13656"/>
              </a:xfrm>
              <a:custGeom>
                <a:avLst/>
                <a:gdLst/>
                <a:ahLst/>
                <a:cxnLst/>
                <a:rect l="0" t="0" r="0" b="0"/>
                <a:pathLst>
                  <a:path w="10393" h="13656">
                    <a:moveTo>
                      <a:pt x="5839" y="0"/>
                    </a:moveTo>
                    <a:lnTo>
                      <a:pt x="0" y="5205"/>
                    </a:lnTo>
                    <a:lnTo>
                      <a:pt x="0" y="13655"/>
                    </a:lnTo>
                    <a:lnTo>
                      <a:pt x="10392" y="8455"/>
                    </a:lnTo>
                    <a:lnTo>
                      <a:pt x="5839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393" tIns="13656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  <p:sp>
            <p:nvSpPr>
              <p:cNvPr id="239" name="shp_Region_Toledo_$15" descr="Admin1_Id=&quot;BLZ&quot;&#10;Admin1_Label=&quot;Belize&quot;&#10;Admin2_Id=&quot;BLZ.6_1&quot;&#10;Admin2_Label=&quot;Toledo&quot;&#10;" title="Toledo">
                <a:extLst>
                  <a:ext uri="{FF2B5EF4-FFF2-40B4-BE49-F238E27FC236}">
                    <a16:creationId xmlns:a16="http://schemas.microsoft.com/office/drawing/2014/main" id="{5B118B2E-DF6A-3FD4-BB5F-C180D77EB134}"/>
                  </a:ext>
                </a:extLst>
              </p:cNvPr>
              <p:cNvSpPr/>
              <p:nvPr/>
            </p:nvSpPr>
            <p:spPr>
              <a:xfrm>
                <a:off x="1169920" y="5444620"/>
                <a:ext cx="20803" cy="18857"/>
              </a:xfrm>
              <a:custGeom>
                <a:avLst/>
                <a:gdLst/>
                <a:ahLst/>
                <a:cxnLst/>
                <a:rect l="0" t="0" r="0" b="0"/>
                <a:pathLst>
                  <a:path w="20803" h="18857">
                    <a:moveTo>
                      <a:pt x="20802" y="0"/>
                    </a:moveTo>
                    <a:lnTo>
                      <a:pt x="7803" y="10401"/>
                    </a:lnTo>
                    <a:lnTo>
                      <a:pt x="0" y="11704"/>
                    </a:lnTo>
                    <a:lnTo>
                      <a:pt x="1946" y="18856"/>
                    </a:lnTo>
                    <a:lnTo>
                      <a:pt x="20802" y="3901"/>
                    </a:lnTo>
                    <a:lnTo>
                      <a:pt x="20802" y="0"/>
                    </a:lnTo>
                    <a:close/>
                  </a:path>
                </a:pathLst>
              </a:custGeom>
              <a:solidFill>
                <a:srgbClr val="FF0000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0803" tIns="18857" rIns="0" bIns="0" rtlCol="0" anchor="ctr" anchorCtr="1">
                <a:normAutofit fontScale="25000" lnSpcReduction="20000"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600" b="1" i="1">
                    <a:solidFill>
                      <a:srgbClr val="FFFFFF"/>
                    </a:solidFill>
                    <a:latin typeface="Arial" panose="020B0604020202020204" pitchFamily="34" charset="0"/>
                  </a:rPr>
                  <a:t>Toledo</a:t>
                </a:r>
              </a:p>
            </p:txBody>
          </p:sp>
        </p:grpSp>
      </p:grpSp>
      <p:grpSp>
        <p:nvGrpSpPr>
          <p:cNvPr id="321" name="shp_Legend_OVERALL_RISK">
            <a:extLst>
              <a:ext uri="{FF2B5EF4-FFF2-40B4-BE49-F238E27FC236}">
                <a16:creationId xmlns:a16="http://schemas.microsoft.com/office/drawing/2014/main" id="{3C63223D-485F-7BF8-4F02-7A155E83A4FB}"/>
              </a:ext>
            </a:extLst>
          </p:cNvPr>
          <p:cNvGrpSpPr/>
          <p:nvPr/>
        </p:nvGrpSpPr>
        <p:grpSpPr>
          <a:xfrm>
            <a:off x="4778288" y="5769183"/>
            <a:ext cx="1939690" cy="903170"/>
            <a:chOff x="-1" y="0"/>
            <a:chExt cx="2784285" cy="1033190"/>
          </a:xfrm>
        </p:grpSpPr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CED8A414-6EE6-2661-541B-CEBE71742675}"/>
                </a:ext>
              </a:extLst>
            </p:cNvPr>
            <p:cNvSpPr/>
            <p:nvPr/>
          </p:nvSpPr>
          <p:spPr>
            <a:xfrm>
              <a:off x="-1" y="0"/>
              <a:ext cx="2784285" cy="1033190"/>
            </a:xfrm>
            <a:prstGeom prst="rect">
              <a:avLst/>
            </a:prstGeom>
            <a:solidFill>
              <a:srgbClr val="FFFFFF">
                <a:lumMod val="100000"/>
              </a:srgbClr>
            </a:solidFill>
            <a:ln w="12700" cap="flat" cmpd="sng" algn="ctr">
              <a:solidFill>
                <a:srgbClr val="000000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CH" sz="1100"/>
            </a:p>
          </p:txBody>
        </p:sp>
        <p:sp>
          <p:nvSpPr>
            <p:cNvPr id="323" name="TextBox 114562">
              <a:extLst>
                <a:ext uri="{FF2B5EF4-FFF2-40B4-BE49-F238E27FC236}">
                  <a16:creationId xmlns:a16="http://schemas.microsoft.com/office/drawing/2014/main" id="{AC5A7B9A-59BD-A8A5-0F46-9C9252C30891}"/>
                </a:ext>
              </a:extLst>
            </p:cNvPr>
            <p:cNvSpPr txBox="1"/>
            <p:nvPr/>
          </p:nvSpPr>
          <p:spPr>
            <a:xfrm>
              <a:off x="38101" y="33423"/>
              <a:ext cx="2273383" cy="220052"/>
            </a:xfrm>
            <a:prstGeom prst="rect">
              <a:avLst/>
            </a:prstGeom>
            <a:noFill/>
            <a:ln w="9525"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9525" cmpd="sng">
                  <a:solidFill>
                    <a:schemeClr val="lt1">
                      <a:shade val="50000"/>
                    </a:schemeClr>
                  </a:solidFill>
                </a14:hiddenLine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vert="horz" wrap="none" lIns="38100" tIns="0" rIns="0" bIns="38100" rtlCol="0" anchor="ctr" anchorCtr="0"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s-CO" sz="1000" b="1" u="sng">
                  <a:solidFill>
                    <a:srgbClr val="000000">
                      <a:lumMod val="100000"/>
                    </a:srgbClr>
                  </a:solidFill>
                </a:rPr>
                <a:t>Perfil general de riesgo de SR</a:t>
              </a:r>
              <a:endParaRPr lang="en-CH" sz="1000" b="1" u="sng">
                <a:solidFill>
                  <a:srgbClr val="000000">
                    <a:lumMod val="100000"/>
                  </a:srgbClr>
                </a:solidFill>
              </a:endParaRPr>
            </a:p>
          </p:txBody>
        </p:sp>
        <p:sp>
          <p:nvSpPr>
            <p:cNvPr id="324" name="Rectangle: Rounded Corners 323">
              <a:extLst>
                <a:ext uri="{FF2B5EF4-FFF2-40B4-BE49-F238E27FC236}">
                  <a16:creationId xmlns:a16="http://schemas.microsoft.com/office/drawing/2014/main" id="{9B736539-D92C-C735-3C5B-0E2A52137500}"/>
                </a:ext>
              </a:extLst>
            </p:cNvPr>
            <p:cNvSpPr/>
            <p:nvPr/>
          </p:nvSpPr>
          <p:spPr>
            <a:xfrm>
              <a:off x="38100" y="271190"/>
              <a:ext cx="190500" cy="152400"/>
            </a:xfrm>
            <a:prstGeom prst="roundRect">
              <a:avLst/>
            </a:prstGeom>
            <a:solidFill>
              <a:srgbClr val="92D050">
                <a:lumMod val="100000"/>
              </a:srgbClr>
            </a:solidFill>
            <a:ln w="12700" cap="flat" cmpd="sng" algn="ctr">
              <a:solidFill>
                <a:srgbClr val="000000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4445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s-CO" sz="1000">
                  <a:solidFill>
                    <a:srgbClr val="000000">
                      <a:lumMod val="100000"/>
                    </a:srgbClr>
                  </a:solidFill>
                </a:rPr>
                <a:t>Bajo riesgo</a:t>
              </a:r>
              <a:endParaRPr lang="en-CH" sz="1000">
                <a:solidFill>
                  <a:srgbClr val="000000">
                    <a:lumMod val="100000"/>
                  </a:srgbClr>
                </a:solidFill>
              </a:endParaRPr>
            </a:p>
          </p:txBody>
        </p:sp>
        <p:sp>
          <p:nvSpPr>
            <p:cNvPr id="325" name="Rectangle: Rounded Corners 324">
              <a:extLst>
                <a:ext uri="{FF2B5EF4-FFF2-40B4-BE49-F238E27FC236}">
                  <a16:creationId xmlns:a16="http://schemas.microsoft.com/office/drawing/2014/main" id="{7A3F24D7-CDB2-5B36-CAF3-0E83B8939D59}"/>
                </a:ext>
              </a:extLst>
            </p:cNvPr>
            <p:cNvSpPr/>
            <p:nvPr/>
          </p:nvSpPr>
          <p:spPr>
            <a:xfrm>
              <a:off x="38100" y="461690"/>
              <a:ext cx="190500" cy="152400"/>
            </a:xfrm>
            <a:prstGeom prst="roundRect">
              <a:avLst/>
            </a:prstGeom>
            <a:solidFill>
              <a:srgbClr val="FFC000">
                <a:lumMod val="100000"/>
              </a:srgbClr>
            </a:solidFill>
            <a:ln w="12700" cap="flat" cmpd="sng" algn="ctr">
              <a:solidFill>
                <a:srgbClr val="000000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4445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s-CO" sz="1000">
                  <a:solidFill>
                    <a:srgbClr val="000000">
                      <a:lumMod val="100000"/>
                    </a:srgbClr>
                  </a:solidFill>
                </a:rPr>
                <a:t>Riesgo mediano</a:t>
              </a:r>
              <a:endParaRPr lang="en-CH" sz="1000">
                <a:solidFill>
                  <a:srgbClr val="000000">
                    <a:lumMod val="100000"/>
                  </a:srgbClr>
                </a:solidFill>
              </a:endParaRPr>
            </a:p>
          </p:txBody>
        </p:sp>
        <p:sp>
          <p:nvSpPr>
            <p:cNvPr id="326" name="Rectangle: Rounded Corners 325">
              <a:extLst>
                <a:ext uri="{FF2B5EF4-FFF2-40B4-BE49-F238E27FC236}">
                  <a16:creationId xmlns:a16="http://schemas.microsoft.com/office/drawing/2014/main" id="{494768CB-6166-38FA-5D08-7BDF38F7CBA8}"/>
                </a:ext>
              </a:extLst>
            </p:cNvPr>
            <p:cNvSpPr/>
            <p:nvPr/>
          </p:nvSpPr>
          <p:spPr>
            <a:xfrm>
              <a:off x="38100" y="652190"/>
              <a:ext cx="190500" cy="152400"/>
            </a:xfrm>
            <a:prstGeom prst="roundRect">
              <a:avLst/>
            </a:prstGeom>
            <a:solidFill>
              <a:srgbClr val="FF0000">
                <a:lumMod val="100000"/>
              </a:srgbClr>
            </a:solidFill>
            <a:ln w="12700" cap="flat" cmpd="sng" algn="ctr">
              <a:solidFill>
                <a:srgbClr val="000000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4445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s-CO" sz="1000">
                  <a:solidFill>
                    <a:srgbClr val="000000">
                      <a:lumMod val="100000"/>
                    </a:srgbClr>
                  </a:solidFill>
                </a:rPr>
                <a:t>Alto riesgo</a:t>
              </a:r>
              <a:endParaRPr lang="en-CH" sz="1000">
                <a:solidFill>
                  <a:srgbClr val="000000">
                    <a:lumMod val="100000"/>
                  </a:srgbClr>
                </a:solidFill>
              </a:endParaRPr>
            </a:p>
          </p:txBody>
        </p:sp>
        <p:sp>
          <p:nvSpPr>
            <p:cNvPr id="327" name="Rectangle: Rounded Corners 326">
              <a:extLst>
                <a:ext uri="{FF2B5EF4-FFF2-40B4-BE49-F238E27FC236}">
                  <a16:creationId xmlns:a16="http://schemas.microsoft.com/office/drawing/2014/main" id="{6333664E-22EE-9040-99CB-6B87FCAE445D}"/>
                </a:ext>
              </a:extLst>
            </p:cNvPr>
            <p:cNvSpPr/>
            <p:nvPr/>
          </p:nvSpPr>
          <p:spPr>
            <a:xfrm>
              <a:off x="38100" y="842690"/>
              <a:ext cx="190500" cy="152400"/>
            </a:xfrm>
            <a:prstGeom prst="roundRect">
              <a:avLst/>
            </a:prstGeom>
            <a:solidFill>
              <a:srgbClr val="920000">
                <a:lumMod val="100000"/>
              </a:srgbClr>
            </a:solidFill>
            <a:ln w="12700" cap="flat" cmpd="sng" algn="ctr">
              <a:solidFill>
                <a:srgbClr val="000000">
                  <a:lumMod val="10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4445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s-CO" sz="1000">
                  <a:solidFill>
                    <a:srgbClr val="000000">
                      <a:lumMod val="100000"/>
                    </a:srgbClr>
                  </a:solidFill>
                </a:rPr>
                <a:t>Riesgo muy alto</a:t>
              </a:r>
              <a:endParaRPr lang="en-CH" sz="1000">
                <a:solidFill>
                  <a:srgbClr val="000000">
                    <a:lumMod val="10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4754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BCED4D40-4B67-4331-AC48-79B82B4A4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17576"/>
            <a:ext cx="10909640" cy="12493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rear shapefiles finales</a:t>
            </a:r>
            <a:b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brir </a:t>
            </a:r>
            <a:r>
              <a:rPr lang="en-US" sz="41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eodata_to_shapefiles.R</a:t>
            </a:r>
            <a: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 en RStudio</a:t>
            </a:r>
          </a:p>
        </p:txBody>
      </p:sp>
      <p:sp>
        <p:nvSpPr>
          <p:cNvPr id="22" name="sketch line">
            <a:extLst>
              <a:ext uri="{FF2B5EF4-FFF2-40B4-BE49-F238E27FC236}">
                <a16:creationId xmlns:a16="http://schemas.microsoft.com/office/drawing/2014/main" id="{670CEDEF-4F34-412E-84EE-329C1E936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07702" y="1733454"/>
            <a:ext cx="4572000" cy="18288"/>
          </a:xfrm>
          <a:custGeom>
            <a:avLst/>
            <a:gdLst>
              <a:gd name="connsiteX0" fmla="*/ 0 w 4572000"/>
              <a:gd name="connsiteY0" fmla="*/ 0 h 18288"/>
              <a:gd name="connsiteX1" fmla="*/ 515983 w 4572000"/>
              <a:gd name="connsiteY1" fmla="*/ 0 h 18288"/>
              <a:gd name="connsiteX2" fmla="*/ 1031966 w 4572000"/>
              <a:gd name="connsiteY2" fmla="*/ 0 h 18288"/>
              <a:gd name="connsiteX3" fmla="*/ 1639389 w 4572000"/>
              <a:gd name="connsiteY3" fmla="*/ 0 h 18288"/>
              <a:gd name="connsiteX4" fmla="*/ 2383971 w 4572000"/>
              <a:gd name="connsiteY4" fmla="*/ 0 h 18288"/>
              <a:gd name="connsiteX5" fmla="*/ 2945674 w 4572000"/>
              <a:gd name="connsiteY5" fmla="*/ 0 h 18288"/>
              <a:gd name="connsiteX6" fmla="*/ 3507377 w 4572000"/>
              <a:gd name="connsiteY6" fmla="*/ 0 h 18288"/>
              <a:gd name="connsiteX7" fmla="*/ 4572000 w 4572000"/>
              <a:gd name="connsiteY7" fmla="*/ 0 h 18288"/>
              <a:gd name="connsiteX8" fmla="*/ 4572000 w 4572000"/>
              <a:gd name="connsiteY8" fmla="*/ 18288 h 18288"/>
              <a:gd name="connsiteX9" fmla="*/ 3873137 w 4572000"/>
              <a:gd name="connsiteY9" fmla="*/ 18288 h 18288"/>
              <a:gd name="connsiteX10" fmla="*/ 3311434 w 4572000"/>
              <a:gd name="connsiteY10" fmla="*/ 18288 h 18288"/>
              <a:gd name="connsiteX11" fmla="*/ 2749731 w 4572000"/>
              <a:gd name="connsiteY11" fmla="*/ 18288 h 18288"/>
              <a:gd name="connsiteX12" fmla="*/ 2050869 w 4572000"/>
              <a:gd name="connsiteY12" fmla="*/ 18288 h 18288"/>
              <a:gd name="connsiteX13" fmla="*/ 1306286 w 4572000"/>
              <a:gd name="connsiteY13" fmla="*/ 18288 h 18288"/>
              <a:gd name="connsiteX14" fmla="*/ 790303 w 4572000"/>
              <a:gd name="connsiteY14" fmla="*/ 18288 h 18288"/>
              <a:gd name="connsiteX15" fmla="*/ 0 w 4572000"/>
              <a:gd name="connsiteY15" fmla="*/ 18288 h 18288"/>
              <a:gd name="connsiteX16" fmla="*/ 0 w 457200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572000" h="18288" fill="none" extrusionOk="0">
                <a:moveTo>
                  <a:pt x="0" y="0"/>
                </a:moveTo>
                <a:cubicBezTo>
                  <a:pt x="105156" y="-20963"/>
                  <a:pt x="340432" y="822"/>
                  <a:pt x="515983" y="0"/>
                </a:cubicBezTo>
                <a:cubicBezTo>
                  <a:pt x="691534" y="-822"/>
                  <a:pt x="850679" y="16479"/>
                  <a:pt x="1031966" y="0"/>
                </a:cubicBezTo>
                <a:cubicBezTo>
                  <a:pt x="1213253" y="-16479"/>
                  <a:pt x="1443646" y="-18730"/>
                  <a:pt x="1639389" y="0"/>
                </a:cubicBezTo>
                <a:cubicBezTo>
                  <a:pt x="1835132" y="18730"/>
                  <a:pt x="2159975" y="18531"/>
                  <a:pt x="2383971" y="0"/>
                </a:cubicBezTo>
                <a:cubicBezTo>
                  <a:pt x="2607967" y="-18531"/>
                  <a:pt x="2719096" y="-12030"/>
                  <a:pt x="2945674" y="0"/>
                </a:cubicBezTo>
                <a:cubicBezTo>
                  <a:pt x="3172252" y="12030"/>
                  <a:pt x="3269167" y="27666"/>
                  <a:pt x="3507377" y="0"/>
                </a:cubicBezTo>
                <a:cubicBezTo>
                  <a:pt x="3745587" y="-27666"/>
                  <a:pt x="4116741" y="18705"/>
                  <a:pt x="4572000" y="0"/>
                </a:cubicBezTo>
                <a:cubicBezTo>
                  <a:pt x="4572895" y="8974"/>
                  <a:pt x="4571454" y="9359"/>
                  <a:pt x="4572000" y="18288"/>
                </a:cubicBezTo>
                <a:cubicBezTo>
                  <a:pt x="4374698" y="3942"/>
                  <a:pt x="4098874" y="-11042"/>
                  <a:pt x="3873137" y="18288"/>
                </a:cubicBezTo>
                <a:cubicBezTo>
                  <a:pt x="3647400" y="47618"/>
                  <a:pt x="3517055" y="5421"/>
                  <a:pt x="3311434" y="18288"/>
                </a:cubicBezTo>
                <a:cubicBezTo>
                  <a:pt x="3105813" y="31155"/>
                  <a:pt x="3025168" y="17856"/>
                  <a:pt x="2749731" y="18288"/>
                </a:cubicBezTo>
                <a:cubicBezTo>
                  <a:pt x="2474294" y="18720"/>
                  <a:pt x="2291766" y="-14168"/>
                  <a:pt x="2050869" y="18288"/>
                </a:cubicBezTo>
                <a:cubicBezTo>
                  <a:pt x="1809972" y="50744"/>
                  <a:pt x="1540276" y="46798"/>
                  <a:pt x="1306286" y="18288"/>
                </a:cubicBezTo>
                <a:cubicBezTo>
                  <a:pt x="1072296" y="-10222"/>
                  <a:pt x="972445" y="19645"/>
                  <a:pt x="790303" y="18288"/>
                </a:cubicBezTo>
                <a:cubicBezTo>
                  <a:pt x="608161" y="16931"/>
                  <a:pt x="200981" y="8241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572000" h="18288" stroke="0" extrusionOk="0">
                <a:moveTo>
                  <a:pt x="0" y="0"/>
                </a:moveTo>
                <a:cubicBezTo>
                  <a:pt x="143285" y="-9565"/>
                  <a:pt x="327959" y="-11498"/>
                  <a:pt x="561703" y="0"/>
                </a:cubicBezTo>
                <a:cubicBezTo>
                  <a:pt x="795447" y="11498"/>
                  <a:pt x="838260" y="18255"/>
                  <a:pt x="1077686" y="0"/>
                </a:cubicBezTo>
                <a:cubicBezTo>
                  <a:pt x="1317112" y="-18255"/>
                  <a:pt x="1437472" y="23514"/>
                  <a:pt x="1639389" y="0"/>
                </a:cubicBezTo>
                <a:cubicBezTo>
                  <a:pt x="1841306" y="-23514"/>
                  <a:pt x="2037142" y="-12551"/>
                  <a:pt x="2292531" y="0"/>
                </a:cubicBezTo>
                <a:cubicBezTo>
                  <a:pt x="2547920" y="12551"/>
                  <a:pt x="2810436" y="-20352"/>
                  <a:pt x="2991394" y="0"/>
                </a:cubicBezTo>
                <a:cubicBezTo>
                  <a:pt x="3172352" y="20352"/>
                  <a:pt x="3530025" y="-13347"/>
                  <a:pt x="3735977" y="0"/>
                </a:cubicBezTo>
                <a:cubicBezTo>
                  <a:pt x="3941929" y="13347"/>
                  <a:pt x="4161497" y="34086"/>
                  <a:pt x="4572000" y="0"/>
                </a:cubicBezTo>
                <a:cubicBezTo>
                  <a:pt x="4571545" y="6162"/>
                  <a:pt x="4571903" y="11775"/>
                  <a:pt x="4572000" y="18288"/>
                </a:cubicBezTo>
                <a:cubicBezTo>
                  <a:pt x="4228040" y="36490"/>
                  <a:pt x="4199736" y="42557"/>
                  <a:pt x="3873137" y="18288"/>
                </a:cubicBezTo>
                <a:cubicBezTo>
                  <a:pt x="3546538" y="-5981"/>
                  <a:pt x="3472124" y="16809"/>
                  <a:pt x="3128554" y="18288"/>
                </a:cubicBezTo>
                <a:cubicBezTo>
                  <a:pt x="2784984" y="19767"/>
                  <a:pt x="2735896" y="-17781"/>
                  <a:pt x="2383971" y="18288"/>
                </a:cubicBezTo>
                <a:cubicBezTo>
                  <a:pt x="2032046" y="54357"/>
                  <a:pt x="2019324" y="2920"/>
                  <a:pt x="1867989" y="18288"/>
                </a:cubicBezTo>
                <a:cubicBezTo>
                  <a:pt x="1716654" y="33656"/>
                  <a:pt x="1418675" y="32575"/>
                  <a:pt x="1169126" y="18288"/>
                </a:cubicBezTo>
                <a:cubicBezTo>
                  <a:pt x="919577" y="4001"/>
                  <a:pt x="798537" y="16165"/>
                  <a:pt x="561703" y="18288"/>
                </a:cubicBezTo>
                <a:cubicBezTo>
                  <a:pt x="324869" y="20411"/>
                  <a:pt x="221395" y="-912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DC650279-2637-ECA1-89D9-1E473B68D4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6715" y="2848595"/>
            <a:ext cx="8746679" cy="162456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0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9750C6A-C406-8E43-0A97-9A07C99F46A1}"/>
              </a:ext>
            </a:extLst>
          </p:cNvPr>
          <p:cNvSpPr txBox="1"/>
          <p:nvPr/>
        </p:nvSpPr>
        <p:spPr>
          <a:xfrm>
            <a:off x="10160000" y="4866640"/>
            <a:ext cx="11176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>
                <a:cs typeface="Calibri"/>
              </a:rPr>
              <a:t>CLIC</a:t>
            </a:r>
          </a:p>
        </p:txBody>
      </p:sp>
      <p:pic>
        <p:nvPicPr>
          <p:cNvPr id="7" name="Graphic 7" descr="Cursor with solid fill">
            <a:extLst>
              <a:ext uri="{FF2B5EF4-FFF2-40B4-BE49-F238E27FC236}">
                <a16:creationId xmlns:a16="http://schemas.microsoft.com/office/drawing/2014/main" id="{25B07BEF-5F91-0B08-014F-248C52CECB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0240" y="42214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575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s-419" sz="3600">
                <a:solidFill>
                  <a:srgbClr val="000000"/>
                </a:solidFill>
              </a:rPr>
              <a:t>Crear </a:t>
            </a:r>
            <a:r>
              <a:rPr lang="es-419" sz="3600" i="1" err="1">
                <a:solidFill>
                  <a:srgbClr val="000000"/>
                </a:solidFill>
              </a:rPr>
              <a:t>shapefiles</a:t>
            </a:r>
            <a:r>
              <a:rPr lang="es-419" sz="3600" i="1">
                <a:solidFill>
                  <a:srgbClr val="000000"/>
                </a:solidFill>
              </a:rPr>
              <a:t> </a:t>
            </a:r>
            <a:r>
              <a:rPr lang="es-419" sz="3600">
                <a:solidFill>
                  <a:srgbClr val="000000"/>
                </a:solidFill>
              </a:rPr>
              <a:t>finales</a:t>
            </a:r>
            <a:br>
              <a:rPr lang="es-419" sz="3600">
                <a:ea typeface="Calibri Light"/>
                <a:cs typeface="Calibri Light"/>
              </a:rPr>
            </a:br>
            <a:r>
              <a:rPr lang="es-419" sz="3600">
                <a:ea typeface="Calibri Light"/>
                <a:cs typeface="Calibri Light"/>
              </a:rPr>
              <a:t>Ejecutar </a:t>
            </a:r>
            <a:r>
              <a:rPr lang="es-419" sz="3600" b="1" err="1">
                <a:ea typeface="Calibri Light"/>
                <a:cs typeface="Calibri Light"/>
              </a:rPr>
              <a:t>geodata_to_shapefiles.R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1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9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9C20A664-E917-1E59-7F14-C88857C0F6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426" y="1650017"/>
            <a:ext cx="6543304" cy="48939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1E5B38-75EE-DB0D-4498-60AC166FB3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9555" y="1528708"/>
            <a:ext cx="5678489" cy="4247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00601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solidFill>
                  <a:srgbClr val="000000"/>
                </a:solidFill>
              </a:rPr>
              <a:t>Verificar carpeta "</a:t>
            </a:r>
            <a:r>
              <a:rPr lang="es-419" sz="3600" b="1" i="1">
                <a:solidFill>
                  <a:srgbClr val="000000"/>
                </a:solidFill>
              </a:rPr>
              <a:t>shapefiles</a:t>
            </a:r>
            <a:r>
              <a:rPr lang="es-419" sz="3600">
                <a:solidFill>
                  <a:srgbClr val="000000"/>
                </a:solidFill>
              </a:rPr>
              <a:t>" en carpeta “</a:t>
            </a:r>
            <a:r>
              <a:rPr lang="es-419" sz="3600" b="1" i="1">
                <a:solidFill>
                  <a:srgbClr val="000000"/>
                </a:solidFill>
              </a:rPr>
              <a:t>Data</a:t>
            </a:r>
            <a:r>
              <a:rPr lang="es-419" sz="3600">
                <a:solidFill>
                  <a:srgbClr val="000000"/>
                </a:solidFill>
              </a:rPr>
              <a:t>”</a:t>
            </a:r>
            <a:endParaRPr lang="es-419" sz="2700"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2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3C1FE8E-7DAC-68EA-621D-BD9F39B50718}"/>
              </a:ext>
            </a:extLst>
          </p:cNvPr>
          <p:cNvSpPr/>
          <p:nvPr/>
        </p:nvSpPr>
        <p:spPr>
          <a:xfrm>
            <a:off x="5210008" y="5421170"/>
            <a:ext cx="1589314" cy="979714"/>
          </a:xfrm>
          <a:prstGeom prst="roundRect">
            <a:avLst/>
          </a:prstGeom>
          <a:solidFill>
            <a:srgbClr val="ED7D3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ea typeface="Calibri"/>
                <a:cs typeface="Calibri"/>
              </a:rPr>
              <a:t>3/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FD85DF2-FF09-609D-4A9F-20820712E4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1305" y="1687166"/>
            <a:ext cx="7772400" cy="3589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9700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o 3: Recopilar los datos en plantilla de Excel 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7051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solidFill>
                  <a:srgbClr val="000000"/>
                </a:solidFill>
              </a:rPr>
              <a:t>Abrir plantilla Excel </a:t>
            </a:r>
            <a:r>
              <a:rPr lang="es-419" sz="3600" b="1" err="1">
                <a:solidFill>
                  <a:srgbClr val="000000"/>
                </a:solidFill>
              </a:rPr>
              <a:t>country_data</a:t>
            </a:r>
            <a:br>
              <a:rPr lang="es-419" sz="3600" b="1">
                <a:solidFill>
                  <a:srgbClr val="000000"/>
                </a:solidFill>
              </a:rPr>
            </a:br>
            <a:r>
              <a:rPr lang="es-419" sz="3600">
                <a:ea typeface="Calibri Light"/>
                <a:cs typeface="Calibri Light"/>
              </a:rPr>
              <a:t>Llenar información página: 1-General</a:t>
            </a:r>
            <a:endParaRPr lang="es-419" sz="3600" b="1" err="1"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4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F5E860F-1263-5C91-D32B-C90EF0859D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888" y="1496815"/>
            <a:ext cx="9076625" cy="485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43146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613" y="34023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Abrir Excel </a:t>
            </a:r>
            <a:r>
              <a:rPr lang="es-419" sz="3200" b="1">
                <a:solidFill>
                  <a:srgbClr val="000000"/>
                </a:solidFill>
                <a:ea typeface="+mj-lt"/>
                <a:cs typeface="+mj-lt"/>
              </a:rPr>
              <a:t>/</a:t>
            </a:r>
            <a:r>
              <a:rPr lang="es-419" sz="3200" b="1" err="1">
                <a:solidFill>
                  <a:srgbClr val="000000"/>
                </a:solidFill>
                <a:ea typeface="+mj-lt"/>
                <a:cs typeface="+mj-lt"/>
              </a:rPr>
              <a:t>Shapefile_prep</a:t>
            </a:r>
            <a:r>
              <a:rPr lang="es-419" sz="3200" b="1">
                <a:solidFill>
                  <a:srgbClr val="000000"/>
                </a:solidFill>
                <a:ea typeface="+mj-lt"/>
                <a:cs typeface="+mj-lt"/>
              </a:rPr>
              <a:t>/geocodigos_nombre.xlsx</a:t>
            </a:r>
            <a:br>
              <a:rPr lang="en-US"/>
            </a:br>
            <a:r>
              <a:rPr lang="es-419" sz="2800" err="1">
                <a:ea typeface="Calibri Light"/>
                <a:cs typeface="Calibri Light"/>
              </a:rPr>
              <a:t>Pre-llenar</a:t>
            </a:r>
            <a:r>
              <a:rPr lang="es-419" sz="2800">
                <a:ea typeface="Calibri Light"/>
                <a:cs typeface="Calibri Light"/>
              </a:rPr>
              <a:t> información de </a:t>
            </a:r>
            <a:r>
              <a:rPr lang="es-419" sz="2800" err="1">
                <a:ea typeface="Calibri Light"/>
                <a:cs typeface="Calibri Light"/>
              </a:rPr>
              <a:t>geocódigos</a:t>
            </a:r>
            <a:r>
              <a:rPr lang="es-419" sz="2800">
                <a:ea typeface="Calibri Light"/>
                <a:cs typeface="Calibri Light"/>
              </a:rPr>
              <a:t> y nombres en pestañas </a:t>
            </a:r>
            <a:r>
              <a:rPr lang="es-419" sz="2800" b="1">
                <a:ea typeface="Calibri Light"/>
                <a:cs typeface="Calibri Light"/>
              </a:rPr>
              <a:t>2,3,4,5,7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5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C950EB26-0B6F-11BB-66EE-7603525F35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57" y="1972379"/>
            <a:ext cx="5061855" cy="3296089"/>
          </a:xfrm>
          <a:prstGeom prst="rect">
            <a:avLst/>
          </a:prstGeom>
        </p:spPr>
      </p:pic>
      <p:pic>
        <p:nvPicPr>
          <p:cNvPr id="5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5B0A988D-B751-FBB0-C363-66EEE0E34F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5543" y="1931941"/>
            <a:ext cx="7543798" cy="3605567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86DFF86-A513-3786-2E0E-3335BDDC4367}"/>
              </a:ext>
            </a:extLst>
          </p:cNvPr>
          <p:cNvCxnSpPr>
            <a:cxnSpLocks/>
          </p:cNvCxnSpPr>
          <p:nvPr/>
        </p:nvCxnSpPr>
        <p:spPr>
          <a:xfrm>
            <a:off x="3501794" y="3129628"/>
            <a:ext cx="1684002" cy="237975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657CA93-6987-ACE7-67E5-21B3B1A21252}"/>
              </a:ext>
            </a:extLst>
          </p:cNvPr>
          <p:cNvSpPr txBox="1"/>
          <p:nvPr/>
        </p:nvSpPr>
        <p:spPr>
          <a:xfrm>
            <a:off x="365124" y="5541873"/>
            <a:ext cx="9016701" cy="660708"/>
          </a:xfrm>
          <a:prstGeom prst="rect">
            <a:avLst/>
          </a:prstGeom>
          <a:solidFill>
            <a:srgbClr val="5DC716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b="1">
                <a:solidFill>
                  <a:srgbClr val="FFFFFF"/>
                </a:solidFill>
                <a:cs typeface="Calibri"/>
              </a:rPr>
              <a:t>Copiar y pegar las columnas de </a:t>
            </a:r>
            <a:r>
              <a:rPr lang="es-419" b="1" err="1">
                <a:solidFill>
                  <a:srgbClr val="FFFFFF"/>
                </a:solidFill>
                <a:cs typeface="Calibri"/>
              </a:rPr>
              <a:t>geocódigos</a:t>
            </a:r>
            <a:r>
              <a:rPr lang="es-419" b="1">
                <a:solidFill>
                  <a:srgbClr val="FFFFFF"/>
                </a:solidFill>
                <a:cs typeface="Calibri"/>
              </a:rPr>
              <a:t> y nombres de Administraciones 1 y 2.</a:t>
            </a:r>
          </a:p>
          <a:p>
            <a:r>
              <a:rPr lang="es-419" b="1">
                <a:solidFill>
                  <a:srgbClr val="FFFFFF"/>
                </a:solidFill>
                <a:cs typeface="Calibri"/>
              </a:rPr>
              <a:t>Opción de pegado: "Pegar solo valores"</a:t>
            </a:r>
          </a:p>
        </p:txBody>
      </p:sp>
    </p:spTree>
    <p:extLst>
      <p:ext uri="{BB962C8B-B14F-4D97-AF65-F5344CB8AC3E}">
        <p14:creationId xmlns:p14="http://schemas.microsoft.com/office/powerpoint/2010/main" val="282690914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6" descr="A close-up of a document&#10;&#10;Description automatically generated">
            <a:extLst>
              <a:ext uri="{FF2B5EF4-FFF2-40B4-BE49-F238E27FC236}">
                <a16:creationId xmlns:a16="http://schemas.microsoft.com/office/drawing/2014/main" id="{24098055-1E79-FC11-710C-0A5457AE5E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4227" y="3171100"/>
            <a:ext cx="1602463" cy="157788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6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66F4B87-8725-10DD-5EC8-939F20FAB7C3}"/>
              </a:ext>
            </a:extLst>
          </p:cNvPr>
          <p:cNvSpPr txBox="1"/>
          <p:nvPr/>
        </p:nvSpPr>
        <p:spPr>
          <a:xfrm>
            <a:off x="391885" y="5815116"/>
            <a:ext cx="10232407" cy="83099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>
                <a:latin typeface="Calibri"/>
                <a:ea typeface="Calibri"/>
                <a:cs typeface="Calibri"/>
              </a:rPr>
              <a:t>Importante: El archivo debe guardarse usando el nombre “country_data.xlsx”. No debe cambiarse el nombre del archivo. </a:t>
            </a:r>
            <a:endParaRPr lang="en-US" sz="2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8E64B6-04C8-083C-ED77-28ADF97B4523}"/>
              </a:ext>
            </a:extLst>
          </p:cNvPr>
          <p:cNvSpPr txBox="1"/>
          <p:nvPr/>
        </p:nvSpPr>
        <p:spPr>
          <a:xfrm>
            <a:off x="633462" y="1280124"/>
            <a:ext cx="5979770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AutoNum type="arabicPeriod"/>
            </a:pPr>
            <a:r>
              <a:rPr lang="es-ES" sz="2400">
                <a:ea typeface="Calibri"/>
                <a:cs typeface="Calibri"/>
              </a:rPr>
              <a:t>Guardar el </a:t>
            </a:r>
            <a:r>
              <a:rPr lang="es-ES" sz="2400" err="1">
                <a:ea typeface="Calibri"/>
                <a:cs typeface="Calibri"/>
              </a:rPr>
              <a:t>excel</a:t>
            </a:r>
            <a:r>
              <a:rPr lang="es-ES" sz="2400">
                <a:ea typeface="Calibri"/>
                <a:cs typeface="Calibri"/>
              </a:rPr>
              <a:t>.</a:t>
            </a:r>
          </a:p>
          <a:p>
            <a:pPr marL="342900" indent="-342900">
              <a:buAutoNum type="arabicPeriod"/>
            </a:pPr>
            <a:r>
              <a:rPr lang="es-ES" sz="2400">
                <a:ea typeface="Calibri"/>
                <a:cs typeface="Calibri"/>
              </a:rPr>
              <a:t>Enviar a Ministerio de salud para llenado de datos.</a:t>
            </a:r>
          </a:p>
          <a:p>
            <a:pPr marL="342900" indent="-342900">
              <a:buAutoNum type="arabicPeriod"/>
            </a:pPr>
            <a:r>
              <a:rPr lang="es-ES" sz="2400">
                <a:ea typeface="Calibri"/>
                <a:cs typeface="Calibri"/>
              </a:rPr>
              <a:t>Recibir el </a:t>
            </a:r>
            <a:r>
              <a:rPr lang="es-ES" sz="2400" err="1">
                <a:ea typeface="Calibri"/>
                <a:cs typeface="Calibri"/>
              </a:rPr>
              <a:t>excel</a:t>
            </a:r>
            <a:r>
              <a:rPr lang="es-ES" sz="2400">
                <a:ea typeface="Calibri"/>
                <a:cs typeface="Calibri"/>
              </a:rPr>
              <a:t> lleno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27D805-2D4C-394A-DF39-9224CD176A4D}"/>
              </a:ext>
            </a:extLst>
          </p:cNvPr>
          <p:cNvSpPr txBox="1"/>
          <p:nvPr/>
        </p:nvSpPr>
        <p:spPr>
          <a:xfrm>
            <a:off x="631722" y="471948"/>
            <a:ext cx="66146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3600">
                <a:latin typeface="Calibri Light"/>
              </a:rPr>
              <a:t>Plantilla Excel </a:t>
            </a:r>
            <a:r>
              <a:rPr lang="es-419" sz="3600" b="1" err="1">
                <a:latin typeface="Calibri Light"/>
              </a:rPr>
              <a:t>country_data</a:t>
            </a:r>
            <a:r>
              <a:rPr lang="en-US" sz="3600">
                <a:latin typeface="Calibri Light"/>
                <a:cs typeface="Calibri Light"/>
              </a:rPr>
              <a:t>​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450430-8E1C-63F4-CB19-118012AFE8BF}"/>
              </a:ext>
            </a:extLst>
          </p:cNvPr>
          <p:cNvSpPr txBox="1"/>
          <p:nvPr/>
        </p:nvSpPr>
        <p:spPr>
          <a:xfrm>
            <a:off x="4854675" y="4682613"/>
            <a:ext cx="206477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419" b="1">
                <a:cs typeface="Calibri" panose="020F0502020204030204"/>
              </a:rPr>
              <a:t>Ministerio de salud</a:t>
            </a:r>
            <a:endParaRPr lang="es-419"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4BA1E98-395E-5FD9-014B-CB26E1EA993C}"/>
              </a:ext>
            </a:extLst>
          </p:cNvPr>
          <p:cNvSpPr txBox="1"/>
          <p:nvPr/>
        </p:nvSpPr>
        <p:spPr>
          <a:xfrm>
            <a:off x="442450" y="3773130"/>
            <a:ext cx="206477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s-AR" b="1" err="1">
                <a:cs typeface="Calibri" panose="020F0502020204030204"/>
              </a:rPr>
              <a:t>country_data</a:t>
            </a:r>
          </a:p>
        </p:txBody>
      </p:sp>
      <p:pic>
        <p:nvPicPr>
          <p:cNvPr id="31" name="Graphic 31" descr="Hospital outline">
            <a:extLst>
              <a:ext uri="{FF2B5EF4-FFF2-40B4-BE49-F238E27FC236}">
                <a16:creationId xmlns:a16="http://schemas.microsoft.com/office/drawing/2014/main" id="{839DAC88-16E3-4A92-6F00-E2BC2D0A23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8864" y="3106994"/>
            <a:ext cx="1688690" cy="1700980"/>
          </a:xfrm>
          <a:prstGeom prst="rect">
            <a:avLst/>
          </a:prstGeom>
        </p:spPr>
      </p:pic>
      <p:pic>
        <p:nvPicPr>
          <p:cNvPr id="32" name="Picture 6" descr="A close-up of a document&#10;&#10;Description automatically generated">
            <a:extLst>
              <a:ext uri="{FF2B5EF4-FFF2-40B4-BE49-F238E27FC236}">
                <a16:creationId xmlns:a16="http://schemas.microsoft.com/office/drawing/2014/main" id="{2DA5C25D-15B8-A270-51D0-38C9CFDAFC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4259" y="3171099"/>
            <a:ext cx="1602463" cy="157788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A5AF26C-0763-99F8-5276-9E8DD1BF2E5F}"/>
              </a:ext>
            </a:extLst>
          </p:cNvPr>
          <p:cNvSpPr txBox="1"/>
          <p:nvPr/>
        </p:nvSpPr>
        <p:spPr>
          <a:xfrm>
            <a:off x="9524999" y="3773129"/>
            <a:ext cx="206477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AR" b="1" err="1">
                <a:cs typeface="Calibri" panose="020F0502020204030204"/>
              </a:rPr>
              <a:t>country_data</a:t>
            </a:r>
          </a:p>
        </p:txBody>
      </p:sp>
      <p:pic>
        <p:nvPicPr>
          <p:cNvPr id="35" name="Graphic 13" descr="Checkmark with solid fill">
            <a:extLst>
              <a:ext uri="{FF2B5EF4-FFF2-40B4-BE49-F238E27FC236}">
                <a16:creationId xmlns:a16="http://schemas.microsoft.com/office/drawing/2014/main" id="{B65728A6-745D-6BD8-0A8C-56662E818B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77983" y="4255611"/>
            <a:ext cx="545691" cy="545691"/>
          </a:xfrm>
          <a:prstGeom prst="rect">
            <a:avLst/>
          </a:prstGeom>
        </p:spPr>
      </p:pic>
      <p:pic>
        <p:nvPicPr>
          <p:cNvPr id="36" name="Graphic 36" descr="Arrow Right with solid fill">
            <a:extLst>
              <a:ext uri="{FF2B5EF4-FFF2-40B4-BE49-F238E27FC236}">
                <a16:creationId xmlns:a16="http://schemas.microsoft.com/office/drawing/2014/main" id="{B9D1104A-C41C-301D-1217-BD34D72BC7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13123" y="3770671"/>
            <a:ext cx="644013" cy="644013"/>
          </a:xfrm>
          <a:prstGeom prst="rect">
            <a:avLst/>
          </a:prstGeom>
        </p:spPr>
      </p:pic>
      <p:pic>
        <p:nvPicPr>
          <p:cNvPr id="37" name="Graphic 36" descr="Arrow Right with solid fill">
            <a:extLst>
              <a:ext uri="{FF2B5EF4-FFF2-40B4-BE49-F238E27FC236}">
                <a16:creationId xmlns:a16="http://schemas.microsoft.com/office/drawing/2014/main" id="{F987E588-FCA5-B33B-6F94-87E17D9AD2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15316" y="3770670"/>
            <a:ext cx="644013" cy="64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581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67475" cy="82469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Colocar </a:t>
            </a:r>
            <a:r>
              <a:rPr lang="es-419" sz="3200" b="1">
                <a:solidFill>
                  <a:srgbClr val="000000"/>
                </a:solidFill>
                <a:ea typeface="+mj-lt"/>
                <a:cs typeface="+mj-lt"/>
              </a:rPr>
              <a:t>country_data.xlsx </a:t>
            </a:r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y </a:t>
            </a:r>
            <a:r>
              <a:rPr lang="es-419" sz="3200" b="1">
                <a:solidFill>
                  <a:srgbClr val="000000"/>
                </a:solidFill>
                <a:ea typeface="+mj-lt"/>
                <a:cs typeface="+mj-lt"/>
              </a:rPr>
              <a:t>country_flag.png</a:t>
            </a:r>
            <a:r>
              <a:rPr lang="es-419" sz="3200">
                <a:solidFill>
                  <a:srgbClr val="000000"/>
                </a:solidFill>
                <a:ea typeface="+mj-lt"/>
                <a:cs typeface="+mj-lt"/>
              </a:rPr>
              <a:t> en /Data/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47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7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595A33FF-D12A-0A73-781B-2381EC41A5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6166" y="916946"/>
            <a:ext cx="6544773" cy="3166693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E8A2116-9286-2FD0-584E-00208FA7B2CC}"/>
              </a:ext>
            </a:extLst>
          </p:cNvPr>
          <p:cNvSpPr/>
          <p:nvPr/>
        </p:nvSpPr>
        <p:spPr>
          <a:xfrm>
            <a:off x="8718755" y="4550580"/>
            <a:ext cx="1589314" cy="979714"/>
          </a:xfrm>
          <a:prstGeom prst="roundRect">
            <a:avLst/>
          </a:prstGeom>
          <a:solidFill>
            <a:srgbClr val="ED7D3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000" b="1">
                <a:ea typeface="Calibri"/>
                <a:cs typeface="Calibri"/>
              </a:rPr>
              <a:t>3/3</a:t>
            </a:r>
          </a:p>
        </p:txBody>
      </p:sp>
      <p:pic>
        <p:nvPicPr>
          <p:cNvPr id="13" name="Graphic 13" descr="Checkmark with solid fill">
            <a:extLst>
              <a:ext uri="{FF2B5EF4-FFF2-40B4-BE49-F238E27FC236}">
                <a16:creationId xmlns:a16="http://schemas.microsoft.com/office/drawing/2014/main" id="{E5049837-6FD2-63BA-DEB0-F666DEF9F0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1985" y="4550580"/>
            <a:ext cx="545691" cy="545691"/>
          </a:xfrm>
          <a:prstGeom prst="rect">
            <a:avLst/>
          </a:prstGeom>
        </p:spPr>
      </p:pic>
      <p:pic>
        <p:nvPicPr>
          <p:cNvPr id="3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7809477C-4688-7C98-7924-9BC963BEE6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42885" y="4548913"/>
            <a:ext cx="6725264" cy="1865141"/>
          </a:xfrm>
          <a:prstGeom prst="rect">
            <a:avLst/>
          </a:prstGeom>
        </p:spPr>
      </p:pic>
      <p:pic>
        <p:nvPicPr>
          <p:cNvPr id="5" name="Graphic 13" descr="Checkmark with solid fill">
            <a:extLst>
              <a:ext uri="{FF2B5EF4-FFF2-40B4-BE49-F238E27FC236}">
                <a16:creationId xmlns:a16="http://schemas.microsoft.com/office/drawing/2014/main" id="{1375D122-B4A8-D9B1-8357-6F2B96F19F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1984" y="5103644"/>
            <a:ext cx="545691" cy="545691"/>
          </a:xfrm>
          <a:prstGeom prst="rect">
            <a:avLst/>
          </a:prstGeom>
        </p:spPr>
      </p:pic>
      <p:pic>
        <p:nvPicPr>
          <p:cNvPr id="6" name="Graphic 13" descr="Checkmark with solid fill">
            <a:extLst>
              <a:ext uri="{FF2B5EF4-FFF2-40B4-BE49-F238E27FC236}">
                <a16:creationId xmlns:a16="http://schemas.microsoft.com/office/drawing/2014/main" id="{0344CD64-2DFD-4976-6ADA-AF061F3EB9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1983" y="5656708"/>
            <a:ext cx="545691" cy="5456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59B001A-B9D9-2314-313E-348D83B0FE0E}"/>
              </a:ext>
            </a:extLst>
          </p:cNvPr>
          <p:cNvSpPr txBox="1"/>
          <p:nvPr/>
        </p:nvSpPr>
        <p:spPr>
          <a:xfrm>
            <a:off x="437840" y="1805265"/>
            <a:ext cx="1837720" cy="341632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2400" b="1">
                <a:ea typeface="+mn-lt"/>
                <a:cs typeface="+mn-lt"/>
              </a:rPr>
              <a:t>Importante: La</a:t>
            </a:r>
            <a:r>
              <a:rPr lang="es-419" sz="2400" b="1">
                <a:ea typeface="Calibri"/>
                <a:cs typeface="Calibri"/>
              </a:rPr>
              <a:t> bandera del país siempre debe guardarse en </a:t>
            </a:r>
            <a:r>
              <a:rPr lang="es-419" sz="2400" b="1" u="sng">
                <a:ea typeface="Calibri"/>
                <a:cs typeface="Calibri"/>
              </a:rPr>
              <a:t>PNG,</a:t>
            </a:r>
            <a:r>
              <a:rPr lang="es-419" sz="2400" b="1">
                <a:ea typeface="Calibri"/>
                <a:cs typeface="Calibri"/>
              </a:rPr>
              <a:t> no en JPG u otra extensión. 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227574-BCB2-F45C-91EC-0F4B85811ADD}"/>
              </a:ext>
            </a:extLst>
          </p:cNvPr>
          <p:cNvSpPr txBox="1"/>
          <p:nvPr/>
        </p:nvSpPr>
        <p:spPr>
          <a:xfrm>
            <a:off x="4878915" y="3810000"/>
            <a:ext cx="2518833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419" sz="2000" b="1">
                <a:solidFill>
                  <a:srgbClr val="538135"/>
                </a:solidFill>
                <a:ea typeface="Calibri"/>
                <a:cs typeface="Calibri"/>
              </a:rPr>
              <a:t>Resultado final</a:t>
            </a:r>
          </a:p>
        </p:txBody>
      </p:sp>
    </p:spTree>
    <p:extLst>
      <p:ext uri="{BB962C8B-B14F-4D97-AF65-F5344CB8AC3E}">
        <p14:creationId xmlns:p14="http://schemas.microsoft.com/office/powerpoint/2010/main" val="41596141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0994E-66F4-0549-6174-4E4ECD119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>
                <a:ea typeface="Calibri Light"/>
                <a:cs typeface="Calibri Light"/>
              </a:rPr>
              <a:t>Bonus track: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Qué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hacer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cuando</a:t>
            </a:r>
            <a:r>
              <a:rPr lang="en-US" sz="4000">
                <a:ea typeface="Calibri Light"/>
                <a:cs typeface="Calibri Light"/>
              </a:rPr>
              <a:t> primero se ha </a:t>
            </a:r>
            <a:r>
              <a:rPr lang="en-US" sz="4000" err="1">
                <a:ea typeface="Calibri Light"/>
                <a:cs typeface="Calibri Light"/>
              </a:rPr>
              <a:t>llenado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el</a:t>
            </a:r>
            <a:r>
              <a:rPr lang="en-US" sz="4000">
                <a:ea typeface="Calibri Light"/>
                <a:cs typeface="Calibri Light"/>
              </a:rPr>
              <a:t> Excel con </a:t>
            </a:r>
            <a:r>
              <a:rPr lang="en-US" sz="4000" err="1">
                <a:ea typeface="Calibri Light"/>
                <a:cs typeface="Calibri Light"/>
              </a:rPr>
              <a:t>los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datos</a:t>
            </a:r>
            <a:r>
              <a:rPr lang="en-US" sz="4000">
                <a:ea typeface="Calibri Light"/>
                <a:cs typeface="Calibri Light"/>
              </a:rPr>
              <a:t>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DC2807-38A2-0484-ED0D-FC2C6F1CC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48</a:t>
            </a:fld>
            <a:endParaRPr lang="en-US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33E2704-21BD-BC17-9640-CDCDFF03B8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912" y="1904234"/>
            <a:ext cx="5847088" cy="4238567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A73F4EA5-B198-8EB3-61FA-014E154B8A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390" y="1904234"/>
            <a:ext cx="5831841" cy="4238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48030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0994E-66F4-0549-6174-4E4ECD119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>
                <a:ea typeface="Calibri Light"/>
                <a:cs typeface="Calibri Light"/>
              </a:rPr>
              <a:t>Bonus track: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Qué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hacer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cuando</a:t>
            </a:r>
            <a:r>
              <a:rPr lang="en-US" sz="4000">
                <a:ea typeface="Calibri Light"/>
                <a:cs typeface="Calibri Light"/>
              </a:rPr>
              <a:t> primero se ha </a:t>
            </a:r>
            <a:r>
              <a:rPr lang="en-US" sz="4000" err="1">
                <a:ea typeface="Calibri Light"/>
                <a:cs typeface="Calibri Light"/>
              </a:rPr>
              <a:t>llenado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el</a:t>
            </a:r>
            <a:r>
              <a:rPr lang="en-US" sz="4000">
                <a:ea typeface="Calibri Light"/>
                <a:cs typeface="Calibri Light"/>
              </a:rPr>
              <a:t> Excel con </a:t>
            </a:r>
            <a:r>
              <a:rPr lang="en-US" sz="4000" err="1">
                <a:ea typeface="Calibri Light"/>
                <a:cs typeface="Calibri Light"/>
              </a:rPr>
              <a:t>los</a:t>
            </a:r>
            <a:r>
              <a:rPr lang="en-US" sz="4000">
                <a:ea typeface="Calibri Light"/>
                <a:cs typeface="Calibri Light"/>
              </a:rPr>
              <a:t> </a:t>
            </a:r>
            <a:r>
              <a:rPr lang="en-US" sz="4000" err="1">
                <a:ea typeface="Calibri Light"/>
                <a:cs typeface="Calibri Light"/>
              </a:rPr>
              <a:t>datos</a:t>
            </a:r>
            <a:r>
              <a:rPr lang="en-US" sz="4000">
                <a:ea typeface="Calibri Light"/>
                <a:cs typeface="Calibri Light"/>
              </a:rPr>
              <a:t>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DC2807-38A2-0484-ED0D-FC2C6F1CC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49</a:t>
            </a:fld>
            <a:endParaRPr lang="en-US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611A3FCF-5EE5-4559-850B-E525259344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49" y="2513594"/>
            <a:ext cx="10045101" cy="32562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27BD7AF-F469-6671-A3A0-A33D50DAF2F2}"/>
              </a:ext>
            </a:extLst>
          </p:cNvPr>
          <p:cNvSpPr txBox="1"/>
          <p:nvPr/>
        </p:nvSpPr>
        <p:spPr>
          <a:xfrm>
            <a:off x="10176718" y="2144262"/>
            <a:ext cx="846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/>
              <a:t>=C2=J2</a:t>
            </a:r>
          </a:p>
        </p:txBody>
      </p:sp>
    </p:spTree>
    <p:extLst>
      <p:ext uri="{BB962C8B-B14F-4D97-AF65-F5344CB8AC3E}">
        <p14:creationId xmlns:p14="http://schemas.microsoft.com/office/powerpoint/2010/main" val="1925508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1AADED81-8B3B-40E7-B38D-960509C3D3EF}"/>
              </a:ext>
            </a:extLst>
          </p:cNvPr>
          <p:cNvSpPr/>
          <p:nvPr/>
        </p:nvSpPr>
        <p:spPr>
          <a:xfrm>
            <a:off x="459461" y="789709"/>
            <a:ext cx="4281055" cy="15101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/>
              <a:t>¿Es posible tener un caso importado?</a:t>
            </a: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1CA86CF7-448C-4FEA-B7B3-56C98F587D63}"/>
              </a:ext>
            </a:extLst>
          </p:cNvPr>
          <p:cNvSpPr/>
          <p:nvPr/>
        </p:nvSpPr>
        <p:spPr>
          <a:xfrm>
            <a:off x="5848875" y="588820"/>
            <a:ext cx="2632367" cy="117070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 prstMaterial="soft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>
                <a:solidFill>
                  <a:schemeClr val="accent1">
                    <a:lumMod val="75000"/>
                  </a:schemeClr>
                </a:solidFill>
              </a:rPr>
              <a:t>Flujo  poblacional desde y hacia zonas con circulación del virus </a:t>
            </a:r>
            <a:endParaRPr lang="es-ES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EA58CFFE-86AA-41EC-9D4D-0C407597E18A}"/>
              </a:ext>
            </a:extLst>
          </p:cNvPr>
          <p:cNvSpPr/>
          <p:nvPr/>
        </p:nvSpPr>
        <p:spPr>
          <a:xfrm>
            <a:off x="5904297" y="1917124"/>
            <a:ext cx="2542305" cy="126076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>
                <a:solidFill>
                  <a:schemeClr val="accent1">
                    <a:lumMod val="75000"/>
                  </a:schemeClr>
                </a:solidFill>
              </a:rPr>
              <a:t>Detección temprana </a:t>
            </a:r>
          </a:p>
          <a:p>
            <a:pPr algn="ctr"/>
            <a:r>
              <a:rPr lang="es-MX" b="1">
                <a:solidFill>
                  <a:schemeClr val="accent1">
                    <a:lumMod val="75000"/>
                  </a:schemeClr>
                </a:solidFill>
              </a:rPr>
              <a:t>( Vigilancia epidemiológica)</a:t>
            </a:r>
            <a:endParaRPr lang="es-ES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9CF704B5-A01B-4108-8502-7A1DA175CB89}"/>
              </a:ext>
            </a:extLst>
          </p:cNvPr>
          <p:cNvSpPr/>
          <p:nvPr/>
        </p:nvSpPr>
        <p:spPr>
          <a:xfrm>
            <a:off x="389034" y="3025158"/>
            <a:ext cx="4281055" cy="15101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/>
              <a:t>Si hay un caso importado, </a:t>
            </a:r>
            <a:br>
              <a:rPr lang="es-MX" sz="2400"/>
            </a:br>
            <a:r>
              <a:rPr lang="es-ES" sz="2400"/>
              <a:t>¿</a:t>
            </a:r>
            <a:r>
              <a:rPr lang="es-MX" sz="2400"/>
              <a:t>cuál es el riesgo de diseminación del virus entre la población?</a:t>
            </a:r>
            <a:endParaRPr lang="es-ES" sz="2400"/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57ADC958-6A73-4F34-A9D9-FEF43E4835AB}"/>
              </a:ext>
            </a:extLst>
          </p:cNvPr>
          <p:cNvSpPr/>
          <p:nvPr/>
        </p:nvSpPr>
        <p:spPr>
          <a:xfrm>
            <a:off x="5928539" y="3419476"/>
            <a:ext cx="2473037" cy="14374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700" b="1">
                <a:solidFill>
                  <a:schemeClr val="accent1">
                    <a:lumMod val="75000"/>
                  </a:schemeClr>
                </a:solidFill>
              </a:rPr>
              <a:t>Nivel de inmunidad de la población </a:t>
            </a:r>
          </a:p>
          <a:p>
            <a:pPr algn="ctr"/>
            <a:r>
              <a:rPr lang="es-MX" sz="1700" b="1">
                <a:solidFill>
                  <a:schemeClr val="accent1">
                    <a:lumMod val="75000"/>
                  </a:schemeClr>
                </a:solidFill>
              </a:rPr>
              <a:t>(Coberturas de vacunación, acúmulo de susceptibles)</a:t>
            </a:r>
            <a:endParaRPr lang="es-ES" sz="17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Flecha: a la derecha 13">
            <a:extLst>
              <a:ext uri="{FF2B5EF4-FFF2-40B4-BE49-F238E27FC236}">
                <a16:creationId xmlns:a16="http://schemas.microsoft.com/office/drawing/2014/main" id="{8475F76E-41FB-46D1-AE64-94CCD257C594}"/>
              </a:ext>
            </a:extLst>
          </p:cNvPr>
          <p:cNvSpPr/>
          <p:nvPr/>
        </p:nvSpPr>
        <p:spPr>
          <a:xfrm>
            <a:off x="4889450" y="1272019"/>
            <a:ext cx="810490" cy="5455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Flecha: a la derecha 14">
            <a:extLst>
              <a:ext uri="{FF2B5EF4-FFF2-40B4-BE49-F238E27FC236}">
                <a16:creationId xmlns:a16="http://schemas.microsoft.com/office/drawing/2014/main" id="{2CED2493-EFCF-45F3-A697-FB76D8DAFBD5}"/>
              </a:ext>
            </a:extLst>
          </p:cNvPr>
          <p:cNvSpPr/>
          <p:nvPr/>
        </p:nvSpPr>
        <p:spPr>
          <a:xfrm>
            <a:off x="5083511" y="3854195"/>
            <a:ext cx="810490" cy="5455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lecha: a la derecha 16">
            <a:extLst>
              <a:ext uri="{FF2B5EF4-FFF2-40B4-BE49-F238E27FC236}">
                <a16:creationId xmlns:a16="http://schemas.microsoft.com/office/drawing/2014/main" id="{55F3E7C4-9AD5-428F-B612-32F2C6940C40}"/>
              </a:ext>
            </a:extLst>
          </p:cNvPr>
          <p:cNvSpPr/>
          <p:nvPr/>
        </p:nvSpPr>
        <p:spPr>
          <a:xfrm rot="19191672">
            <a:off x="5035472" y="2752396"/>
            <a:ext cx="810490" cy="5455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" name="Picture 1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A1F6EDB6-E66A-CE4D-0B03-4145BAD868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C355CF2-B8E9-137E-F7AE-4CECAFD9F248}"/>
              </a:ext>
            </a:extLst>
          </p:cNvPr>
          <p:cNvSpPr txBox="1"/>
          <p:nvPr/>
        </p:nvSpPr>
        <p:spPr>
          <a:xfrm>
            <a:off x="8684144" y="485681"/>
            <a:ext cx="34440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hlinkClick r:id="rId4"/>
              </a:rPr>
              <a:t>https://www.e-unwto.org/doi/epdf/10.18111/wtobarometereng.2023.21.1.2</a:t>
            </a:r>
            <a:endParaRPr lang="en-US"/>
          </a:p>
          <a:p>
            <a:endParaRPr lang="en-US"/>
          </a:p>
        </p:txBody>
      </p:sp>
      <p:sp>
        <p:nvSpPr>
          <p:cNvPr id="3" name="Rectángulo: esquinas redondeadas 10">
            <a:extLst>
              <a:ext uri="{FF2B5EF4-FFF2-40B4-BE49-F238E27FC236}">
                <a16:creationId xmlns:a16="http://schemas.microsoft.com/office/drawing/2014/main" id="{45477893-C120-5762-9300-BF8BC1F46D1B}"/>
              </a:ext>
            </a:extLst>
          </p:cNvPr>
          <p:cNvSpPr/>
          <p:nvPr/>
        </p:nvSpPr>
        <p:spPr>
          <a:xfrm>
            <a:off x="449347" y="4924425"/>
            <a:ext cx="4281055" cy="15101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/>
              <a:t>¿Está el país preparado para implementar respuesta rápida</a:t>
            </a:r>
            <a:r>
              <a:rPr lang="es-MX" sz="2400"/>
              <a:t>?</a:t>
            </a:r>
            <a:endParaRPr lang="es-ES" sz="2400"/>
          </a:p>
        </p:txBody>
      </p:sp>
      <p:sp>
        <p:nvSpPr>
          <p:cNvPr id="5" name="Flecha: a la derecha 14">
            <a:extLst>
              <a:ext uri="{FF2B5EF4-FFF2-40B4-BE49-F238E27FC236}">
                <a16:creationId xmlns:a16="http://schemas.microsoft.com/office/drawing/2014/main" id="{35F94FE1-AB06-8BB7-80F0-02D330A4F8A8}"/>
              </a:ext>
            </a:extLst>
          </p:cNvPr>
          <p:cNvSpPr/>
          <p:nvPr/>
        </p:nvSpPr>
        <p:spPr>
          <a:xfrm>
            <a:off x="5115865" y="5406735"/>
            <a:ext cx="810490" cy="5455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9" name="Graphic 8" descr="Badge Question Mark with solid fill">
            <a:extLst>
              <a:ext uri="{FF2B5EF4-FFF2-40B4-BE49-F238E27FC236}">
                <a16:creationId xmlns:a16="http://schemas.microsoft.com/office/drawing/2014/main" id="{BB44A2BF-3463-8783-F5C1-551FD63413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50000" y="5222297"/>
            <a:ext cx="1111600" cy="111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018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o 4. Revisar la calidad del dato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93436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 b="1"/>
              <a:t>Informe de calidad del dato</a:t>
            </a:r>
            <a:br>
              <a:rPr lang="es-419" sz="3600" b="1"/>
            </a:br>
            <a:endParaRPr lang="es-419" sz="3600" b="1"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51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6" name="Picture 4" descr="A white paper with a blue square and a white w&#10;&#10;Description automatically generated">
            <a:extLst>
              <a:ext uri="{FF2B5EF4-FFF2-40B4-BE49-F238E27FC236}">
                <a16:creationId xmlns:a16="http://schemas.microsoft.com/office/drawing/2014/main" id="{D450E38B-2E3E-7EE5-694B-94C25BEB09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32689" y="349045"/>
            <a:ext cx="973395" cy="9733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8AB8706-9935-72FE-8A7A-A2DC28F8EE6E}"/>
              </a:ext>
            </a:extLst>
          </p:cNvPr>
          <p:cNvSpPr txBox="1"/>
          <p:nvPr/>
        </p:nvSpPr>
        <p:spPr>
          <a:xfrm>
            <a:off x="338421" y="1262643"/>
            <a:ext cx="11515157" cy="489364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2400">
                <a:cs typeface="Calibri"/>
              </a:rPr>
              <a:t>Revisión de:</a:t>
            </a:r>
          </a:p>
          <a:p>
            <a:pPr marL="914400" lvl="1" indent="-457200">
              <a:buFont typeface="Wingdings"/>
              <a:buChar char="ü"/>
            </a:pPr>
            <a:r>
              <a:rPr lang="es-419" sz="2400" i="1">
                <a:cs typeface="Calibri"/>
              </a:rPr>
              <a:t>shapefiles</a:t>
            </a:r>
          </a:p>
          <a:p>
            <a:pPr marL="1371600" lvl="2" indent="-457200">
              <a:buFont typeface="Arial"/>
              <a:buChar char="•"/>
            </a:pPr>
            <a:r>
              <a:rPr lang="es-419" sz="2400">
                <a:cs typeface="Calibri"/>
              </a:rPr>
              <a:t>Formas vectoriales geoespaciales (</a:t>
            </a:r>
            <a:r>
              <a:rPr lang="es-419" sz="2400" i="1">
                <a:cs typeface="Calibri"/>
              </a:rPr>
              <a:t>shapefiles</a:t>
            </a:r>
            <a:r>
              <a:rPr lang="es-419" sz="2400">
                <a:cs typeface="Calibri"/>
              </a:rPr>
              <a:t>) cargadas</a:t>
            </a:r>
          </a:p>
          <a:p>
            <a:pPr marL="1371600" lvl="2" indent="-457200">
              <a:buFont typeface="Arial"/>
              <a:buChar char="•"/>
            </a:pPr>
            <a:r>
              <a:rPr lang="es-419" sz="2400">
                <a:cs typeface="Calibri"/>
              </a:rPr>
              <a:t>Completitud de geocódigos y nombres</a:t>
            </a:r>
          </a:p>
          <a:p>
            <a:pPr marL="1371600" lvl="2" indent="-457200">
              <a:buFont typeface="Wingdings"/>
              <a:buChar char="ü"/>
            </a:pPr>
            <a:endParaRPr lang="es-419" sz="2400">
              <a:cs typeface="Calibri"/>
            </a:endParaRPr>
          </a:p>
          <a:p>
            <a:pPr marL="914400" lvl="1" indent="-457200">
              <a:buFont typeface="Wingdings"/>
              <a:buChar char="ü"/>
            </a:pPr>
            <a:r>
              <a:rPr lang="es-419" sz="2400">
                <a:cs typeface="Calibri"/>
              </a:rPr>
              <a:t>Excel datos de país</a:t>
            </a:r>
            <a:endParaRPr lang="es-419" sz="2400">
              <a:ea typeface="Calibri"/>
              <a:cs typeface="Calibri"/>
            </a:endParaRPr>
          </a:p>
          <a:p>
            <a:pPr marL="1371600" lvl="2" indent="-457200">
              <a:buFont typeface="Arial"/>
              <a:buChar char="•"/>
            </a:pPr>
            <a:r>
              <a:rPr lang="es-419" sz="2400">
                <a:cs typeface="Calibri"/>
              </a:rPr>
              <a:t>Datos faltantes por variable</a:t>
            </a:r>
          </a:p>
          <a:p>
            <a:pPr marL="1371600" lvl="2" indent="-457200">
              <a:buFont typeface="Arial"/>
              <a:buChar char="•"/>
            </a:pPr>
            <a:r>
              <a:rPr lang="es-419" sz="2400">
                <a:cs typeface="Calibri"/>
              </a:rPr>
              <a:t>Tipo de dato por variable (numérico/fecha/texto). Por ejemplo, se verifica que todos los valores en las columnas numéricas sean  números, y no texto.</a:t>
            </a:r>
          </a:p>
          <a:p>
            <a:pPr marL="1371600" lvl="2" indent="-457200">
              <a:buFont typeface="Arial"/>
              <a:buChar char="•"/>
            </a:pPr>
            <a:r>
              <a:rPr lang="es-419" sz="2400">
                <a:cs typeface="Calibri"/>
              </a:rPr>
              <a:t>Validez de geocódigos respecto a </a:t>
            </a:r>
            <a:r>
              <a:rPr lang="es-419" sz="2400" i="1">
                <a:cs typeface="Calibri"/>
              </a:rPr>
              <a:t>shapefiles</a:t>
            </a:r>
            <a:endParaRPr lang="es-419" sz="2400">
              <a:cs typeface="Calibri"/>
            </a:endParaRPr>
          </a:p>
          <a:p>
            <a:pPr marL="1371600" lvl="2" indent="-457200">
              <a:buFont typeface="Arial"/>
              <a:buChar char="•"/>
            </a:pPr>
            <a:r>
              <a:rPr lang="es-419" sz="2400">
                <a:cs typeface="Calibri"/>
              </a:rPr>
              <a:t>Errores de celdas unificadas</a:t>
            </a:r>
          </a:p>
          <a:p>
            <a:pPr marL="1371600" lvl="2" indent="-457200">
              <a:buFont typeface="Wingdings"/>
              <a:buChar char="ü"/>
            </a:pPr>
            <a:endParaRPr lang="es-419" sz="2400">
              <a:cs typeface="Calibri"/>
            </a:endParaRPr>
          </a:p>
          <a:p>
            <a:pPr marL="914400" lvl="1" indent="-457200">
              <a:buFont typeface="Wingdings"/>
              <a:buChar char="ü"/>
            </a:pPr>
            <a:r>
              <a:rPr lang="es-419" sz="2400">
                <a:cs typeface="Calibri"/>
              </a:rPr>
              <a:t>Bandera de país</a:t>
            </a:r>
            <a:endParaRPr lang="es-419" sz="24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9100574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 b="1"/>
              <a:t>Generar informe de calidad del dato</a:t>
            </a:r>
            <a:br>
              <a:rPr lang="es-419" sz="3600"/>
            </a:br>
            <a:r>
              <a:rPr lang="es-419" sz="3600">
                <a:solidFill>
                  <a:srgbClr val="000000"/>
                </a:solidFill>
              </a:rPr>
              <a:t>Abrir</a:t>
            </a:r>
            <a:r>
              <a:rPr lang="es-419" sz="3600">
                <a:ea typeface="Calibri Light"/>
                <a:cs typeface="Calibri Light"/>
              </a:rPr>
              <a:t> </a:t>
            </a:r>
            <a:r>
              <a:rPr lang="es-419" sz="3600" b="1">
                <a:ea typeface="Calibri Light"/>
                <a:cs typeface="Calibri Light"/>
              </a:rPr>
              <a:t>qa.R</a:t>
            </a:r>
            <a:r>
              <a:rPr lang="es-419" sz="3600">
                <a:ea typeface="Calibri Light"/>
                <a:cs typeface="Calibri Light"/>
              </a:rPr>
              <a:t> en RStudio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52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93703051-8639-FF13-A76A-274A39AFD4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0" b="2020"/>
          <a:stretch/>
        </p:blipFill>
        <p:spPr>
          <a:xfrm>
            <a:off x="2509564" y="1487215"/>
            <a:ext cx="5273450" cy="48595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3634716-5588-51F6-5535-8F51EFA0A76D}"/>
              </a:ext>
            </a:extLst>
          </p:cNvPr>
          <p:cNvSpPr txBox="1"/>
          <p:nvPr/>
        </p:nvSpPr>
        <p:spPr>
          <a:xfrm>
            <a:off x="7802747" y="5579912"/>
            <a:ext cx="11176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>
                <a:cs typeface="Calibri"/>
              </a:rPr>
              <a:t>CLIC</a:t>
            </a:r>
          </a:p>
        </p:txBody>
      </p:sp>
      <p:pic>
        <p:nvPicPr>
          <p:cNvPr id="12" name="Graphic 7" descr="Cursor with solid fill">
            <a:extLst>
              <a:ext uri="{FF2B5EF4-FFF2-40B4-BE49-F238E27FC236}">
                <a16:creationId xmlns:a16="http://schemas.microsoft.com/office/drawing/2014/main" id="{06D5EAB3-2168-2B6A-D862-A35760E51A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30071" y="4913585"/>
            <a:ext cx="914400" cy="914400"/>
          </a:xfrm>
          <a:prstGeom prst="rect">
            <a:avLst/>
          </a:prstGeom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EAB90B89-07C2-39A0-1751-07141E0C0A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38" t="66799" r="8161" b="19727"/>
          <a:stretch/>
        </p:blipFill>
        <p:spPr>
          <a:xfrm>
            <a:off x="9426102" y="270489"/>
            <a:ext cx="2308532" cy="114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69011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 b="1"/>
              <a:t>Generar informe de calidad del dato</a:t>
            </a:r>
            <a:br>
              <a:rPr lang="es-419" sz="3600"/>
            </a:br>
            <a:r>
              <a:rPr lang="es-419" sz="3600">
                <a:solidFill>
                  <a:srgbClr val="000000"/>
                </a:solidFill>
              </a:rPr>
              <a:t>Ejecutar </a:t>
            </a:r>
            <a:r>
              <a:rPr lang="es-419" sz="3600" b="1">
                <a:ea typeface="Calibri Light"/>
                <a:cs typeface="Calibri Light"/>
              </a:rPr>
              <a:t>qa.R</a:t>
            </a:r>
            <a:r>
              <a:rPr lang="es-419" sz="3600">
                <a:ea typeface="Calibri Light"/>
                <a:cs typeface="Calibri Light"/>
              </a:rPr>
              <a:t> en RStudio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53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9" name="Graphic 9" descr="Checkmark with solid fill">
            <a:extLst>
              <a:ext uri="{FF2B5EF4-FFF2-40B4-BE49-F238E27FC236}">
                <a16:creationId xmlns:a16="http://schemas.microsoft.com/office/drawing/2014/main" id="{236A2972-0A79-8BE6-9FE0-51C84F222F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1006" y="5912591"/>
            <a:ext cx="669807" cy="669807"/>
          </a:xfrm>
          <a:prstGeom prst="rect">
            <a:avLst/>
          </a:prstGeom>
        </p:spPr>
      </p:pic>
      <p:pic>
        <p:nvPicPr>
          <p:cNvPr id="10" name="Graphic 10" descr="Warning with solid fill">
            <a:extLst>
              <a:ext uri="{FF2B5EF4-FFF2-40B4-BE49-F238E27FC236}">
                <a16:creationId xmlns:a16="http://schemas.microsoft.com/office/drawing/2014/main" id="{311A0B5D-7453-7AD8-C83F-4B16D57D12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32574" y="5906309"/>
            <a:ext cx="650993" cy="660400"/>
          </a:xfrm>
          <a:prstGeom prst="rect">
            <a:avLst/>
          </a:prstGeom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55170942-9FDC-0FBE-1F47-DA1C1B82C57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38" t="66799" r="8161" b="19727"/>
          <a:stretch/>
        </p:blipFill>
        <p:spPr>
          <a:xfrm>
            <a:off x="9426102" y="270489"/>
            <a:ext cx="2308532" cy="1144425"/>
          </a:xfrm>
          <a:prstGeom prst="rect">
            <a:avLst/>
          </a:prstGeom>
        </p:spPr>
      </p:pic>
      <p:pic>
        <p:nvPicPr>
          <p:cNvPr id="17" name="Picture 1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8185AEE2-6CC4-1EB5-C586-E9008FA08DC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679"/>
          <a:stretch/>
        </p:blipFill>
        <p:spPr>
          <a:xfrm>
            <a:off x="2704699" y="1311675"/>
            <a:ext cx="6578868" cy="2117325"/>
          </a:xfrm>
          <a:prstGeom prst="rect">
            <a:avLst/>
          </a:prstGeom>
        </p:spPr>
      </p:pic>
      <p:pic>
        <p:nvPicPr>
          <p:cNvPr id="19" name="Picture 18" descr="A screenshot of a computer error message&#10;&#10;Description automatically generated">
            <a:extLst>
              <a:ext uri="{FF2B5EF4-FFF2-40B4-BE49-F238E27FC236}">
                <a16:creationId xmlns:a16="http://schemas.microsoft.com/office/drawing/2014/main" id="{B8D37DF7-7E4B-EC92-A5C2-0AF0286C36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4133" y="3759134"/>
            <a:ext cx="5926699" cy="2477375"/>
          </a:xfrm>
          <a:prstGeom prst="rect">
            <a:avLst/>
          </a:prstGeom>
        </p:spPr>
      </p:pic>
      <p:pic>
        <p:nvPicPr>
          <p:cNvPr id="21" name="Picture 20" descr="A screenshot of a computer&#10;&#10;Description automatically generated">
            <a:extLst>
              <a:ext uri="{FF2B5EF4-FFF2-40B4-BE49-F238E27FC236}">
                <a16:creationId xmlns:a16="http://schemas.microsoft.com/office/drawing/2014/main" id="{B6FCC1B5-3832-C879-3780-1BC7053403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74" y="3759133"/>
            <a:ext cx="5513673" cy="247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87066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7378" y="429628"/>
            <a:ext cx="4606669" cy="82469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s-419" sz="3200">
                <a:cs typeface="Calibri Light"/>
              </a:rPr>
              <a:t>Abrir Reporte Q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54</a:t>
            </a:fld>
            <a:endParaRPr 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1121060C-D370-76A9-6C61-8579B6587E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2689" y="349045"/>
            <a:ext cx="973395" cy="973395"/>
          </a:xfrm>
          <a:prstGeom prst="rect">
            <a:avLst/>
          </a:prstGeom>
        </p:spPr>
      </p:pic>
      <p:pic>
        <p:nvPicPr>
          <p:cNvPr id="6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FE4D19EF-3257-18E3-7B7C-804CE6CE7E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463" y="2122190"/>
            <a:ext cx="3886200" cy="3786121"/>
          </a:xfrm>
          <a:prstGeom prst="rect">
            <a:avLst/>
          </a:prstGeom>
        </p:spPr>
      </p:pic>
      <p:pic>
        <p:nvPicPr>
          <p:cNvPr id="8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34969731-4DD7-BD0E-9E97-3BF08AEDBC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2174" y="2122189"/>
            <a:ext cx="3886200" cy="3786121"/>
          </a:xfrm>
          <a:prstGeom prst="rect">
            <a:avLst/>
          </a:prstGeom>
        </p:spPr>
      </p:pic>
      <p:pic>
        <p:nvPicPr>
          <p:cNvPr id="10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50B21DB0-A19A-B871-5663-59BC9FE049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19884" y="2097609"/>
            <a:ext cx="3886200" cy="378612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F396273-D916-FB9B-C99C-34BDFF6B151E}"/>
              </a:ext>
            </a:extLst>
          </p:cNvPr>
          <p:cNvSpPr txBox="1"/>
          <p:nvPr/>
        </p:nvSpPr>
        <p:spPr>
          <a:xfrm>
            <a:off x="5818240" y="1322440"/>
            <a:ext cx="5582263" cy="5386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419" sz="2900">
                <a:latin typeface="Calibri Light"/>
              </a:rPr>
              <a:t>Revisión de problemas por sección</a:t>
            </a:r>
            <a:r>
              <a:rPr lang="en-US" sz="2900">
                <a:latin typeface="Calibri Light"/>
                <a:cs typeface="Calibri Light"/>
              </a:rPr>
              <a:t>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7542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5400" kern="1200">
                <a:latin typeface="+mj-lt"/>
                <a:ea typeface="+mj-ea"/>
                <a:cs typeface="+mj-cs"/>
              </a:rPr>
              <a:t>Estructura</a:t>
            </a:r>
            <a:endParaRPr lang="es-419" sz="5400" kern="1200">
              <a:latin typeface="+mj-lt"/>
              <a:cs typeface="Calibri Light"/>
            </a:endParaRPr>
          </a:p>
        </p:txBody>
      </p:sp>
      <p:sp>
        <p:nvSpPr>
          <p:cNvPr id="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AE021C-5DE5-0EBF-AA64-8EDD96D22E96}"/>
              </a:ext>
            </a:extLst>
          </p:cNvPr>
          <p:cNvSpPr txBox="1"/>
          <p:nvPr/>
        </p:nvSpPr>
        <p:spPr>
          <a:xfrm>
            <a:off x="838200" y="1929384"/>
            <a:ext cx="10515600" cy="4251960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 lnSpcReduction="10000"/>
          </a:bodyPr>
          <a:lstStyle/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000"/>
              <a:t>Revisión de </a:t>
            </a:r>
            <a:r>
              <a:rPr lang="es-419" sz="2000" err="1"/>
              <a:t>shapefiles</a:t>
            </a:r>
            <a:endParaRPr lang="es-419" sz="2000" err="1">
              <a:cs typeface="Calibri"/>
            </a:endParaRP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/>
              <a:t>Formas vectoriales geoespaciales cargadas</a:t>
            </a:r>
            <a:endParaRPr lang="es-419" sz="2000">
              <a:cs typeface="Calibri"/>
            </a:endParaRP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/>
              <a:t>Completitud de </a:t>
            </a:r>
            <a:r>
              <a:rPr lang="es-419" sz="2000" err="1"/>
              <a:t>geocódigos</a:t>
            </a:r>
            <a:r>
              <a:rPr lang="es-419" sz="2000"/>
              <a:t> y nombres</a:t>
            </a:r>
            <a:endParaRPr lang="es-419" sz="2000">
              <a:cs typeface="Calibri"/>
            </a:endParaRPr>
          </a:p>
          <a:p>
            <a:pPr marL="91440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419" sz="2000">
              <a:cs typeface="Calibri"/>
            </a:endParaRP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000"/>
              <a:t>Revisión de </a:t>
            </a:r>
            <a:r>
              <a:rPr lang="es-419" sz="2000" err="1"/>
              <a:t>excel</a:t>
            </a:r>
            <a:r>
              <a:rPr lang="es-419" sz="2000"/>
              <a:t> datos de país</a:t>
            </a:r>
            <a:endParaRPr lang="es-419" sz="2000">
              <a:cs typeface="Calibri"/>
            </a:endParaRPr>
          </a:p>
          <a:p>
            <a:pPr marL="91440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000">
                <a:cs typeface="Calibri"/>
              </a:rPr>
              <a:t>Páginas 1 a 7 de Excel </a:t>
            </a:r>
            <a:r>
              <a:rPr lang="es-419" sz="2000" b="1" err="1">
                <a:cs typeface="Calibri"/>
              </a:rPr>
              <a:t>country_data</a:t>
            </a:r>
            <a:endParaRPr lang="es-419" sz="2000" b="1">
              <a:cs typeface="Calibri"/>
            </a:endParaRP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/>
              <a:t>Datos faltantes por columna y fila</a:t>
            </a:r>
            <a:endParaRPr lang="es-419" sz="2000">
              <a:cs typeface="Calibri"/>
            </a:endParaRP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>
                <a:cs typeface="Calibri"/>
              </a:rPr>
              <a:t>Errores de celdas unificadas</a:t>
            </a: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/>
              <a:t>Validez de </a:t>
            </a:r>
            <a:r>
              <a:rPr lang="es-419" sz="2000" err="1"/>
              <a:t>geocódigos</a:t>
            </a:r>
            <a:r>
              <a:rPr lang="es-419" sz="2000"/>
              <a:t> respecto a </a:t>
            </a:r>
            <a:r>
              <a:rPr lang="es-419" sz="2000" err="1"/>
              <a:t>shapefiles</a:t>
            </a:r>
            <a:endParaRPr lang="es-419" sz="2000" err="1">
              <a:cs typeface="Calibri" panose="020F0502020204030204"/>
            </a:endParaRP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/>
              <a:t>Tipo</a:t>
            </a:r>
            <a:r>
              <a:rPr lang="es-419" sz="2000">
                <a:cs typeface="Calibri"/>
              </a:rPr>
              <a:t> de dato por columna (numérico/fecha/texto)</a:t>
            </a:r>
          </a:p>
          <a:p>
            <a:pPr marL="91440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419" sz="2000">
              <a:cs typeface="Calibri"/>
            </a:endParaRP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000"/>
              <a:t>Revisión de bandera de país</a:t>
            </a:r>
          </a:p>
          <a:p>
            <a:pPr marL="1485900" lvl="2" indent="-342900">
              <a:lnSpc>
                <a:spcPct val="90000"/>
              </a:lnSpc>
              <a:spcAft>
                <a:spcPts val="600"/>
              </a:spcAft>
              <a:buFont typeface="Wingdings" panose="020B0604020202020204" pitchFamily="34" charset="0"/>
              <a:buChar char="ü"/>
            </a:pPr>
            <a:r>
              <a:rPr lang="es-419" sz="2000">
                <a:cs typeface="Calibri"/>
              </a:rPr>
              <a:t>Revisión de existenci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55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91FF20D-5E1B-B54C-5A59-CFD92FE6D1E8}"/>
              </a:ext>
            </a:extLst>
          </p:cNvPr>
          <p:cNvSpPr txBox="1">
            <a:spLocks/>
          </p:cNvSpPr>
          <p:nvPr/>
        </p:nvSpPr>
        <p:spPr>
          <a:xfrm>
            <a:off x="6067378" y="429628"/>
            <a:ext cx="4606669" cy="8246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419" sz="3200">
                <a:cs typeface="Calibri Light"/>
              </a:rPr>
              <a:t>Reporte QA</a:t>
            </a:r>
          </a:p>
        </p:txBody>
      </p:sp>
      <p:pic>
        <p:nvPicPr>
          <p:cNvPr id="17" name="Picture 4" descr="A white paper with a blue square and a white w&#10;&#10;Description automatically generated">
            <a:extLst>
              <a:ext uri="{FF2B5EF4-FFF2-40B4-BE49-F238E27FC236}">
                <a16:creationId xmlns:a16="http://schemas.microsoft.com/office/drawing/2014/main" id="{B4E1AE27-4340-138F-F3D1-CE7F39E34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2689" y="349045"/>
            <a:ext cx="973395" cy="973395"/>
          </a:xfrm>
          <a:prstGeom prst="rect">
            <a:avLst/>
          </a:prstGeom>
        </p:spPr>
      </p:pic>
      <p:pic>
        <p:nvPicPr>
          <p:cNvPr id="5" name="Picture 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EB1B42F-5E28-54F0-0FD7-AAB9F6EB97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77864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B045D-5F72-CD6C-844A-9CEE9627C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879" y="206974"/>
            <a:ext cx="10515600" cy="1325563"/>
          </a:xfrm>
        </p:spPr>
        <p:txBody>
          <a:bodyPr>
            <a:normAutofit/>
          </a:bodyPr>
          <a:lstStyle/>
          <a:p>
            <a:r>
              <a:rPr lang="es-419">
                <a:ea typeface="Calibri Light"/>
                <a:cs typeface="Calibri Light"/>
              </a:rPr>
              <a:t>Ejemplos de errores</a:t>
            </a:r>
            <a:endParaRPr lang="es-419">
              <a:cs typeface="Calibri Ligh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8D026-2322-44FB-23B3-11D0B9F1D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56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736EF-F36A-A746-D93F-DEBD89A6283F}"/>
              </a:ext>
            </a:extLst>
          </p:cNvPr>
          <p:cNvSpPr txBox="1">
            <a:spLocks/>
          </p:cNvSpPr>
          <p:nvPr/>
        </p:nvSpPr>
        <p:spPr>
          <a:xfrm>
            <a:off x="6067378" y="429628"/>
            <a:ext cx="4606669" cy="8246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419" sz="3200">
                <a:cs typeface="Calibri Light"/>
              </a:rPr>
              <a:t>Reporte QA</a:t>
            </a:r>
          </a:p>
        </p:txBody>
      </p:sp>
      <p:pic>
        <p:nvPicPr>
          <p:cNvPr id="7" name="Picture 4" descr="A white paper with a blue square and a white w&#10;&#10;Description automatically generated">
            <a:extLst>
              <a:ext uri="{FF2B5EF4-FFF2-40B4-BE49-F238E27FC236}">
                <a16:creationId xmlns:a16="http://schemas.microsoft.com/office/drawing/2014/main" id="{6813995A-E024-A8A7-47D9-2917E23DFF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2689" y="349045"/>
            <a:ext cx="973395" cy="973395"/>
          </a:xfrm>
          <a:prstGeom prst="rect">
            <a:avLst/>
          </a:prstGeom>
        </p:spPr>
      </p:pic>
      <p:pic>
        <p:nvPicPr>
          <p:cNvPr id="12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3350FEFB-B65D-7052-7A9E-B54CFCB139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305" y="1596621"/>
            <a:ext cx="7387086" cy="4469889"/>
          </a:xfrm>
          <a:prstGeom prst="rect">
            <a:avLst/>
          </a:prstGeom>
        </p:spPr>
      </p:pic>
      <p:pic>
        <p:nvPicPr>
          <p:cNvPr id="14" name="Picture 14" descr="A blue and white screen with white text&#10;&#10;Description automatically generated">
            <a:extLst>
              <a:ext uri="{FF2B5EF4-FFF2-40B4-BE49-F238E27FC236}">
                <a16:creationId xmlns:a16="http://schemas.microsoft.com/office/drawing/2014/main" id="{AE188247-4434-C0A2-ED8A-58617EDA30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3110" y="1986448"/>
            <a:ext cx="6712974" cy="150858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C992AC7-3504-38C1-73FA-D506D3EA3DB0}"/>
              </a:ext>
            </a:extLst>
          </p:cNvPr>
          <p:cNvCxnSpPr/>
          <p:nvPr/>
        </p:nvCxnSpPr>
        <p:spPr>
          <a:xfrm flipV="1">
            <a:off x="4212197" y="3121880"/>
            <a:ext cx="3512295" cy="652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8A6C8BF-7074-61AC-E741-D475C6FE7FEE}"/>
              </a:ext>
            </a:extLst>
          </p:cNvPr>
          <p:cNvCxnSpPr>
            <a:cxnSpLocks/>
          </p:cNvCxnSpPr>
          <p:nvPr/>
        </p:nvCxnSpPr>
        <p:spPr>
          <a:xfrm flipV="1">
            <a:off x="7048866" y="3552041"/>
            <a:ext cx="835399" cy="974141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B4DDD41-3505-E8E5-73B9-11C791420286}"/>
              </a:ext>
            </a:extLst>
          </p:cNvPr>
          <p:cNvCxnSpPr>
            <a:cxnSpLocks/>
          </p:cNvCxnSpPr>
          <p:nvPr/>
        </p:nvCxnSpPr>
        <p:spPr>
          <a:xfrm flipV="1">
            <a:off x="5658414" y="3552041"/>
            <a:ext cx="0" cy="422474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A745C38-DE79-24DC-7289-27B842317887}"/>
              </a:ext>
            </a:extLst>
          </p:cNvPr>
          <p:cNvCxnSpPr>
            <a:cxnSpLocks/>
          </p:cNvCxnSpPr>
          <p:nvPr/>
        </p:nvCxnSpPr>
        <p:spPr>
          <a:xfrm flipV="1">
            <a:off x="7567454" y="2814622"/>
            <a:ext cx="2172650" cy="3146972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42B85C-2F44-E17E-26F6-C6542C4AE82C}"/>
              </a:ext>
            </a:extLst>
          </p:cNvPr>
          <p:cNvCxnSpPr>
            <a:cxnSpLocks/>
          </p:cNvCxnSpPr>
          <p:nvPr/>
        </p:nvCxnSpPr>
        <p:spPr>
          <a:xfrm>
            <a:off x="5392066" y="5937014"/>
            <a:ext cx="2283263" cy="11639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6" name="Picture 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9D280082-49CD-FF94-7F48-00E93F23D3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35702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B045D-5F72-CD6C-844A-9CEE9627C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879" y="206974"/>
            <a:ext cx="10515600" cy="1325563"/>
          </a:xfrm>
        </p:spPr>
        <p:txBody>
          <a:bodyPr>
            <a:normAutofit/>
          </a:bodyPr>
          <a:lstStyle/>
          <a:p>
            <a:r>
              <a:rPr lang="es-419">
                <a:ea typeface="Calibri Light"/>
                <a:cs typeface="Calibri Light"/>
              </a:rPr>
              <a:t>Ejemplos de errores</a:t>
            </a:r>
            <a:endParaRPr lang="es-419">
              <a:cs typeface="Calibri Ligh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8D026-2322-44FB-23B3-11D0B9F1D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57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736EF-F36A-A746-D93F-DEBD89A6283F}"/>
              </a:ext>
            </a:extLst>
          </p:cNvPr>
          <p:cNvSpPr txBox="1">
            <a:spLocks/>
          </p:cNvSpPr>
          <p:nvPr/>
        </p:nvSpPr>
        <p:spPr>
          <a:xfrm>
            <a:off x="6067378" y="429628"/>
            <a:ext cx="4606669" cy="8246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419" sz="3200">
                <a:cs typeface="Calibri Light"/>
              </a:rPr>
              <a:t>Reporte QA</a:t>
            </a:r>
          </a:p>
        </p:txBody>
      </p:sp>
      <p:pic>
        <p:nvPicPr>
          <p:cNvPr id="7" name="Picture 4" descr="A white paper with a blue square and a white w&#10;&#10;Description automatically generated">
            <a:extLst>
              <a:ext uri="{FF2B5EF4-FFF2-40B4-BE49-F238E27FC236}">
                <a16:creationId xmlns:a16="http://schemas.microsoft.com/office/drawing/2014/main" id="{6813995A-E024-A8A7-47D9-2917E23DFF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2689" y="349045"/>
            <a:ext cx="973395" cy="973395"/>
          </a:xfrm>
          <a:prstGeom prst="rect">
            <a:avLst/>
          </a:prstGeom>
        </p:spPr>
      </p:pic>
      <p:pic>
        <p:nvPicPr>
          <p:cNvPr id="4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CDA338B4-9CFB-2221-C95E-D6FD1A007A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884" y="2952478"/>
            <a:ext cx="7573295" cy="3583171"/>
          </a:xfrm>
          <a:prstGeom prst="rect">
            <a:avLst/>
          </a:prstGeom>
        </p:spPr>
      </p:pic>
      <p:pic>
        <p:nvPicPr>
          <p:cNvPr id="8" name="Picture 14" descr="A blue and white screen with white text&#10;&#10;Description automatically generated">
            <a:extLst>
              <a:ext uri="{FF2B5EF4-FFF2-40B4-BE49-F238E27FC236}">
                <a16:creationId xmlns:a16="http://schemas.microsoft.com/office/drawing/2014/main" id="{4FB14E3D-2F24-0A8C-21AD-C5C4E99B99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3110" y="1986448"/>
            <a:ext cx="6712974" cy="1508588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F17419-E813-6B6C-8D87-4E1908456F89}"/>
              </a:ext>
            </a:extLst>
          </p:cNvPr>
          <p:cNvCxnSpPr>
            <a:cxnSpLocks/>
          </p:cNvCxnSpPr>
          <p:nvPr/>
        </p:nvCxnSpPr>
        <p:spPr>
          <a:xfrm flipV="1">
            <a:off x="2405517" y="3232491"/>
            <a:ext cx="3942456" cy="406234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E17FFD2-F7B3-4425-CCBF-6CB8EC90BA3D}"/>
              </a:ext>
            </a:extLst>
          </p:cNvPr>
          <p:cNvCxnSpPr>
            <a:cxnSpLocks/>
          </p:cNvCxnSpPr>
          <p:nvPr/>
        </p:nvCxnSpPr>
        <p:spPr>
          <a:xfrm flipV="1">
            <a:off x="5514967" y="3244781"/>
            <a:ext cx="4249714" cy="1696717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97C8867-AF7B-1D05-BFC9-65C28C25D954}"/>
              </a:ext>
            </a:extLst>
          </p:cNvPr>
          <p:cNvCxnSpPr>
            <a:cxnSpLocks/>
          </p:cNvCxnSpPr>
          <p:nvPr/>
        </p:nvCxnSpPr>
        <p:spPr>
          <a:xfrm flipV="1">
            <a:off x="5281451" y="3195620"/>
            <a:ext cx="5663100" cy="3011780"/>
          </a:xfrm>
          <a:prstGeom prst="straightConnector1">
            <a:avLst/>
          </a:prstGeom>
          <a:ln w="57150">
            <a:solidFill>
              <a:srgbClr val="5DC716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9" name="Picture 8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7109C293-6401-FF49-4B5A-548E6C95E4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1273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1" descr="A white paper with black text and numbers&#10;&#10;Description automatically generated">
            <a:extLst>
              <a:ext uri="{FF2B5EF4-FFF2-40B4-BE49-F238E27FC236}">
                <a16:creationId xmlns:a16="http://schemas.microsoft.com/office/drawing/2014/main" id="{8B9CDAE7-47CF-5280-974D-69DC8848EC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3692" y="1074832"/>
            <a:ext cx="7450391" cy="55686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FB045D-5F72-CD6C-844A-9CEE9627C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879" y="206974"/>
            <a:ext cx="10515600" cy="1595950"/>
          </a:xfrm>
        </p:spPr>
        <p:txBody>
          <a:bodyPr>
            <a:normAutofit/>
          </a:bodyPr>
          <a:lstStyle/>
          <a:p>
            <a:r>
              <a:rPr lang="es-419">
                <a:ea typeface="Calibri Light"/>
                <a:cs typeface="Calibri Light"/>
              </a:rPr>
              <a:t>Ejemplos de errores</a:t>
            </a:r>
            <a:br>
              <a:rPr lang="es-419">
                <a:ea typeface="Calibri Light"/>
                <a:cs typeface="Calibri Light"/>
              </a:rPr>
            </a:br>
            <a:r>
              <a:rPr lang="es-419">
                <a:cs typeface="Calibri Light"/>
              </a:rPr>
              <a:t>6 - Caso a cas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8D026-2322-44FB-23B3-11D0B9F1D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58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736EF-F36A-A746-D93F-DEBD89A6283F}"/>
              </a:ext>
            </a:extLst>
          </p:cNvPr>
          <p:cNvSpPr txBox="1">
            <a:spLocks/>
          </p:cNvSpPr>
          <p:nvPr/>
        </p:nvSpPr>
        <p:spPr>
          <a:xfrm>
            <a:off x="6067378" y="429628"/>
            <a:ext cx="4606669" cy="8246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419" sz="3200">
                <a:cs typeface="Calibri Light"/>
              </a:rPr>
              <a:t>Reporte QA</a:t>
            </a:r>
          </a:p>
        </p:txBody>
      </p:sp>
      <p:pic>
        <p:nvPicPr>
          <p:cNvPr id="7" name="Picture 4" descr="A white paper with a blue square and a white w&#10;&#10;Description automatically generated">
            <a:extLst>
              <a:ext uri="{FF2B5EF4-FFF2-40B4-BE49-F238E27FC236}">
                <a16:creationId xmlns:a16="http://schemas.microsoft.com/office/drawing/2014/main" id="{6813995A-E024-A8A7-47D9-2917E23DFF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2689" y="349045"/>
            <a:ext cx="973395" cy="973395"/>
          </a:xfrm>
          <a:prstGeom prst="rect">
            <a:avLst/>
          </a:prstGeom>
        </p:spPr>
      </p:pic>
      <p:pic>
        <p:nvPicPr>
          <p:cNvPr id="6" name="Picture 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24A3F1EC-D648-92D0-21FE-23362B8254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86357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9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1" y="457200"/>
            <a:ext cx="10909640" cy="1368614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s-419" sz="5100" b="1"/>
              <a:t>Proceso de corrección de </a:t>
            </a:r>
            <a:br>
              <a:rPr lang="es-419" sz="5100" b="1"/>
            </a:br>
            <a:r>
              <a:rPr lang="es-419" sz="5100" b="1"/>
              <a:t>errores encontrados</a:t>
            </a:r>
            <a:endParaRPr lang="es-419" sz="5100" b="1">
              <a:cs typeface="Calibri Light"/>
            </a:endParaRP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 descr="A close-up of a document&#10;&#10;Description automatically generated">
            <a:extLst>
              <a:ext uri="{FF2B5EF4-FFF2-40B4-BE49-F238E27FC236}">
                <a16:creationId xmlns:a16="http://schemas.microsoft.com/office/drawing/2014/main" id="{89B82FD9-D7B7-ADE0-A734-1F09610705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9421" y="2642616"/>
            <a:ext cx="2303011" cy="2303011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1121060C-D370-76A9-6C61-8579B6587E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8812" y="2642616"/>
            <a:ext cx="2303010" cy="230301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59</a:t>
            </a:fld>
            <a:endParaRPr lang="en-US"/>
          </a:p>
        </p:txBody>
      </p:sp>
      <p:pic>
        <p:nvPicPr>
          <p:cNvPr id="16" name="Graphic 16" descr="Line arrow: Counter-clockwise curve outline">
            <a:extLst>
              <a:ext uri="{FF2B5EF4-FFF2-40B4-BE49-F238E27FC236}">
                <a16:creationId xmlns:a16="http://schemas.microsoft.com/office/drawing/2014/main" id="{5B92AE96-BF90-391A-B10F-4FCFC81A3A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6180000">
            <a:off x="5163830" y="4061395"/>
            <a:ext cx="2192593" cy="2192593"/>
          </a:xfrm>
          <a:prstGeom prst="rect">
            <a:avLst/>
          </a:prstGeom>
        </p:spPr>
      </p:pic>
      <p:pic>
        <p:nvPicPr>
          <p:cNvPr id="17" name="Graphic 16" descr="Line arrow: Counter-clockwise curve outline">
            <a:extLst>
              <a:ext uri="{FF2B5EF4-FFF2-40B4-BE49-F238E27FC236}">
                <a16:creationId xmlns:a16="http://schemas.microsoft.com/office/drawing/2014/main" id="{3069DD57-6B36-CC3D-FE3F-D25866D913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-4980000">
            <a:off x="5163829" y="1750814"/>
            <a:ext cx="2192593" cy="219259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FB4617B-CE06-9DCE-AF3D-BB69B8F5D952}"/>
              </a:ext>
            </a:extLst>
          </p:cNvPr>
          <p:cNvSpPr txBox="1"/>
          <p:nvPr/>
        </p:nvSpPr>
        <p:spPr>
          <a:xfrm>
            <a:off x="577644" y="3662517"/>
            <a:ext cx="206477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b="1" err="1">
                <a:cs typeface="Calibri" panose="020F0502020204030204"/>
              </a:rPr>
              <a:t>country_data</a:t>
            </a:r>
            <a:endParaRPr lang="en-US" b="1">
              <a:cs typeface="Calibri" panose="020F050202020403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7648A2-6E93-0C34-D129-3C6BD84E84D9}"/>
              </a:ext>
            </a:extLst>
          </p:cNvPr>
          <p:cNvSpPr txBox="1"/>
          <p:nvPr/>
        </p:nvSpPr>
        <p:spPr>
          <a:xfrm>
            <a:off x="9561869" y="3662516"/>
            <a:ext cx="206477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>
                <a:cs typeface="Calibri" panose="020F0502020204030204"/>
              </a:rPr>
              <a:t>Reporte</a:t>
            </a:r>
            <a:r>
              <a:rPr lang="en-US" b="1">
                <a:cs typeface="Calibri" panose="020F0502020204030204"/>
              </a:rPr>
              <a:t> QA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994374-3BEA-A889-9226-5C7D4AD2BD42}"/>
              </a:ext>
            </a:extLst>
          </p:cNvPr>
          <p:cNvSpPr txBox="1"/>
          <p:nvPr/>
        </p:nvSpPr>
        <p:spPr>
          <a:xfrm>
            <a:off x="188148" y="6199481"/>
            <a:ext cx="779874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>
                <a:cs typeface="Calibri"/>
              </a:rPr>
              <a:t>! Asegurarse que siempre se llama "</a:t>
            </a:r>
            <a:r>
              <a:rPr lang="es-419" err="1">
                <a:cs typeface="Calibri"/>
              </a:rPr>
              <a:t>country_data</a:t>
            </a:r>
            <a:r>
              <a:rPr lang="es-419">
                <a:cs typeface="Calibri"/>
              </a:rPr>
              <a:t>" el archivo Excel.</a:t>
            </a:r>
          </a:p>
        </p:txBody>
      </p:sp>
      <p:pic>
        <p:nvPicPr>
          <p:cNvPr id="9" name="Picture 8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F8320856-867C-EE32-25EA-3A5E0A5177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079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765E057-FDE0-570D-4F16-F98B324E23F2}"/>
              </a:ext>
            </a:extLst>
          </p:cNvPr>
          <p:cNvSpPr txBox="1"/>
          <p:nvPr/>
        </p:nvSpPr>
        <p:spPr>
          <a:xfrm>
            <a:off x="943677" y="249340"/>
            <a:ext cx="104492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32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Palatino Linotype" panose="02040502050505030304" pitchFamily="18" charset="0"/>
                <a:ea typeface="+mn-ea"/>
                <a:cs typeface="+mn-cs"/>
              </a:rPr>
              <a:t>Panorama general de la herramienta de riesgo de OPS</a:t>
            </a:r>
            <a:endParaRPr kumimoji="0" lang="es-419" sz="3600" b="1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</a:endParaRPr>
          </a:p>
        </p:txBody>
      </p:sp>
      <p:graphicFrame>
        <p:nvGraphicFramePr>
          <p:cNvPr id="12" name="Diagrama 4">
            <a:extLst>
              <a:ext uri="{FF2B5EF4-FFF2-40B4-BE49-F238E27FC236}">
                <a16:creationId xmlns:a16="http://schemas.microsoft.com/office/drawing/2014/main" id="{7AD27CE3-1AE2-F28C-EE2D-E7D7663FC5AF}"/>
              </a:ext>
            </a:extLst>
          </p:cNvPr>
          <p:cNvGraphicFramePr/>
          <p:nvPr/>
        </p:nvGraphicFramePr>
        <p:xfrm>
          <a:off x="507034" y="1528774"/>
          <a:ext cx="5420799" cy="38630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E1716D22-98EC-3D30-FE95-C54153AF4E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5912129"/>
              </p:ext>
            </p:extLst>
          </p:nvPr>
        </p:nvGraphicFramePr>
        <p:xfrm>
          <a:off x="6471745" y="1402645"/>
          <a:ext cx="5628289" cy="3863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4" name="Grupo 5">
            <a:extLst>
              <a:ext uri="{FF2B5EF4-FFF2-40B4-BE49-F238E27FC236}">
                <a16:creationId xmlns:a16="http://schemas.microsoft.com/office/drawing/2014/main" id="{804194A2-6322-55DC-0369-7CC94FC2870D}"/>
              </a:ext>
            </a:extLst>
          </p:cNvPr>
          <p:cNvGrpSpPr/>
          <p:nvPr/>
        </p:nvGrpSpPr>
        <p:grpSpPr>
          <a:xfrm>
            <a:off x="3414121" y="5834206"/>
            <a:ext cx="5508403" cy="551655"/>
            <a:chOff x="721503" y="16853"/>
            <a:chExt cx="4889273" cy="551655"/>
          </a:xfrm>
          <a:solidFill>
            <a:schemeClr val="accent2"/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5" name="Rectángulo: esquinas redondeadas 6">
              <a:extLst>
                <a:ext uri="{FF2B5EF4-FFF2-40B4-BE49-F238E27FC236}">
                  <a16:creationId xmlns:a16="http://schemas.microsoft.com/office/drawing/2014/main" id="{017A8837-5886-DE5D-4B5B-85B5A1C048F2}"/>
                </a:ext>
              </a:extLst>
            </p:cNvPr>
            <p:cNvSpPr/>
            <p:nvPr/>
          </p:nvSpPr>
          <p:spPr>
            <a:xfrm>
              <a:off x="721503" y="16853"/>
              <a:ext cx="4889273" cy="551655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6" name="Rectángulo: esquinas redondeadas 4">
              <a:extLst>
                <a:ext uri="{FF2B5EF4-FFF2-40B4-BE49-F238E27FC236}">
                  <a16:creationId xmlns:a16="http://schemas.microsoft.com/office/drawing/2014/main" id="{57F7A76B-0AD3-B243-E288-FC2D89ECDD74}"/>
                </a:ext>
              </a:extLst>
            </p:cNvPr>
            <p:cNvSpPr txBox="1"/>
            <p:nvPr/>
          </p:nvSpPr>
          <p:spPr>
            <a:xfrm>
              <a:off x="748433" y="43783"/>
              <a:ext cx="4835413" cy="497795"/>
            </a:xfrm>
            <a:prstGeom prst="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419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ngo para la puntuación de riesgo: 0-100 puntos</a:t>
              </a:r>
            </a:p>
          </p:txBody>
        </p:sp>
      </p:grpSp>
      <p:pic>
        <p:nvPicPr>
          <p:cNvPr id="17" name="Picture 16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5F78CF6C-F6E6-FE94-82EE-1EF9C8AA41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Graphic 2" descr="Badge 1 with solid fill">
            <a:extLst>
              <a:ext uri="{FF2B5EF4-FFF2-40B4-BE49-F238E27FC236}">
                <a16:creationId xmlns:a16="http://schemas.microsoft.com/office/drawing/2014/main" id="{08A13103-54F3-3371-D129-D1D47C0CBA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8434" y="1071574"/>
            <a:ext cx="457200" cy="457200"/>
          </a:xfrm>
          <a:prstGeom prst="rect">
            <a:avLst/>
          </a:prstGeom>
        </p:spPr>
      </p:pic>
      <p:pic>
        <p:nvPicPr>
          <p:cNvPr id="5" name="Graphic 4" descr="Badge with solid fill">
            <a:extLst>
              <a:ext uri="{FF2B5EF4-FFF2-40B4-BE49-F238E27FC236}">
                <a16:creationId xmlns:a16="http://schemas.microsoft.com/office/drawing/2014/main" id="{051851BD-166A-BB5A-CE18-7A289F5F20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714381" y="1158960"/>
            <a:ext cx="510209" cy="510209"/>
          </a:xfrm>
          <a:prstGeom prst="rect">
            <a:avLst/>
          </a:prstGeom>
        </p:spPr>
      </p:pic>
      <p:pic>
        <p:nvPicPr>
          <p:cNvPr id="7" name="Graphic 6" descr="Badge 3 with solid fill">
            <a:extLst>
              <a:ext uri="{FF2B5EF4-FFF2-40B4-BE49-F238E27FC236}">
                <a16:creationId xmlns:a16="http://schemas.microsoft.com/office/drawing/2014/main" id="{38DFCF52-47E3-F2B2-A0EA-0049AA83ED8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13218" y="5834206"/>
            <a:ext cx="551655" cy="55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2738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o 5. Ejecutar la herramienta de riesgo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32220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/>
              <a:t>Ejecutar la herramienta de riesgo</a:t>
            </a:r>
            <a:br>
              <a:rPr lang="es-419" sz="3600"/>
            </a:br>
            <a:r>
              <a:rPr lang="es-419" sz="3600"/>
              <a:t>Abrir</a:t>
            </a:r>
            <a:r>
              <a:rPr lang="es-419" sz="3600">
                <a:ea typeface="Calibri Light"/>
                <a:cs typeface="Calibri Light"/>
              </a:rPr>
              <a:t> </a:t>
            </a:r>
            <a:r>
              <a:rPr lang="es-419" sz="3600" b="1" err="1">
                <a:ea typeface="Calibri Light"/>
                <a:cs typeface="Calibri Light"/>
              </a:rPr>
              <a:t>run.R</a:t>
            </a:r>
            <a:r>
              <a:rPr lang="es-419" sz="3600">
                <a:ea typeface="Calibri Light"/>
                <a:cs typeface="Calibri Light"/>
              </a:rPr>
              <a:t> en </a:t>
            </a:r>
            <a:r>
              <a:rPr lang="es-419" sz="3600" err="1">
                <a:ea typeface="Calibri Light"/>
                <a:cs typeface="Calibri Light"/>
              </a:rPr>
              <a:t>RStudio</a:t>
            </a:r>
            <a:r>
              <a:rPr lang="es-419" sz="3600">
                <a:ea typeface="Calibri Light"/>
                <a:cs typeface="Calibri Light"/>
              </a:rPr>
              <a:t> 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1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93703051-8639-FF13-A76A-274A39AFD4B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" t="300" r="-842" b="-948"/>
          <a:stretch/>
        </p:blipFill>
        <p:spPr>
          <a:xfrm>
            <a:off x="2744520" y="1486592"/>
            <a:ext cx="5026453" cy="48581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3634716-5588-51F6-5535-8F51EFA0A76D}"/>
              </a:ext>
            </a:extLst>
          </p:cNvPr>
          <p:cNvSpPr txBox="1"/>
          <p:nvPr/>
        </p:nvSpPr>
        <p:spPr>
          <a:xfrm>
            <a:off x="7998952" y="6223013"/>
            <a:ext cx="11176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>
                <a:cs typeface="Calibri"/>
              </a:rPr>
              <a:t>CLIC</a:t>
            </a:r>
          </a:p>
        </p:txBody>
      </p:sp>
      <p:pic>
        <p:nvPicPr>
          <p:cNvPr id="12" name="Graphic 7" descr="Cursor with solid fill">
            <a:extLst>
              <a:ext uri="{FF2B5EF4-FFF2-40B4-BE49-F238E27FC236}">
                <a16:creationId xmlns:a16="http://schemas.microsoft.com/office/drawing/2014/main" id="{06D5EAB3-2168-2B6A-D862-A35760E51A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40243" y="580249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42481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DA21A4AC-5300-4176-B2FB-67830A380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04800"/>
            <a:ext cx="10908792" cy="144233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s-419" sz="3100" kern="1200">
                <a:latin typeface="+mj-lt"/>
                <a:ea typeface="+mj-ea"/>
                <a:cs typeface="+mj-cs"/>
              </a:rPr>
              <a:t>Ejecutar la herramienta de riesgo</a:t>
            </a:r>
            <a:br>
              <a:rPr lang="es-419" sz="3100" kern="1200"/>
            </a:br>
            <a:r>
              <a:rPr lang="es-419" sz="3100" kern="1200">
                <a:latin typeface="+mj-lt"/>
                <a:ea typeface="+mj-ea"/>
                <a:cs typeface="+mj-cs"/>
              </a:rPr>
              <a:t>Abrir </a:t>
            </a:r>
            <a:r>
              <a:rPr lang="es-419" sz="3100" b="1" kern="1200" err="1">
                <a:latin typeface="+mj-lt"/>
                <a:ea typeface="+mj-ea"/>
                <a:cs typeface="+mj-cs"/>
              </a:rPr>
              <a:t>run.R</a:t>
            </a:r>
            <a:r>
              <a:rPr lang="es-419" sz="3100" kern="1200">
                <a:latin typeface="+mj-lt"/>
                <a:ea typeface="+mj-ea"/>
                <a:cs typeface="+mj-cs"/>
              </a:rPr>
              <a:t> en </a:t>
            </a:r>
            <a:r>
              <a:rPr lang="es-419" sz="3100" kern="1200" err="1">
                <a:latin typeface="+mj-lt"/>
                <a:ea typeface="+mj-ea"/>
                <a:cs typeface="+mj-cs"/>
              </a:rPr>
              <a:t>RStudio</a:t>
            </a:r>
            <a:r>
              <a:rPr lang="es-419" sz="3100" kern="1200">
                <a:latin typeface="+mj-lt"/>
                <a:ea typeface="+mj-ea"/>
                <a:cs typeface="+mj-cs"/>
              </a:rPr>
              <a:t> y ejecutar.</a:t>
            </a:r>
            <a:br>
              <a:rPr lang="es-419" sz="3100" kern="1200"/>
            </a:br>
            <a:endParaRPr lang="es-419" sz="3100" kern="1200">
              <a:latin typeface="+mj-lt"/>
              <a:ea typeface="Calibri Light"/>
              <a:cs typeface="Calibri Light"/>
            </a:endParaRPr>
          </a:p>
        </p:txBody>
      </p:sp>
      <p:sp>
        <p:nvSpPr>
          <p:cNvPr id="22" name="sketch line">
            <a:extLst>
              <a:ext uri="{FF2B5EF4-FFF2-40B4-BE49-F238E27FC236}">
                <a16:creationId xmlns:a16="http://schemas.microsoft.com/office/drawing/2014/main" id="{5A09F8C8-3B6F-414C-866C-80565B6107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10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FC028E4B-677F-3B98-0890-FD3FCFFBAD7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126" r="10054" b="-1"/>
          <a:stretch/>
        </p:blipFill>
        <p:spPr>
          <a:xfrm>
            <a:off x="258116" y="2591397"/>
            <a:ext cx="5665788" cy="3873315"/>
          </a:xfrm>
          <a:custGeom>
            <a:avLst/>
            <a:gdLst/>
            <a:ahLst/>
            <a:cxnLst/>
            <a:rect l="l" t="t" r="r" b="b"/>
            <a:pathLst>
              <a:path w="6005375" h="4192863">
                <a:moveTo>
                  <a:pt x="5424937" y="874"/>
                </a:moveTo>
                <a:cubicBezTo>
                  <a:pt x="5470440" y="-1251"/>
                  <a:pt x="5516123" y="499"/>
                  <a:pt x="5561495" y="6147"/>
                </a:cubicBezTo>
                <a:cubicBezTo>
                  <a:pt x="5636334" y="13389"/>
                  <a:pt x="5711424" y="18471"/>
                  <a:pt x="5786261" y="26095"/>
                </a:cubicBezTo>
                <a:cubicBezTo>
                  <a:pt x="5819550" y="29525"/>
                  <a:pt x="5853222" y="16820"/>
                  <a:pt x="5886002" y="28509"/>
                </a:cubicBezTo>
                <a:cubicBezTo>
                  <a:pt x="5922214" y="41469"/>
                  <a:pt x="5958870" y="47282"/>
                  <a:pt x="5995622" y="48044"/>
                </a:cubicBezTo>
                <a:lnTo>
                  <a:pt x="5998366" y="47926"/>
                </a:lnTo>
                <a:lnTo>
                  <a:pt x="5995171" y="398504"/>
                </a:lnTo>
                <a:cubicBezTo>
                  <a:pt x="5993433" y="528663"/>
                  <a:pt x="5993035" y="658806"/>
                  <a:pt x="5999656" y="788917"/>
                </a:cubicBezTo>
                <a:cubicBezTo>
                  <a:pt x="6009855" y="990282"/>
                  <a:pt x="6003364" y="1191519"/>
                  <a:pt x="5999656" y="1392757"/>
                </a:cubicBezTo>
                <a:cubicBezTo>
                  <a:pt x="5992506" y="1778706"/>
                  <a:pt x="6003364" y="2164146"/>
                  <a:pt x="5998730" y="2549586"/>
                </a:cubicBezTo>
                <a:cubicBezTo>
                  <a:pt x="5996744" y="2720440"/>
                  <a:pt x="5998994" y="2891040"/>
                  <a:pt x="6003364" y="3061895"/>
                </a:cubicBezTo>
                <a:cubicBezTo>
                  <a:pt x="6009720" y="3305846"/>
                  <a:pt x="5999922" y="3549924"/>
                  <a:pt x="5989196" y="3793749"/>
                </a:cubicBezTo>
                <a:cubicBezTo>
                  <a:pt x="5985594" y="3860794"/>
                  <a:pt x="5984646" y="3927918"/>
                  <a:pt x="5986348" y="3994981"/>
                </a:cubicBezTo>
                <a:lnTo>
                  <a:pt x="5999199" y="4192863"/>
                </a:lnTo>
                <a:lnTo>
                  <a:pt x="0" y="4192863"/>
                </a:lnTo>
                <a:lnTo>
                  <a:pt x="0" y="26225"/>
                </a:lnTo>
                <a:lnTo>
                  <a:pt x="10965" y="23935"/>
                </a:lnTo>
                <a:cubicBezTo>
                  <a:pt x="27502" y="19081"/>
                  <a:pt x="44569" y="16260"/>
                  <a:pt x="61788" y="15549"/>
                </a:cubicBezTo>
                <a:cubicBezTo>
                  <a:pt x="194437" y="-1096"/>
                  <a:pt x="327213" y="3351"/>
                  <a:pt x="460497" y="8815"/>
                </a:cubicBezTo>
                <a:cubicBezTo>
                  <a:pt x="692632" y="18217"/>
                  <a:pt x="925021" y="29144"/>
                  <a:pt x="1157537" y="25841"/>
                </a:cubicBezTo>
                <a:cubicBezTo>
                  <a:pt x="1393484" y="22410"/>
                  <a:pt x="1628922" y="29653"/>
                  <a:pt x="1864615" y="39182"/>
                </a:cubicBezTo>
                <a:cubicBezTo>
                  <a:pt x="1967913" y="43121"/>
                  <a:pt x="2071847" y="47059"/>
                  <a:pt x="2173493" y="17709"/>
                </a:cubicBezTo>
                <a:cubicBezTo>
                  <a:pt x="2196465" y="12334"/>
                  <a:pt x="2220416" y="12855"/>
                  <a:pt x="2243121" y="19234"/>
                </a:cubicBezTo>
                <a:cubicBezTo>
                  <a:pt x="2357219" y="45789"/>
                  <a:pt x="2471952" y="53666"/>
                  <a:pt x="2587321" y="27492"/>
                </a:cubicBezTo>
                <a:cubicBezTo>
                  <a:pt x="2719944" y="-1223"/>
                  <a:pt x="2856455" y="-7360"/>
                  <a:pt x="2991111" y="9323"/>
                </a:cubicBezTo>
                <a:cubicBezTo>
                  <a:pt x="3114231" y="23045"/>
                  <a:pt x="3237985" y="37911"/>
                  <a:pt x="3361358" y="26857"/>
                </a:cubicBezTo>
                <a:cubicBezTo>
                  <a:pt x="3556266" y="9323"/>
                  <a:pt x="3750918" y="24570"/>
                  <a:pt x="3945825" y="29271"/>
                </a:cubicBezTo>
                <a:cubicBezTo>
                  <a:pt x="4010625" y="30796"/>
                  <a:pt x="4075806" y="44137"/>
                  <a:pt x="4140224" y="32193"/>
                </a:cubicBezTo>
                <a:cubicBezTo>
                  <a:pt x="4241744" y="13389"/>
                  <a:pt x="4342120" y="20631"/>
                  <a:pt x="4443766" y="31177"/>
                </a:cubicBezTo>
                <a:cubicBezTo>
                  <a:pt x="4638419" y="51507"/>
                  <a:pt x="4832945" y="61290"/>
                  <a:pt x="5026708" y="23172"/>
                </a:cubicBezTo>
                <a:cubicBezTo>
                  <a:pt x="5086807" y="11229"/>
                  <a:pt x="5146524" y="4368"/>
                  <a:pt x="5207640" y="20377"/>
                </a:cubicBezTo>
                <a:cubicBezTo>
                  <a:pt x="5234626" y="26539"/>
                  <a:pt x="5262719" y="26019"/>
                  <a:pt x="5289465" y="18853"/>
                </a:cubicBezTo>
                <a:cubicBezTo>
                  <a:pt x="5334113" y="9000"/>
                  <a:pt x="5379435" y="2999"/>
                  <a:pt x="5424937" y="874"/>
                </a:cubicBezTo>
                <a:close/>
              </a:path>
            </a:pathLst>
          </a:cu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21CDF9E2-F75B-0B6A-AB35-01E682E48C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0" b="4860"/>
          <a:stretch/>
        </p:blipFill>
        <p:spPr>
          <a:xfrm>
            <a:off x="5923937" y="2420797"/>
            <a:ext cx="6268065" cy="4302009"/>
          </a:xfrm>
          <a:custGeom>
            <a:avLst/>
            <a:gdLst/>
            <a:ahLst/>
            <a:cxnLst/>
            <a:rect l="l" t="t" r="r" b="b"/>
            <a:pathLst>
              <a:path w="6006951" h="4203687">
                <a:moveTo>
                  <a:pt x="1041516" y="879"/>
                </a:moveTo>
                <a:cubicBezTo>
                  <a:pt x="1141687" y="5084"/>
                  <a:pt x="1240768" y="23261"/>
                  <a:pt x="1340635" y="31075"/>
                </a:cubicBezTo>
                <a:cubicBezTo>
                  <a:pt x="1435675" y="38571"/>
                  <a:pt x="1530714" y="49499"/>
                  <a:pt x="1626262" y="34506"/>
                </a:cubicBezTo>
                <a:cubicBezTo>
                  <a:pt x="1719980" y="21762"/>
                  <a:pt x="1814765" y="18776"/>
                  <a:pt x="1909093" y="25612"/>
                </a:cubicBezTo>
                <a:cubicBezTo>
                  <a:pt x="2013408" y="30821"/>
                  <a:pt x="2117468" y="48101"/>
                  <a:pt x="2222418" y="33616"/>
                </a:cubicBezTo>
                <a:cubicBezTo>
                  <a:pt x="2235644" y="32269"/>
                  <a:pt x="2248998" y="34010"/>
                  <a:pt x="2261425" y="38699"/>
                </a:cubicBezTo>
                <a:cubicBezTo>
                  <a:pt x="2302223" y="52255"/>
                  <a:pt x="2346173" y="53094"/>
                  <a:pt x="2387466" y="41113"/>
                </a:cubicBezTo>
                <a:cubicBezTo>
                  <a:pt x="2439687" y="27213"/>
                  <a:pt x="2494525" y="26297"/>
                  <a:pt x="2547178" y="38445"/>
                </a:cubicBezTo>
                <a:cubicBezTo>
                  <a:pt x="2625446" y="55470"/>
                  <a:pt x="2703968" y="72242"/>
                  <a:pt x="2785412" y="58266"/>
                </a:cubicBezTo>
                <a:cubicBezTo>
                  <a:pt x="2832805" y="50261"/>
                  <a:pt x="2876767" y="30821"/>
                  <a:pt x="2923524" y="21673"/>
                </a:cubicBezTo>
                <a:cubicBezTo>
                  <a:pt x="3058205" y="-4628"/>
                  <a:pt x="3194158" y="3249"/>
                  <a:pt x="3330110" y="12143"/>
                </a:cubicBezTo>
                <a:cubicBezTo>
                  <a:pt x="3462886" y="20910"/>
                  <a:pt x="3595026" y="38952"/>
                  <a:pt x="3728564" y="36284"/>
                </a:cubicBezTo>
                <a:cubicBezTo>
                  <a:pt x="3756999" y="36500"/>
                  <a:pt x="3785372" y="38876"/>
                  <a:pt x="3813438" y="43400"/>
                </a:cubicBezTo>
                <a:cubicBezTo>
                  <a:pt x="3917626" y="57122"/>
                  <a:pt x="4022322" y="70082"/>
                  <a:pt x="4125366" y="42383"/>
                </a:cubicBezTo>
                <a:cubicBezTo>
                  <a:pt x="4217750" y="17340"/>
                  <a:pt x="4314149" y="10695"/>
                  <a:pt x="4409087" y="22816"/>
                </a:cubicBezTo>
                <a:cubicBezTo>
                  <a:pt x="4534099" y="39194"/>
                  <a:pt x="4660458" y="42777"/>
                  <a:pt x="4786195" y="33489"/>
                </a:cubicBezTo>
                <a:cubicBezTo>
                  <a:pt x="4825659" y="29563"/>
                  <a:pt x="4865339" y="28153"/>
                  <a:pt x="4904994" y="29296"/>
                </a:cubicBezTo>
                <a:cubicBezTo>
                  <a:pt x="5194178" y="42510"/>
                  <a:pt x="5484252" y="25103"/>
                  <a:pt x="5772928" y="55851"/>
                </a:cubicBezTo>
                <a:cubicBezTo>
                  <a:pt x="5818560" y="61232"/>
                  <a:pt x="5864504" y="61626"/>
                  <a:pt x="5909961" y="57111"/>
                </a:cubicBezTo>
                <a:lnTo>
                  <a:pt x="6006951" y="36719"/>
                </a:lnTo>
                <a:lnTo>
                  <a:pt x="6006951" y="4203687"/>
                </a:lnTo>
                <a:lnTo>
                  <a:pt x="11720" y="4203687"/>
                </a:lnTo>
                <a:lnTo>
                  <a:pt x="11786" y="4203489"/>
                </a:lnTo>
                <a:cubicBezTo>
                  <a:pt x="27809" y="3962716"/>
                  <a:pt x="39197" y="3721434"/>
                  <a:pt x="15626" y="3481297"/>
                </a:cubicBezTo>
                <a:cubicBezTo>
                  <a:pt x="-847" y="3334800"/>
                  <a:pt x="-4304" y="3187234"/>
                  <a:pt x="5296" y="3040178"/>
                </a:cubicBezTo>
                <a:cubicBezTo>
                  <a:pt x="11786" y="2956021"/>
                  <a:pt x="18539" y="2871864"/>
                  <a:pt x="22776" y="2787582"/>
                </a:cubicBezTo>
                <a:cubicBezTo>
                  <a:pt x="28180" y="2667690"/>
                  <a:pt x="25173" y="2547584"/>
                  <a:pt x="13771" y="2428074"/>
                </a:cubicBezTo>
                <a:cubicBezTo>
                  <a:pt x="4237" y="2336939"/>
                  <a:pt x="3177" y="2245180"/>
                  <a:pt x="10593" y="2153867"/>
                </a:cubicBezTo>
                <a:cubicBezTo>
                  <a:pt x="25690" y="1998396"/>
                  <a:pt x="9931" y="1842923"/>
                  <a:pt x="5032" y="1687576"/>
                </a:cubicBezTo>
                <a:cubicBezTo>
                  <a:pt x="-3577" y="1401802"/>
                  <a:pt x="20393" y="1116155"/>
                  <a:pt x="9666" y="830380"/>
                </a:cubicBezTo>
                <a:cubicBezTo>
                  <a:pt x="3841" y="689018"/>
                  <a:pt x="16420" y="547783"/>
                  <a:pt x="9666" y="406421"/>
                </a:cubicBezTo>
                <a:cubicBezTo>
                  <a:pt x="4105" y="305866"/>
                  <a:pt x="397" y="205310"/>
                  <a:pt x="4105" y="104628"/>
                </a:cubicBezTo>
                <a:lnTo>
                  <a:pt x="8821" y="33297"/>
                </a:lnTo>
                <a:lnTo>
                  <a:pt x="35743" y="28771"/>
                </a:lnTo>
                <a:cubicBezTo>
                  <a:pt x="151314" y="14091"/>
                  <a:pt x="268377" y="13376"/>
                  <a:pt x="384397" y="26755"/>
                </a:cubicBezTo>
                <a:cubicBezTo>
                  <a:pt x="448561" y="35141"/>
                  <a:pt x="512980" y="47847"/>
                  <a:pt x="578287" y="35141"/>
                </a:cubicBezTo>
                <a:cubicBezTo>
                  <a:pt x="584437" y="34048"/>
                  <a:pt x="590625" y="36818"/>
                  <a:pt x="593916" y="42129"/>
                </a:cubicBezTo>
                <a:cubicBezTo>
                  <a:pt x="626188" y="81517"/>
                  <a:pt x="668117" y="80246"/>
                  <a:pt x="710936" y="67541"/>
                </a:cubicBezTo>
                <a:cubicBezTo>
                  <a:pt x="739041" y="58837"/>
                  <a:pt x="766587" y="48406"/>
                  <a:pt x="793396" y="36284"/>
                </a:cubicBezTo>
                <a:cubicBezTo>
                  <a:pt x="840332" y="16819"/>
                  <a:pt x="890189" y="5308"/>
                  <a:pt x="940911" y="2233"/>
                </a:cubicBezTo>
                <a:cubicBezTo>
                  <a:pt x="974613" y="-372"/>
                  <a:pt x="1008125" y="-522"/>
                  <a:pt x="1041516" y="879"/>
                </a:cubicBez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  <a:defRPr/>
              </a:pPr>
              <a:t>62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7733" y="5917691"/>
            <a:ext cx="1153128" cy="485465"/>
          </a:xfrm>
          <a:prstGeom prst="rect">
            <a:avLst/>
          </a:prstGeom>
        </p:spPr>
      </p:pic>
      <p:pic>
        <p:nvPicPr>
          <p:cNvPr id="6" name="Picture 6" descr="A blue and black square with a curved bracket&#10;&#10;Description automatically generated">
            <a:extLst>
              <a:ext uri="{FF2B5EF4-FFF2-40B4-BE49-F238E27FC236}">
                <a16:creationId xmlns:a16="http://schemas.microsoft.com/office/drawing/2014/main" id="{AC46052D-2C98-2D22-94E5-86655555B1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75054" y="179746"/>
            <a:ext cx="1537826" cy="660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9618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3" name="Rectangle 41">
            <a:extLst>
              <a:ext uri="{FF2B5EF4-FFF2-40B4-BE49-F238E27FC236}">
                <a16:creationId xmlns:a16="http://schemas.microsoft.com/office/drawing/2014/main" id="{955A2079-FA98-4876-80F0-72364A7D2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7188"/>
            <a:ext cx="10515600" cy="113349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Mensajes de ejecución de la herramienta de riesgo</a:t>
            </a:r>
            <a:endParaRPr lang="es-419" sz="3600" kern="1200">
              <a:latin typeface="+mj-lt"/>
              <a:ea typeface="Calibri Light"/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3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01" y="313304"/>
            <a:ext cx="1153128" cy="485465"/>
          </a:xfrm>
          <a:prstGeom prst="rect">
            <a:avLst/>
          </a:prstGeom>
        </p:spPr>
      </p:pic>
      <p:pic>
        <p:nvPicPr>
          <p:cNvPr id="6" name="Picture 6" descr="A blue and black square with a curved bracket&#10;&#10;Description automatically generated">
            <a:extLst>
              <a:ext uri="{FF2B5EF4-FFF2-40B4-BE49-F238E27FC236}">
                <a16:creationId xmlns:a16="http://schemas.microsoft.com/office/drawing/2014/main" id="{AC46052D-2C98-2D22-94E5-86655555B1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75054" y="179746"/>
            <a:ext cx="1537826" cy="660604"/>
          </a:xfrm>
          <a:prstGeom prst="rect">
            <a:avLst/>
          </a:prstGeom>
        </p:spPr>
      </p:pic>
      <p:graphicFrame>
        <p:nvGraphicFramePr>
          <p:cNvPr id="37" name="TextBox 2">
            <a:extLst>
              <a:ext uri="{FF2B5EF4-FFF2-40B4-BE49-F238E27FC236}">
                <a16:creationId xmlns:a16="http://schemas.microsoft.com/office/drawing/2014/main" id="{AF64B2AE-41B8-0CD4-2917-FC151E30CD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7025580"/>
              </p:ext>
            </p:extLst>
          </p:nvPr>
        </p:nvGraphicFramePr>
        <p:xfrm>
          <a:off x="838200" y="1828800"/>
          <a:ext cx="8831826" cy="4340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38" name="Picture 138" descr="A screenshot of a computer&#10;&#10;Description automatically generated">
            <a:extLst>
              <a:ext uri="{FF2B5EF4-FFF2-40B4-BE49-F238E27FC236}">
                <a16:creationId xmlns:a16="http://schemas.microsoft.com/office/drawing/2014/main" id="{379F2708-10CB-53CD-B968-80D5B5C942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34433" y="1672204"/>
            <a:ext cx="4648199" cy="1239883"/>
          </a:xfrm>
          <a:prstGeom prst="rect">
            <a:avLst/>
          </a:prstGeom>
        </p:spPr>
      </p:pic>
      <p:pic>
        <p:nvPicPr>
          <p:cNvPr id="139" name="Picture 139" descr="A screenshot of a computer&#10;&#10;Description automatically generated">
            <a:extLst>
              <a:ext uri="{FF2B5EF4-FFF2-40B4-BE49-F238E27FC236}">
                <a16:creationId xmlns:a16="http://schemas.microsoft.com/office/drawing/2014/main" id="{1162891F-43B8-CFF5-84D6-0D29974079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34433" y="2979593"/>
            <a:ext cx="4648199" cy="898814"/>
          </a:xfrm>
          <a:prstGeom prst="rect">
            <a:avLst/>
          </a:prstGeom>
        </p:spPr>
      </p:pic>
      <p:pic>
        <p:nvPicPr>
          <p:cNvPr id="179" name="Picture 17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5835E806-7D7B-704C-81B3-B88046E90F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37300" y="3945617"/>
            <a:ext cx="4648200" cy="223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8103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3" name="Rectangle 41">
            <a:extLst>
              <a:ext uri="{FF2B5EF4-FFF2-40B4-BE49-F238E27FC236}">
                <a16:creationId xmlns:a16="http://schemas.microsoft.com/office/drawing/2014/main" id="{955A2079-FA98-4876-80F0-72364A7D2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6188"/>
            <a:ext cx="10503310" cy="86311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s-GT" sz="4000"/>
              <a:t>Visualización de resultados</a:t>
            </a:r>
            <a:endParaRPr lang="es-GT" sz="3200">
              <a:cs typeface="Calibri Ligh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4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01" y="313304"/>
            <a:ext cx="1153128" cy="485465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43031A4-804E-DFC7-3164-C5FA86183C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3692" y="936739"/>
            <a:ext cx="7594737" cy="589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26845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o 6. Publicar los resultados en línea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29531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14146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Crear cuenta en </a:t>
            </a:r>
            <a:r>
              <a:rPr lang="es-419" sz="3600" b="1">
                <a:ea typeface="Calibri Light"/>
                <a:cs typeface="Calibri Light"/>
              </a:rPr>
              <a:t>Shinyapps.io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6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D1977C8-FB0A-C861-C386-EF903A32538D}"/>
              </a:ext>
            </a:extLst>
          </p:cNvPr>
          <p:cNvSpPr txBox="1"/>
          <p:nvPr/>
        </p:nvSpPr>
        <p:spPr>
          <a:xfrm>
            <a:off x="399949" y="1308704"/>
            <a:ext cx="6396364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AutoNum type="arabicPeriod"/>
            </a:pPr>
            <a:r>
              <a:rPr lang="es-419" sz="2800">
                <a:cs typeface="Calibri" panose="020F0502020204030204"/>
              </a:rPr>
              <a:t>Ir a </a:t>
            </a:r>
            <a:r>
              <a:rPr lang="es-419" sz="2800">
                <a:solidFill>
                  <a:srgbClr val="000000"/>
                </a:solidFill>
                <a:ea typeface="+mn-lt"/>
                <a:cs typeface="+mn-lt"/>
                <a:hlinkClick r:id="rId4"/>
              </a:rPr>
              <a:t>https://www.shinyapps.io/</a:t>
            </a:r>
            <a:r>
              <a:rPr lang="es-419" sz="2800">
                <a:solidFill>
                  <a:srgbClr val="000000"/>
                </a:solidFill>
                <a:ea typeface="+mn-lt"/>
                <a:cs typeface="+mn-lt"/>
              </a:rPr>
              <a:t> </a:t>
            </a:r>
            <a:endParaRPr lang="es-419" sz="2800">
              <a:solidFill>
                <a:srgbClr val="000000"/>
              </a:solidFill>
            </a:endParaRPr>
          </a:p>
          <a:p>
            <a:pPr marL="342900" indent="-342900">
              <a:buAutoNum type="arabicPeriod"/>
            </a:pPr>
            <a:r>
              <a:rPr lang="es-419" sz="2800">
                <a:cs typeface="Calibri" panose="020F0502020204030204"/>
              </a:rPr>
              <a:t>Crear cuenta con </a:t>
            </a:r>
            <a:r>
              <a:rPr lang="es-419" sz="2800" err="1">
                <a:cs typeface="Calibri" panose="020F0502020204030204"/>
              </a:rPr>
              <a:t>Sign</a:t>
            </a:r>
            <a:r>
              <a:rPr lang="es-419" sz="2800">
                <a:cs typeface="Calibri" panose="020F0502020204030204"/>
              </a:rPr>
              <a:t> Up</a:t>
            </a:r>
          </a:p>
          <a:p>
            <a:pPr marL="914400" lvl="1" indent="-457200">
              <a:buFont typeface="Wingdings"/>
              <a:buChar char="Ø"/>
            </a:pPr>
            <a:r>
              <a:rPr lang="es-419" sz="2800">
                <a:cs typeface="Calibri" panose="020F0502020204030204"/>
              </a:rPr>
              <a:t>Email</a:t>
            </a:r>
          </a:p>
          <a:p>
            <a:pPr marL="914400" lvl="1" indent="-457200">
              <a:buFont typeface="Wingdings"/>
              <a:buChar char="Ø"/>
            </a:pPr>
            <a:r>
              <a:rPr lang="es-419" sz="2800">
                <a:cs typeface="Calibri" panose="020F0502020204030204"/>
              </a:rPr>
              <a:t>Google</a:t>
            </a:r>
          </a:p>
          <a:p>
            <a:pPr marL="914400" lvl="1" indent="-457200">
              <a:buFont typeface="Wingdings"/>
              <a:buChar char="Ø"/>
            </a:pPr>
            <a:endParaRPr lang="es-419" sz="2800">
              <a:cs typeface="Calibri" panose="020F0502020204030204"/>
            </a:endParaRPr>
          </a:p>
        </p:txBody>
      </p:sp>
      <p:pic>
        <p:nvPicPr>
          <p:cNvPr id="12" name="Picture 12" descr="A computer screen with a world map on it&#10;&#10;Description automatically generated">
            <a:extLst>
              <a:ext uri="{FF2B5EF4-FFF2-40B4-BE49-F238E27FC236}">
                <a16:creationId xmlns:a16="http://schemas.microsoft.com/office/drawing/2014/main" id="{CD65D9BA-95C2-2203-ED88-C2F4A35BC8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4289" y="3205647"/>
            <a:ext cx="4817533" cy="3198373"/>
          </a:xfrm>
          <a:prstGeom prst="rect">
            <a:avLst/>
          </a:prstGeom>
        </p:spPr>
      </p:pic>
      <p:pic>
        <p:nvPicPr>
          <p:cNvPr id="13" name="Picture 13" descr="A screenshot of a login form&#10;&#10;Description automatically generated">
            <a:extLst>
              <a:ext uri="{FF2B5EF4-FFF2-40B4-BE49-F238E27FC236}">
                <a16:creationId xmlns:a16="http://schemas.microsoft.com/office/drawing/2014/main" id="{2458BDF4-F0AF-08D2-83A1-DF36ED5F2B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1827" y="567265"/>
            <a:ext cx="3478788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74557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977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Conectar R Studio a </a:t>
            </a:r>
            <a:r>
              <a:rPr lang="es-419" sz="3600" b="1">
                <a:ea typeface="Calibri Light"/>
                <a:cs typeface="Calibri Light"/>
              </a:rPr>
              <a:t>Shinyapps.io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7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2CFC8CB1-7D3D-0B7E-18F3-67486810C3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067" y="813706"/>
            <a:ext cx="10052755" cy="597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2268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977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Conectar R Studio a </a:t>
            </a:r>
            <a:r>
              <a:rPr lang="es-419" sz="3600" b="1">
                <a:ea typeface="Calibri Light"/>
                <a:cs typeface="Calibri Light"/>
              </a:rPr>
              <a:t>Shinyapps.io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8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6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6FF7C5D0-9865-6B4F-4445-CCAB1A2DD3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511" y="950107"/>
            <a:ext cx="9728199" cy="4393340"/>
          </a:xfrm>
          <a:prstGeom prst="rect">
            <a:avLst/>
          </a:prstGeom>
        </p:spPr>
      </p:pic>
      <p:pic>
        <p:nvPicPr>
          <p:cNvPr id="7" name="Picture 7" descr="A screenshot of a computer error&#10;&#10;Description automatically generated">
            <a:extLst>
              <a:ext uri="{FF2B5EF4-FFF2-40B4-BE49-F238E27FC236}">
                <a16:creationId xmlns:a16="http://schemas.microsoft.com/office/drawing/2014/main" id="{A8E40DCB-D984-6710-6209-6E55702A1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289" y="4656578"/>
            <a:ext cx="4831643" cy="189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8938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977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Conectar R Studio a </a:t>
            </a:r>
            <a:r>
              <a:rPr lang="es-419" sz="3600" b="1">
                <a:ea typeface="Calibri Light"/>
                <a:cs typeface="Calibri Light"/>
              </a:rPr>
              <a:t>Shinyapps.io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69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40B288E-10B5-2B7C-9B15-2AF36DD94D58}"/>
              </a:ext>
            </a:extLst>
          </p:cNvPr>
          <p:cNvSpPr txBox="1"/>
          <p:nvPr/>
        </p:nvSpPr>
        <p:spPr>
          <a:xfrm>
            <a:off x="239888" y="945444"/>
            <a:ext cx="10018888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3200">
                <a:cs typeface="Calibri" panose="020F0502020204030204"/>
              </a:rPr>
              <a:t>7. Abrir R Studio</a:t>
            </a:r>
          </a:p>
          <a:p>
            <a:r>
              <a:rPr lang="es-419" sz="3200">
                <a:cs typeface="Calibri" panose="020F0502020204030204"/>
              </a:rPr>
              <a:t>8. En la </a:t>
            </a:r>
            <a:r>
              <a:rPr lang="es-419" sz="3200" b="1">
                <a:cs typeface="Calibri" panose="020F0502020204030204"/>
              </a:rPr>
              <a:t>Consola </a:t>
            </a:r>
            <a:r>
              <a:rPr lang="es-419" sz="3200">
                <a:cs typeface="Calibri" panose="020F0502020204030204"/>
              </a:rPr>
              <a:t>pegar la información copiada en el </a:t>
            </a:r>
            <a:r>
              <a:rPr lang="es-419" sz="4800" b="1">
                <a:solidFill>
                  <a:srgbClr val="5DC716"/>
                </a:solidFill>
                <a:cs typeface="Calibri" panose="020F0502020204030204"/>
              </a:rPr>
              <a:t>6</a:t>
            </a:r>
          </a:p>
          <a:p>
            <a:r>
              <a:rPr lang="es-419" sz="3200">
                <a:cs typeface="Calibri"/>
              </a:rPr>
              <a:t>9. </a:t>
            </a:r>
            <a:r>
              <a:rPr lang="es-419" sz="3200" err="1">
                <a:cs typeface="Calibri"/>
              </a:rPr>
              <a:t>Enter</a:t>
            </a:r>
          </a:p>
        </p:txBody>
      </p:sp>
      <p:pic>
        <p:nvPicPr>
          <p:cNvPr id="7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6267CC0C-BE59-630C-6002-686B2B2DF0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5400" y="2376392"/>
            <a:ext cx="7780866" cy="4391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696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F9E00-B043-118D-4F07-A36E5C2D9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833" y="413318"/>
            <a:ext cx="10515600" cy="824978"/>
          </a:xfrm>
        </p:spPr>
        <p:txBody>
          <a:bodyPr>
            <a:normAutofit/>
          </a:bodyPr>
          <a:lstStyle/>
          <a:p>
            <a:r>
              <a:rPr lang="es-419" sz="3600" b="1">
                <a:latin typeface="Palatino Linotype" panose="02040502050505030304" pitchFamily="18" charset="0"/>
              </a:rPr>
              <a:t>Variables de la herramienta de riesgo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2F1CE02-F407-41C1-20C1-863E9473DA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7209826"/>
              </p:ext>
            </p:extLst>
          </p:nvPr>
        </p:nvGraphicFramePr>
        <p:xfrm>
          <a:off x="345833" y="1132160"/>
          <a:ext cx="11198467" cy="5562555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935347">
                  <a:extLst>
                    <a:ext uri="{9D8B030D-6E8A-4147-A177-3AD203B41FA5}">
                      <a16:colId xmlns:a16="http://schemas.microsoft.com/office/drawing/2014/main" val="4210009648"/>
                    </a:ext>
                  </a:extLst>
                </a:gridCol>
                <a:gridCol w="8263120">
                  <a:extLst>
                    <a:ext uri="{9D8B030D-6E8A-4147-A177-3AD203B41FA5}">
                      <a16:colId xmlns:a16="http://schemas.microsoft.com/office/drawing/2014/main" val="3372710525"/>
                    </a:ext>
                  </a:extLst>
                </a:gridCol>
              </a:tblGrid>
              <a:tr h="553158">
                <a:tc>
                  <a:txBody>
                    <a:bodyPr/>
                    <a:lstStyle/>
                    <a:p>
                      <a:pPr algn="ctr"/>
                      <a:r>
                        <a:rPr lang="es-419" sz="2400" noProof="0"/>
                        <a:t>Categorí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419" sz="2400" noProof="0"/>
                        <a:t>Varia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617961"/>
                  </a:ext>
                </a:extLst>
              </a:tr>
              <a:tr h="774421">
                <a:tc>
                  <a:txBody>
                    <a:bodyPr/>
                    <a:lstStyle/>
                    <a:p>
                      <a:r>
                        <a:rPr lang="es-419" noProof="0"/>
                        <a:t>Inmunidad poblac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419" noProof="0"/>
                        <a:t>Cobertura SRP1, SRP2, % de municipios con cobertura &lt;95%, cobertura de última campaña de seguimiento y % de casos sospechosos no vacunados/desconocid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9642252"/>
                  </a:ext>
                </a:extLst>
              </a:tr>
              <a:tr h="774421">
                <a:tc>
                  <a:txBody>
                    <a:bodyPr/>
                    <a:lstStyle/>
                    <a:p>
                      <a:r>
                        <a:rPr lang="es-419" noProof="0"/>
                        <a:t>Calidad de vigilanc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419" noProof="0"/>
                        <a:t>Tasa de notificación de casos sospechosos, % de casos con investigación adecuada, % de casos con muestra adecuada, % de muestras recibidas en el LA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62179"/>
                  </a:ext>
                </a:extLst>
              </a:tr>
              <a:tr h="774421">
                <a:tc>
                  <a:txBody>
                    <a:bodyPr/>
                    <a:lstStyle/>
                    <a:p>
                      <a:r>
                        <a:rPr lang="es-419" noProof="0"/>
                        <a:t>Desempeño del progr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419" noProof="0"/>
                        <a:t>Tendencia de SRP1 y SRP2 (últimos 5 años), tasa de deserción de SRP1-SPR2; Penta 1-SRP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938231"/>
                  </a:ext>
                </a:extLst>
              </a:tr>
              <a:tr h="448673">
                <a:tc>
                  <a:txBody>
                    <a:bodyPr/>
                    <a:lstStyle/>
                    <a:p>
                      <a:r>
                        <a:rPr lang="es-419" noProof="0"/>
                        <a:t>Grupos vulner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) presencia de población migrante, población interna desplazada, barrios marginales o comunidades indígenas; 2) presencia de una elevada afluencia de turistas o de lugares de destino para el ecoturismo; 3) presencia de problemas de seguridad y protección que dificulten la vacunación de rutina o la investigación epidemiológica de campo; 4) presencia de calamidades o desastres; etc..</a:t>
                      </a:r>
                      <a:endParaRPr lang="es-419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7790115"/>
                  </a:ext>
                </a:extLst>
              </a:tr>
              <a:tr h="448673">
                <a:tc>
                  <a:txBody>
                    <a:bodyPr/>
                    <a:lstStyle/>
                    <a:p>
                      <a:r>
                        <a:rPr lang="es-419" noProof="0"/>
                        <a:t>Evaluación de la amena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419" noProof="0"/>
                        <a:t>Densidad población y grupos vulnera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1678406"/>
                  </a:ext>
                </a:extLst>
              </a:tr>
              <a:tr h="774421">
                <a:tc>
                  <a:txBody>
                    <a:bodyPr/>
                    <a:lstStyle/>
                    <a:p>
                      <a:r>
                        <a:rPr lang="es-419" noProof="0"/>
                        <a:t>Respuesta rápi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419" noProof="0"/>
                        <a:t>Presencia de un equipo de respuesta rápida entrenado a nivel </a:t>
                      </a:r>
                      <a:r>
                        <a:rPr lang="es-419" b="1" noProof="0"/>
                        <a:t>subnacional; </a:t>
                      </a:r>
                      <a:r>
                        <a:rPr lang="es-419" b="0" noProof="0"/>
                        <a:t>% de hospitales con staff entrenado en triaje y aislamiento a nivel </a:t>
                      </a:r>
                      <a:r>
                        <a:rPr lang="es-419" b="1" noProof="0"/>
                        <a:t>subnac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1943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099708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19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2" y="639193"/>
            <a:ext cx="3571810" cy="35735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s-419" sz="4100" kern="1200">
                <a:latin typeface="+mj-lt"/>
                <a:ea typeface="+mj-ea"/>
                <a:cs typeface="+mj-cs"/>
              </a:rPr>
              <a:t>Publicar </a:t>
            </a:r>
            <a:r>
              <a:rPr lang="es-419" sz="4100" kern="1200" err="1">
                <a:latin typeface="+mj-lt"/>
                <a:ea typeface="+mj-ea"/>
                <a:cs typeface="+mj-cs"/>
              </a:rPr>
              <a:t>dashboard</a:t>
            </a:r>
            <a:r>
              <a:rPr lang="es-419" sz="4100" kern="1200">
                <a:latin typeface="+mj-lt"/>
                <a:ea typeface="+mj-ea"/>
                <a:cs typeface="+mj-cs"/>
              </a:rPr>
              <a:t> de resultados en </a:t>
            </a:r>
            <a:r>
              <a:rPr lang="es-419" sz="4100" b="1" kern="1200">
                <a:latin typeface="+mj-lt"/>
                <a:ea typeface="+mj-ea"/>
                <a:cs typeface="+mj-cs"/>
              </a:rPr>
              <a:t>Shinyapps.io</a:t>
            </a:r>
            <a:br>
              <a:rPr lang="es-419" sz="4100" kern="1200"/>
            </a:br>
            <a:endParaRPr lang="es-419" sz="4100" kern="1200">
              <a:latin typeface="+mj-lt"/>
              <a:cs typeface="Calibri Light"/>
            </a:endParaRPr>
          </a:p>
        </p:txBody>
      </p:sp>
      <p:sp>
        <p:nvSpPr>
          <p:cNvPr id="22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7" descr="A computer monitor showing a map&#10;&#10;Description automatically generated">
            <a:extLst>
              <a:ext uri="{FF2B5EF4-FFF2-40B4-BE49-F238E27FC236}">
                <a16:creationId xmlns:a16="http://schemas.microsoft.com/office/drawing/2014/main" id="{2B610C62-2AD2-0FFA-798F-72C68000AB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4163" y="640080"/>
            <a:ext cx="4574881" cy="555040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70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20400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977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Publicar </a:t>
            </a:r>
            <a:r>
              <a:rPr lang="es-419" sz="3600" err="1">
                <a:ea typeface="Calibri Light"/>
                <a:cs typeface="Calibri Light"/>
              </a:rPr>
              <a:t>dashboard</a:t>
            </a:r>
            <a:r>
              <a:rPr lang="es-419" sz="3600">
                <a:ea typeface="Calibri Light"/>
                <a:cs typeface="Calibri Light"/>
              </a:rPr>
              <a:t> de resultados en </a:t>
            </a:r>
            <a:r>
              <a:rPr lang="es-419" sz="3600" b="1">
                <a:ea typeface="Calibri Light"/>
                <a:cs typeface="Calibri Light"/>
              </a:rPr>
              <a:t>Shinyapps.io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71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274157"/>
            <a:ext cx="1153128" cy="485465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1015504D-1E32-457F-95C1-178C20F9E5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399" y="1742648"/>
            <a:ext cx="8373533" cy="19474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3837DC4-1ABC-9B08-7605-D31DA323BA32}"/>
              </a:ext>
            </a:extLst>
          </p:cNvPr>
          <p:cNvSpPr txBox="1"/>
          <p:nvPr/>
        </p:nvSpPr>
        <p:spPr>
          <a:xfrm>
            <a:off x="239888" y="945444"/>
            <a:ext cx="10018888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514350" indent="-514350">
              <a:buAutoNum type="arabicPeriod"/>
            </a:pPr>
            <a:r>
              <a:rPr lang="es-419" sz="3200">
                <a:cs typeface="Calibri"/>
              </a:rPr>
              <a:t>Abrir </a:t>
            </a:r>
            <a:r>
              <a:rPr lang="es-419" sz="3200" b="1" err="1">
                <a:cs typeface="Calibri"/>
              </a:rPr>
              <a:t>app.R</a:t>
            </a:r>
            <a:r>
              <a:rPr lang="es-419" sz="3200">
                <a:cs typeface="Calibri"/>
              </a:rPr>
              <a:t> en R Studio</a:t>
            </a:r>
            <a:endParaRPr lang="en-US">
              <a:cs typeface="Calibri" panose="020F050202020403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5920F4-8746-6148-4472-3E8AAA72E7CA}"/>
              </a:ext>
            </a:extLst>
          </p:cNvPr>
          <p:cNvSpPr txBox="1"/>
          <p:nvPr/>
        </p:nvSpPr>
        <p:spPr>
          <a:xfrm>
            <a:off x="296332" y="4007555"/>
            <a:ext cx="10018888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3200">
                <a:cs typeface="Calibri"/>
              </a:rPr>
              <a:t>2. Hacer clic en botón </a:t>
            </a:r>
          </a:p>
        </p:txBody>
      </p:sp>
      <p:pic>
        <p:nvPicPr>
          <p:cNvPr id="9" name="Picture 9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D351A827-82C6-556D-53CF-7D9725DB068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1953" b="55556"/>
          <a:stretch/>
        </p:blipFill>
        <p:spPr>
          <a:xfrm>
            <a:off x="4625622" y="3897174"/>
            <a:ext cx="5822130" cy="2572266"/>
          </a:xfrm>
          <a:prstGeom prst="rect">
            <a:avLst/>
          </a:prstGeom>
        </p:spPr>
      </p:pic>
      <p:pic>
        <p:nvPicPr>
          <p:cNvPr id="10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4521F8B3-DB7A-8B09-63E0-4518C53BB63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799" t="37379" r="24056" b="46116"/>
          <a:stretch/>
        </p:blipFill>
        <p:spPr>
          <a:xfrm>
            <a:off x="4103511" y="4056926"/>
            <a:ext cx="648349" cy="47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35493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977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Publicar </a:t>
            </a:r>
            <a:r>
              <a:rPr lang="es-419" sz="3600" err="1">
                <a:ea typeface="Calibri Light"/>
                <a:cs typeface="Calibri Light"/>
              </a:rPr>
              <a:t>dashboard</a:t>
            </a:r>
            <a:r>
              <a:rPr lang="es-419" sz="3600">
                <a:ea typeface="Calibri Light"/>
                <a:cs typeface="Calibri Light"/>
              </a:rPr>
              <a:t> de resultados en </a:t>
            </a:r>
            <a:r>
              <a:rPr lang="es-419" sz="3600" b="1">
                <a:ea typeface="Calibri Light"/>
                <a:cs typeface="Calibri Light"/>
              </a:rPr>
              <a:t>Shinyapps.io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72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274157"/>
            <a:ext cx="1153128" cy="48546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3837DC4-1ABC-9B08-7605-D31DA323BA32}"/>
              </a:ext>
            </a:extLst>
          </p:cNvPr>
          <p:cNvSpPr txBox="1"/>
          <p:nvPr/>
        </p:nvSpPr>
        <p:spPr>
          <a:xfrm>
            <a:off x="239888" y="1213555"/>
            <a:ext cx="10018888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2400">
                <a:cs typeface="Calibri"/>
              </a:rPr>
              <a:t>3. Nombrar </a:t>
            </a:r>
            <a:r>
              <a:rPr lang="es-419" sz="2400" err="1">
                <a:cs typeface="Calibri"/>
              </a:rPr>
              <a:t>dashboard</a:t>
            </a:r>
            <a:r>
              <a:rPr lang="es-419" sz="2400">
                <a:cs typeface="Calibri"/>
              </a:rPr>
              <a:t> y publicar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5920F4-8746-6148-4472-3E8AAA72E7CA}"/>
              </a:ext>
            </a:extLst>
          </p:cNvPr>
          <p:cNvSpPr txBox="1"/>
          <p:nvPr/>
        </p:nvSpPr>
        <p:spPr>
          <a:xfrm>
            <a:off x="5616221" y="1213555"/>
            <a:ext cx="345722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419" sz="2400">
                <a:cs typeface="Calibri"/>
              </a:rPr>
              <a:t>4. Esperar publicación.</a:t>
            </a:r>
          </a:p>
        </p:txBody>
      </p:sp>
      <p:pic>
        <p:nvPicPr>
          <p:cNvPr id="6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2C56BA57-F8C5-FE72-325E-AE8FDD9548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065" y="1844452"/>
            <a:ext cx="5057422" cy="3775873"/>
          </a:xfrm>
          <a:prstGeom prst="rect">
            <a:avLst/>
          </a:prstGeom>
        </p:spPr>
      </p:pic>
      <p:pic>
        <p:nvPicPr>
          <p:cNvPr id="11" name="Picture 11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F4E1CA10-DC91-9639-BB8C-1DFBDBD458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68623" y="1639397"/>
            <a:ext cx="6242755" cy="4242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97207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27" y="183822"/>
            <a:ext cx="10555185" cy="9771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sz="3600">
                <a:ea typeface="Calibri Light"/>
                <a:cs typeface="Calibri Light"/>
              </a:rPr>
              <a:t>Ver publicación en línea</a:t>
            </a:r>
            <a:br>
              <a:rPr lang="es-419" sz="3600">
                <a:ea typeface="Calibri Light"/>
                <a:cs typeface="Calibri Light"/>
              </a:rPr>
            </a:br>
            <a:endParaRPr lang="es-419" sz="2700">
              <a:cs typeface="Calibri Light" panose="020F03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822" y="6412794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73</a:t>
            </a:fld>
            <a:endParaRPr lang="en-US"/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274157"/>
            <a:ext cx="1153128" cy="485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EF9A22B-BECF-F8EC-8D2B-C3F935A8E451}"/>
              </a:ext>
            </a:extLst>
          </p:cNvPr>
          <p:cNvSpPr txBox="1"/>
          <p:nvPr/>
        </p:nvSpPr>
        <p:spPr>
          <a:xfrm>
            <a:off x="4769556" y="6180666"/>
            <a:ext cx="45014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b="1">
                <a:solidFill>
                  <a:srgbClr val="C00000"/>
                </a:solidFill>
                <a:cs typeface="Calibri"/>
              </a:rPr>
              <a:t>nombre</a:t>
            </a:r>
            <a:r>
              <a:rPr lang="en-US">
                <a:cs typeface="Calibri"/>
              </a:rPr>
              <a:t>.shinyapps.io/</a:t>
            </a:r>
            <a:r>
              <a:rPr lang="en-US" err="1">
                <a:cs typeface="Calibri"/>
              </a:rPr>
              <a:t>Riesgo_SR</a:t>
            </a:r>
            <a:endParaRPr lang="en-US">
              <a:cs typeface="Calibri"/>
            </a:endParaRP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FE071B9B-B108-7DB3-34A2-9355A8C893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230" y="699864"/>
            <a:ext cx="9078725" cy="566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6280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DCC231C8-C761-4B31-9B1C-C6D19248C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12385-E265-9857-9BFF-2D03305FF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7189"/>
            <a:ext cx="3521619" cy="5543311"/>
          </a:xfrm>
        </p:spPr>
        <p:txBody>
          <a:bodyPr>
            <a:normAutofit/>
          </a:bodyPr>
          <a:lstStyle/>
          <a:p>
            <a:r>
              <a:rPr lang="es-419" b="1"/>
              <a:t>Flujograma para actualizar el </a:t>
            </a:r>
            <a:r>
              <a:rPr lang="es-419" b="1" u="sng">
                <a:solidFill>
                  <a:schemeClr val="accent2"/>
                </a:solidFill>
              </a:rPr>
              <a:t>análisis de riesgo en líne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57BCAC-0BF3-98EF-4FF2-CE2A596B4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n-US"/>
              <a:pPr>
                <a:spcAft>
                  <a:spcPts val="600"/>
                </a:spcAft>
              </a:pPr>
              <a:t>74</a:t>
            </a:fld>
            <a:endParaRPr lang="en-US"/>
          </a:p>
        </p:txBody>
      </p:sp>
      <p:pic>
        <p:nvPicPr>
          <p:cNvPr id="6" name="Picture 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063C05E-F91C-18B6-FA78-08BE57697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3" name="Picture 4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F2C6C123-87F7-16C8-6D5B-4C6239FDCA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561" y="433500"/>
            <a:ext cx="6258232" cy="4921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6185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936FF-F2D7-7A41-847A-D8A9660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79097"/>
            <a:ext cx="10515600" cy="2852737"/>
          </a:xfrm>
        </p:spPr>
        <p:txBody>
          <a:bodyPr/>
          <a:lstStyle/>
          <a:p>
            <a:r>
              <a:rPr lang="es-419" b="1">
                <a:solidFill>
                  <a:schemeClr val="bg1"/>
                </a:solidFill>
                <a:latin typeface="Arial"/>
                <a:cs typeface="Arial"/>
              </a:rPr>
              <a:t>Paso 7. Ejecutar el análisis de riesgo cada añ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D2AF-38F9-E640-9BC5-DEF281EBC7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8269548">
            <a:off x="-913920" y="-638016"/>
            <a:ext cx="2643672" cy="2399981"/>
          </a:xfrm>
          <a:prstGeom prst="rect">
            <a:avLst/>
          </a:prstGeom>
        </p:spPr>
      </p:pic>
      <p:pic>
        <p:nvPicPr>
          <p:cNvPr id="10" name="Picture 9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935D99-5898-C9A6-3BC8-88A0DC3503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6678" y="5706748"/>
            <a:ext cx="1831911" cy="76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70189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DCC231C8-C761-4B31-9B1C-C6D19248C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57BCAC-0BF3-98EF-4FF2-CE2A596B4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1864FEA-1DA4-48A5-8C27-3E4FD55277C5}" type="slidenum">
              <a:rPr lang="en-US"/>
              <a:pPr>
                <a:spcAft>
                  <a:spcPts val="600"/>
                </a:spcAft>
              </a:pPr>
              <a:t>76</a:t>
            </a:fld>
            <a:endParaRPr lang="en-US"/>
          </a:p>
        </p:txBody>
      </p:sp>
      <p:pic>
        <p:nvPicPr>
          <p:cNvPr id="6" name="Picture 5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063C05E-F91C-18B6-FA78-08BE57697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932C6A0C-0A60-9EA0-86F8-742F0C130A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7" y="0"/>
            <a:ext cx="7772400" cy="3449498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3E3C8952-3D6F-81A2-A655-7BB46C9F5B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" y="3168503"/>
            <a:ext cx="7882202" cy="37416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A948E59-3BBF-71E3-A865-959066D862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49865" y="3324996"/>
            <a:ext cx="4117674" cy="264052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4AC3A85-ADAE-5027-2045-48219DB4A01E}"/>
              </a:ext>
            </a:extLst>
          </p:cNvPr>
          <p:cNvSpPr txBox="1"/>
          <p:nvPr/>
        </p:nvSpPr>
        <p:spPr>
          <a:xfrm>
            <a:off x="8174427" y="508336"/>
            <a:ext cx="346854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s-ES_tradnl"/>
              <a:t>Crear copia de la plantilla de datos llena</a:t>
            </a:r>
          </a:p>
          <a:p>
            <a:pPr marL="342900" indent="-342900">
              <a:buFont typeface="+mj-lt"/>
              <a:buAutoNum type="arabicPeriod"/>
            </a:pPr>
            <a:r>
              <a:rPr lang="es-ES_tradnl"/>
              <a:t>Actualizar datos generales</a:t>
            </a:r>
          </a:p>
          <a:p>
            <a:pPr marL="342900" indent="-342900">
              <a:buFont typeface="+mj-lt"/>
              <a:buAutoNum type="arabicPeriod"/>
            </a:pPr>
            <a:r>
              <a:rPr lang="es-ES_tradnl"/>
              <a:t>Reutilizar geocódigos y nombres</a:t>
            </a:r>
          </a:p>
          <a:p>
            <a:pPr marL="342900" indent="-342900">
              <a:buFont typeface="+mj-lt"/>
              <a:buAutoNum type="arabicPeriod"/>
            </a:pPr>
            <a:r>
              <a:rPr lang="es-ES_tradnl"/>
              <a:t>Vaciar información de años previos</a:t>
            </a:r>
          </a:p>
          <a:p>
            <a:pPr marL="342900" indent="-342900">
              <a:buFont typeface="+mj-lt"/>
              <a:buAutoNum type="arabicPeriod"/>
            </a:pPr>
            <a:r>
              <a:rPr lang="es-ES_tradnl"/>
              <a:t>Llenar con información actual</a:t>
            </a:r>
          </a:p>
        </p:txBody>
      </p:sp>
    </p:spTree>
    <p:extLst>
      <p:ext uri="{BB962C8B-B14F-4D97-AF65-F5344CB8AC3E}">
        <p14:creationId xmlns:p14="http://schemas.microsoft.com/office/powerpoint/2010/main" val="6042503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F79C37-8CCA-9748-94BE-094C612DDF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F48CEA-885D-5C4E-A5CD-C931F1E95D6A}" type="slidenum">
              <a:rPr lang="en-US" smtClean="0"/>
              <a:pPr/>
              <a:t>77</a:t>
            </a:fld>
            <a:endParaRPr lang="en-US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417F64E7-5D26-8A4B-9938-A8DFEAC63E21}"/>
              </a:ext>
            </a:extLst>
          </p:cNvPr>
          <p:cNvGrpSpPr>
            <a:grpSpLocks/>
          </p:cNvGrpSpPr>
          <p:nvPr/>
        </p:nvGrpSpPr>
        <p:grpSpPr bwMode="auto">
          <a:xfrm>
            <a:off x="838200" y="5719990"/>
            <a:ext cx="4072898" cy="468937"/>
            <a:chOff x="2933700" y="4378325"/>
            <a:chExt cx="3681413" cy="423863"/>
          </a:xfrm>
          <a:solidFill>
            <a:schemeClr val="bg1"/>
          </a:solidFill>
        </p:grpSpPr>
        <p:sp>
          <p:nvSpPr>
            <p:cNvPr id="9" name="Freeform 140">
              <a:extLst>
                <a:ext uri="{FF2B5EF4-FFF2-40B4-BE49-F238E27FC236}">
                  <a16:creationId xmlns:a16="http://schemas.microsoft.com/office/drawing/2014/main" id="{5BA460BF-439D-9F43-9F6F-8DE80F2B4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8963" y="4395788"/>
              <a:ext cx="336550" cy="336550"/>
            </a:xfrm>
            <a:custGeom>
              <a:avLst/>
              <a:gdLst>
                <a:gd name="T0" fmla="*/ 0 w 935"/>
                <a:gd name="T1" fmla="*/ 168095 h 933"/>
                <a:gd name="T2" fmla="*/ 167735 w 935"/>
                <a:gd name="T3" fmla="*/ 0 h 933"/>
                <a:gd name="T4" fmla="*/ 335470 w 935"/>
                <a:gd name="T5" fmla="*/ 168095 h 933"/>
                <a:gd name="T6" fmla="*/ 167735 w 935"/>
                <a:gd name="T7" fmla="*/ 336189 h 933"/>
                <a:gd name="T8" fmla="*/ 0 w 935"/>
                <a:gd name="T9" fmla="*/ 168095 h 933"/>
                <a:gd name="T10" fmla="*/ 7559 w 935"/>
                <a:gd name="T11" fmla="*/ 168095 h 933"/>
                <a:gd name="T12" fmla="*/ 167735 w 935"/>
                <a:gd name="T13" fmla="*/ 328614 h 933"/>
                <a:gd name="T14" fmla="*/ 327911 w 935"/>
                <a:gd name="T15" fmla="*/ 168095 h 933"/>
                <a:gd name="T16" fmla="*/ 167735 w 935"/>
                <a:gd name="T17" fmla="*/ 7575 h 933"/>
                <a:gd name="T18" fmla="*/ 7559 w 935"/>
                <a:gd name="T19" fmla="*/ 168095 h 9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5" h="933">
                  <a:moveTo>
                    <a:pt x="0" y="466"/>
                  </a:moveTo>
                  <a:cubicBezTo>
                    <a:pt x="0" y="209"/>
                    <a:pt x="209" y="0"/>
                    <a:pt x="466" y="0"/>
                  </a:cubicBezTo>
                  <a:cubicBezTo>
                    <a:pt x="723" y="0"/>
                    <a:pt x="932" y="209"/>
                    <a:pt x="932" y="466"/>
                  </a:cubicBezTo>
                  <a:cubicBezTo>
                    <a:pt x="934" y="723"/>
                    <a:pt x="725" y="932"/>
                    <a:pt x="466" y="932"/>
                  </a:cubicBezTo>
                  <a:cubicBezTo>
                    <a:pt x="209" y="932"/>
                    <a:pt x="0" y="723"/>
                    <a:pt x="0" y="466"/>
                  </a:cubicBezTo>
                  <a:close/>
                  <a:moveTo>
                    <a:pt x="21" y="466"/>
                  </a:moveTo>
                  <a:cubicBezTo>
                    <a:pt x="21" y="713"/>
                    <a:pt x="219" y="911"/>
                    <a:pt x="466" y="911"/>
                  </a:cubicBezTo>
                  <a:cubicBezTo>
                    <a:pt x="712" y="911"/>
                    <a:pt x="911" y="713"/>
                    <a:pt x="911" y="466"/>
                  </a:cubicBezTo>
                  <a:cubicBezTo>
                    <a:pt x="913" y="220"/>
                    <a:pt x="712" y="21"/>
                    <a:pt x="466" y="21"/>
                  </a:cubicBezTo>
                  <a:cubicBezTo>
                    <a:pt x="219" y="21"/>
                    <a:pt x="21" y="220"/>
                    <a:pt x="21" y="46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Freeform 141">
              <a:extLst>
                <a:ext uri="{FF2B5EF4-FFF2-40B4-BE49-F238E27FC236}">
                  <a16:creationId xmlns:a16="http://schemas.microsoft.com/office/drawing/2014/main" id="{658DA8B2-0C52-C64E-9A2D-241AFBD602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825" y="4440238"/>
              <a:ext cx="250825" cy="244475"/>
            </a:xfrm>
            <a:custGeom>
              <a:avLst/>
              <a:gdLst>
                <a:gd name="T0" fmla="*/ 0 w 697"/>
                <a:gd name="T1" fmla="*/ 122057 h 679"/>
                <a:gd name="T2" fmla="*/ 124873 w 697"/>
                <a:gd name="T3" fmla="*/ 0 h 679"/>
                <a:gd name="T4" fmla="*/ 249745 w 697"/>
                <a:gd name="T5" fmla="*/ 122057 h 679"/>
                <a:gd name="T6" fmla="*/ 124873 w 697"/>
                <a:gd name="T7" fmla="*/ 244115 h 679"/>
                <a:gd name="T8" fmla="*/ 0 w 697"/>
                <a:gd name="T9" fmla="*/ 122057 h 679"/>
                <a:gd name="T10" fmla="*/ 8637 w 697"/>
                <a:gd name="T11" fmla="*/ 122778 h 679"/>
                <a:gd name="T12" fmla="*/ 124873 w 697"/>
                <a:gd name="T13" fmla="*/ 236194 h 679"/>
                <a:gd name="T14" fmla="*/ 241109 w 697"/>
                <a:gd name="T15" fmla="*/ 122778 h 679"/>
                <a:gd name="T16" fmla="*/ 124873 w 697"/>
                <a:gd name="T17" fmla="*/ 9361 h 679"/>
                <a:gd name="T18" fmla="*/ 8637 w 697"/>
                <a:gd name="T19" fmla="*/ 122778 h 67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97" h="679">
                  <a:moveTo>
                    <a:pt x="0" y="339"/>
                  </a:moveTo>
                  <a:cubicBezTo>
                    <a:pt x="0" y="153"/>
                    <a:pt x="156" y="0"/>
                    <a:pt x="347" y="0"/>
                  </a:cubicBezTo>
                  <a:cubicBezTo>
                    <a:pt x="537" y="0"/>
                    <a:pt x="694" y="151"/>
                    <a:pt x="694" y="339"/>
                  </a:cubicBezTo>
                  <a:cubicBezTo>
                    <a:pt x="696" y="527"/>
                    <a:pt x="540" y="678"/>
                    <a:pt x="347" y="678"/>
                  </a:cubicBezTo>
                  <a:cubicBezTo>
                    <a:pt x="156" y="678"/>
                    <a:pt x="0" y="527"/>
                    <a:pt x="0" y="339"/>
                  </a:cubicBezTo>
                  <a:close/>
                  <a:moveTo>
                    <a:pt x="24" y="341"/>
                  </a:moveTo>
                  <a:cubicBezTo>
                    <a:pt x="24" y="513"/>
                    <a:pt x="169" y="656"/>
                    <a:pt x="347" y="656"/>
                  </a:cubicBezTo>
                  <a:cubicBezTo>
                    <a:pt x="524" y="656"/>
                    <a:pt x="670" y="516"/>
                    <a:pt x="670" y="341"/>
                  </a:cubicBezTo>
                  <a:cubicBezTo>
                    <a:pt x="672" y="166"/>
                    <a:pt x="527" y="26"/>
                    <a:pt x="347" y="26"/>
                  </a:cubicBezTo>
                  <a:cubicBezTo>
                    <a:pt x="169" y="26"/>
                    <a:pt x="24" y="166"/>
                    <a:pt x="24" y="34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142">
              <a:extLst>
                <a:ext uri="{FF2B5EF4-FFF2-40B4-BE49-F238E27FC236}">
                  <a16:creationId xmlns:a16="http://schemas.microsoft.com/office/drawing/2014/main" id="{81C9849F-81FE-F149-A159-7E0A68884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775" y="4505325"/>
              <a:ext cx="20638" cy="20638"/>
            </a:xfrm>
            <a:custGeom>
              <a:avLst/>
              <a:gdLst>
                <a:gd name="T0" fmla="*/ 10144 w 59"/>
                <a:gd name="T1" fmla="*/ 0 h 56"/>
                <a:gd name="T2" fmla="*/ 12942 w 59"/>
                <a:gd name="T3" fmla="*/ 7739 h 56"/>
                <a:gd name="T4" fmla="*/ 20288 w 59"/>
                <a:gd name="T5" fmla="*/ 7739 h 56"/>
                <a:gd name="T6" fmla="*/ 14691 w 59"/>
                <a:gd name="T7" fmla="*/ 12530 h 56"/>
                <a:gd name="T8" fmla="*/ 16440 w 59"/>
                <a:gd name="T9" fmla="*/ 20269 h 56"/>
                <a:gd name="T10" fmla="*/ 10144 w 59"/>
                <a:gd name="T11" fmla="*/ 14373 h 56"/>
                <a:gd name="T12" fmla="*/ 3498 w 59"/>
                <a:gd name="T13" fmla="*/ 20269 h 56"/>
                <a:gd name="T14" fmla="*/ 6296 w 59"/>
                <a:gd name="T15" fmla="*/ 12530 h 56"/>
                <a:gd name="T16" fmla="*/ 0 w 59"/>
                <a:gd name="T17" fmla="*/ 7739 h 56"/>
                <a:gd name="T18" fmla="*/ 7346 w 59"/>
                <a:gd name="T19" fmla="*/ 7739 h 56"/>
                <a:gd name="T20" fmla="*/ 10144 w 59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56">
                  <a:moveTo>
                    <a:pt x="29" y="0"/>
                  </a:moveTo>
                  <a:lnTo>
                    <a:pt x="37" y="21"/>
                  </a:lnTo>
                  <a:lnTo>
                    <a:pt x="58" y="21"/>
                  </a:lnTo>
                  <a:lnTo>
                    <a:pt x="42" y="34"/>
                  </a:lnTo>
                  <a:lnTo>
                    <a:pt x="47" y="55"/>
                  </a:lnTo>
                  <a:lnTo>
                    <a:pt x="29" y="39"/>
                  </a:lnTo>
                  <a:lnTo>
                    <a:pt x="10" y="55"/>
                  </a:lnTo>
                  <a:lnTo>
                    <a:pt x="18" y="34"/>
                  </a:lnTo>
                  <a:lnTo>
                    <a:pt x="0" y="21"/>
                  </a:lnTo>
                  <a:lnTo>
                    <a:pt x="21" y="21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143">
              <a:extLst>
                <a:ext uri="{FF2B5EF4-FFF2-40B4-BE49-F238E27FC236}">
                  <a16:creationId xmlns:a16="http://schemas.microsoft.com/office/drawing/2014/main" id="{CC5BE919-834C-494B-8615-0E397ECB7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188" y="4502150"/>
              <a:ext cx="25400" cy="23813"/>
            </a:xfrm>
            <a:custGeom>
              <a:avLst/>
              <a:gdLst>
                <a:gd name="T0" fmla="*/ 20320 w 70"/>
                <a:gd name="T1" fmla="*/ 23447 h 65"/>
                <a:gd name="T2" fmla="*/ 12700 w 70"/>
                <a:gd name="T3" fmla="*/ 16486 h 65"/>
                <a:gd name="T4" fmla="*/ 5806 w 70"/>
                <a:gd name="T5" fmla="*/ 22348 h 65"/>
                <a:gd name="T6" fmla="*/ 4717 w 70"/>
                <a:gd name="T7" fmla="*/ 22348 h 65"/>
                <a:gd name="T8" fmla="*/ 7620 w 70"/>
                <a:gd name="T9" fmla="*/ 14654 h 65"/>
                <a:gd name="T10" fmla="*/ 0 w 70"/>
                <a:gd name="T11" fmla="*/ 9892 h 65"/>
                <a:gd name="T12" fmla="*/ 9797 w 70"/>
                <a:gd name="T13" fmla="*/ 9892 h 65"/>
                <a:gd name="T14" fmla="*/ 13426 w 70"/>
                <a:gd name="T15" fmla="*/ 0 h 65"/>
                <a:gd name="T16" fmla="*/ 16329 w 70"/>
                <a:gd name="T17" fmla="*/ 9892 h 65"/>
                <a:gd name="T18" fmla="*/ 25037 w 70"/>
                <a:gd name="T19" fmla="*/ 9892 h 65"/>
                <a:gd name="T20" fmla="*/ 18506 w 70"/>
                <a:gd name="T21" fmla="*/ 14654 h 65"/>
                <a:gd name="T22" fmla="*/ 20320 w 70"/>
                <a:gd name="T23" fmla="*/ 23447 h 65"/>
                <a:gd name="T24" fmla="*/ 2903 w 70"/>
                <a:gd name="T25" fmla="*/ 10991 h 65"/>
                <a:gd name="T26" fmla="*/ 8709 w 70"/>
                <a:gd name="T27" fmla="*/ 14654 h 65"/>
                <a:gd name="T28" fmla="*/ 6894 w 70"/>
                <a:gd name="T29" fmla="*/ 21615 h 65"/>
                <a:gd name="T30" fmla="*/ 12700 w 70"/>
                <a:gd name="T31" fmla="*/ 15753 h 65"/>
                <a:gd name="T32" fmla="*/ 18506 w 70"/>
                <a:gd name="T33" fmla="*/ 20516 h 65"/>
                <a:gd name="T34" fmla="*/ 16329 w 70"/>
                <a:gd name="T35" fmla="*/ 14654 h 65"/>
                <a:gd name="T36" fmla="*/ 21409 w 70"/>
                <a:gd name="T37" fmla="*/ 10991 h 65"/>
                <a:gd name="T38" fmla="*/ 14514 w 70"/>
                <a:gd name="T39" fmla="*/ 10991 h 65"/>
                <a:gd name="T40" fmla="*/ 12700 w 70"/>
                <a:gd name="T41" fmla="*/ 2931 h 65"/>
                <a:gd name="T42" fmla="*/ 9797 w 70"/>
                <a:gd name="T43" fmla="*/ 10991 h 65"/>
                <a:gd name="T44" fmla="*/ 2903 w 70"/>
                <a:gd name="T45" fmla="*/ 10991 h 6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0" h="65">
                  <a:moveTo>
                    <a:pt x="56" y="64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7" y="27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9" y="27"/>
                  </a:lnTo>
                  <a:lnTo>
                    <a:pt x="51" y="40"/>
                  </a:lnTo>
                  <a:lnTo>
                    <a:pt x="56" y="64"/>
                  </a:lnTo>
                  <a:close/>
                  <a:moveTo>
                    <a:pt x="8" y="30"/>
                  </a:moveTo>
                  <a:lnTo>
                    <a:pt x="24" y="40"/>
                  </a:lnTo>
                  <a:lnTo>
                    <a:pt x="19" y="59"/>
                  </a:lnTo>
                  <a:lnTo>
                    <a:pt x="35" y="43"/>
                  </a:lnTo>
                  <a:lnTo>
                    <a:pt x="51" y="56"/>
                  </a:lnTo>
                  <a:lnTo>
                    <a:pt x="45" y="40"/>
                  </a:lnTo>
                  <a:lnTo>
                    <a:pt x="59" y="30"/>
                  </a:lnTo>
                  <a:lnTo>
                    <a:pt x="40" y="30"/>
                  </a:lnTo>
                  <a:lnTo>
                    <a:pt x="35" y="8"/>
                  </a:lnTo>
                  <a:lnTo>
                    <a:pt x="27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144">
              <a:extLst>
                <a:ext uri="{FF2B5EF4-FFF2-40B4-BE49-F238E27FC236}">
                  <a16:creationId xmlns:a16="http://schemas.microsoft.com/office/drawing/2014/main" id="{55B6735D-69D0-CF4B-811D-087573E9E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63" y="4621213"/>
              <a:ext cx="22225" cy="20637"/>
            </a:xfrm>
            <a:custGeom>
              <a:avLst/>
              <a:gdLst>
                <a:gd name="T0" fmla="*/ 11471 w 62"/>
                <a:gd name="T1" fmla="*/ 0 h 56"/>
                <a:gd name="T2" fmla="*/ 13263 w 62"/>
                <a:gd name="T3" fmla="*/ 7739 h 56"/>
                <a:gd name="T4" fmla="*/ 21867 w 62"/>
                <a:gd name="T5" fmla="*/ 7739 h 56"/>
                <a:gd name="T6" fmla="*/ 16131 w 62"/>
                <a:gd name="T7" fmla="*/ 12530 h 56"/>
                <a:gd name="T8" fmla="*/ 18282 w 62"/>
                <a:gd name="T9" fmla="*/ 20268 h 56"/>
                <a:gd name="T10" fmla="*/ 11471 w 62"/>
                <a:gd name="T11" fmla="*/ 14741 h 56"/>
                <a:gd name="T12" fmla="*/ 4660 w 62"/>
                <a:gd name="T13" fmla="*/ 20268 h 56"/>
                <a:gd name="T14" fmla="*/ 6811 w 62"/>
                <a:gd name="T15" fmla="*/ 12530 h 56"/>
                <a:gd name="T16" fmla="*/ 0 w 62"/>
                <a:gd name="T17" fmla="*/ 7739 h 56"/>
                <a:gd name="T18" fmla="*/ 8603 w 62"/>
                <a:gd name="T19" fmla="*/ 7739 h 56"/>
                <a:gd name="T20" fmla="*/ 11471 w 62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2" h="56">
                  <a:moveTo>
                    <a:pt x="32" y="0"/>
                  </a:moveTo>
                  <a:lnTo>
                    <a:pt x="37" y="21"/>
                  </a:lnTo>
                  <a:lnTo>
                    <a:pt x="61" y="21"/>
                  </a:lnTo>
                  <a:lnTo>
                    <a:pt x="45" y="34"/>
                  </a:lnTo>
                  <a:lnTo>
                    <a:pt x="51" y="55"/>
                  </a:lnTo>
                  <a:lnTo>
                    <a:pt x="32" y="40"/>
                  </a:lnTo>
                  <a:lnTo>
                    <a:pt x="13" y="55"/>
                  </a:lnTo>
                  <a:lnTo>
                    <a:pt x="19" y="34"/>
                  </a:lnTo>
                  <a:lnTo>
                    <a:pt x="0" y="21"/>
                  </a:lnTo>
                  <a:lnTo>
                    <a:pt x="24" y="21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145">
              <a:extLst>
                <a:ext uri="{FF2B5EF4-FFF2-40B4-BE49-F238E27FC236}">
                  <a16:creationId xmlns:a16="http://schemas.microsoft.com/office/drawing/2014/main" id="{0D76A68A-6F57-7B48-85DD-ED7892609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63" y="4619625"/>
              <a:ext cx="25400" cy="23813"/>
            </a:xfrm>
            <a:custGeom>
              <a:avLst/>
              <a:gdLst>
                <a:gd name="T0" fmla="*/ 20246 w 69"/>
                <a:gd name="T1" fmla="*/ 23447 h 65"/>
                <a:gd name="T2" fmla="*/ 12516 w 69"/>
                <a:gd name="T3" fmla="*/ 16852 h 65"/>
                <a:gd name="T4" fmla="*/ 5522 w 69"/>
                <a:gd name="T5" fmla="*/ 22348 h 65"/>
                <a:gd name="T6" fmla="*/ 4786 w 69"/>
                <a:gd name="T7" fmla="*/ 22348 h 65"/>
                <a:gd name="T8" fmla="*/ 7730 w 69"/>
                <a:gd name="T9" fmla="*/ 14654 h 65"/>
                <a:gd name="T10" fmla="*/ 0 w 69"/>
                <a:gd name="T11" fmla="*/ 9892 h 65"/>
                <a:gd name="T12" fmla="*/ 9571 w 69"/>
                <a:gd name="T13" fmla="*/ 9892 h 65"/>
                <a:gd name="T14" fmla="*/ 13620 w 69"/>
                <a:gd name="T15" fmla="*/ 0 h 65"/>
                <a:gd name="T16" fmla="*/ 16565 w 69"/>
                <a:gd name="T17" fmla="*/ 9892 h 65"/>
                <a:gd name="T18" fmla="*/ 25032 w 69"/>
                <a:gd name="T19" fmla="*/ 9892 h 65"/>
                <a:gd name="T20" fmla="*/ 18406 w 69"/>
                <a:gd name="T21" fmla="*/ 14654 h 65"/>
                <a:gd name="T22" fmla="*/ 20246 w 69"/>
                <a:gd name="T23" fmla="*/ 23447 h 65"/>
                <a:gd name="T24" fmla="*/ 2945 w 69"/>
                <a:gd name="T25" fmla="*/ 10991 h 65"/>
                <a:gd name="T26" fmla="*/ 8467 w 69"/>
                <a:gd name="T27" fmla="*/ 14654 h 65"/>
                <a:gd name="T28" fmla="*/ 6626 w 69"/>
                <a:gd name="T29" fmla="*/ 21615 h 65"/>
                <a:gd name="T30" fmla="*/ 12516 w 69"/>
                <a:gd name="T31" fmla="*/ 15753 h 65"/>
                <a:gd name="T32" fmla="*/ 18406 w 69"/>
                <a:gd name="T33" fmla="*/ 20516 h 65"/>
                <a:gd name="T34" fmla="*/ 16565 w 69"/>
                <a:gd name="T35" fmla="*/ 14654 h 65"/>
                <a:gd name="T36" fmla="*/ 21351 w 69"/>
                <a:gd name="T37" fmla="*/ 10991 h 65"/>
                <a:gd name="T38" fmla="*/ 14357 w 69"/>
                <a:gd name="T39" fmla="*/ 10991 h 65"/>
                <a:gd name="T40" fmla="*/ 12516 w 69"/>
                <a:gd name="T41" fmla="*/ 2931 h 65"/>
                <a:gd name="T42" fmla="*/ 9571 w 69"/>
                <a:gd name="T43" fmla="*/ 10991 h 65"/>
                <a:gd name="T44" fmla="*/ 2945 w 69"/>
                <a:gd name="T45" fmla="*/ 10991 h 6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9" h="65">
                  <a:moveTo>
                    <a:pt x="55" y="64"/>
                  </a:moveTo>
                  <a:lnTo>
                    <a:pt x="34" y="46"/>
                  </a:lnTo>
                  <a:lnTo>
                    <a:pt x="15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6" y="27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8" y="27"/>
                  </a:lnTo>
                  <a:lnTo>
                    <a:pt x="50" y="40"/>
                  </a:lnTo>
                  <a:lnTo>
                    <a:pt x="55" y="64"/>
                  </a:lnTo>
                  <a:close/>
                  <a:moveTo>
                    <a:pt x="8" y="30"/>
                  </a:moveTo>
                  <a:lnTo>
                    <a:pt x="23" y="40"/>
                  </a:lnTo>
                  <a:lnTo>
                    <a:pt x="18" y="59"/>
                  </a:lnTo>
                  <a:lnTo>
                    <a:pt x="34" y="43"/>
                  </a:lnTo>
                  <a:lnTo>
                    <a:pt x="50" y="56"/>
                  </a:lnTo>
                  <a:lnTo>
                    <a:pt x="45" y="40"/>
                  </a:lnTo>
                  <a:lnTo>
                    <a:pt x="58" y="30"/>
                  </a:lnTo>
                  <a:lnTo>
                    <a:pt x="39" y="30"/>
                  </a:lnTo>
                  <a:lnTo>
                    <a:pt x="34" y="8"/>
                  </a:lnTo>
                  <a:lnTo>
                    <a:pt x="26" y="30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146">
              <a:extLst>
                <a:ext uri="{FF2B5EF4-FFF2-40B4-BE49-F238E27FC236}">
                  <a16:creationId xmlns:a16="http://schemas.microsoft.com/office/drawing/2014/main" id="{3A5810CB-8665-F647-AEB8-A896BC7E9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2300" y="4619625"/>
              <a:ext cx="22225" cy="20638"/>
            </a:xfrm>
            <a:custGeom>
              <a:avLst/>
              <a:gdLst>
                <a:gd name="T0" fmla="*/ 11113 w 60"/>
                <a:gd name="T1" fmla="*/ 0 h 57"/>
                <a:gd name="T2" fmla="*/ 13705 w 60"/>
                <a:gd name="T3" fmla="*/ 7966 h 57"/>
                <a:gd name="T4" fmla="*/ 21855 w 60"/>
                <a:gd name="T5" fmla="*/ 7966 h 57"/>
                <a:gd name="T6" fmla="*/ 15928 w 60"/>
                <a:gd name="T7" fmla="*/ 12672 h 57"/>
                <a:gd name="T8" fmla="*/ 17780 w 60"/>
                <a:gd name="T9" fmla="*/ 20276 h 57"/>
                <a:gd name="T10" fmla="*/ 11113 w 60"/>
                <a:gd name="T11" fmla="*/ 14483 h 57"/>
                <a:gd name="T12" fmla="*/ 4075 w 60"/>
                <a:gd name="T13" fmla="*/ 20276 h 57"/>
                <a:gd name="T14" fmla="*/ 7038 w 60"/>
                <a:gd name="T15" fmla="*/ 12672 h 57"/>
                <a:gd name="T16" fmla="*/ 0 w 60"/>
                <a:gd name="T17" fmla="*/ 7966 h 57"/>
                <a:gd name="T18" fmla="*/ 8149 w 60"/>
                <a:gd name="T19" fmla="*/ 8690 h 57"/>
                <a:gd name="T20" fmla="*/ 11113 w 60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7">
                  <a:moveTo>
                    <a:pt x="30" y="0"/>
                  </a:moveTo>
                  <a:lnTo>
                    <a:pt x="37" y="22"/>
                  </a:lnTo>
                  <a:lnTo>
                    <a:pt x="59" y="22"/>
                  </a:lnTo>
                  <a:lnTo>
                    <a:pt x="43" y="35"/>
                  </a:lnTo>
                  <a:lnTo>
                    <a:pt x="48" y="56"/>
                  </a:lnTo>
                  <a:lnTo>
                    <a:pt x="30" y="40"/>
                  </a:lnTo>
                  <a:lnTo>
                    <a:pt x="11" y="56"/>
                  </a:lnTo>
                  <a:lnTo>
                    <a:pt x="19" y="35"/>
                  </a:lnTo>
                  <a:lnTo>
                    <a:pt x="0" y="22"/>
                  </a:lnTo>
                  <a:lnTo>
                    <a:pt x="22" y="24"/>
                  </a:lnTo>
                  <a:lnTo>
                    <a:pt x="3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147">
              <a:extLst>
                <a:ext uri="{FF2B5EF4-FFF2-40B4-BE49-F238E27FC236}">
                  <a16:creationId xmlns:a16="http://schemas.microsoft.com/office/drawing/2014/main" id="{E9C0AFC6-2173-AA49-BF23-3BD76D276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125" y="4618038"/>
              <a:ext cx="25400" cy="23812"/>
            </a:xfrm>
            <a:custGeom>
              <a:avLst/>
              <a:gdLst>
                <a:gd name="T0" fmla="*/ 20320 w 70"/>
                <a:gd name="T1" fmla="*/ 23446 h 65"/>
                <a:gd name="T2" fmla="*/ 12700 w 70"/>
                <a:gd name="T3" fmla="*/ 16485 h 65"/>
                <a:gd name="T4" fmla="*/ 5806 w 70"/>
                <a:gd name="T5" fmla="*/ 22347 h 65"/>
                <a:gd name="T6" fmla="*/ 4717 w 70"/>
                <a:gd name="T7" fmla="*/ 22347 h 65"/>
                <a:gd name="T8" fmla="*/ 7620 w 70"/>
                <a:gd name="T9" fmla="*/ 14654 h 65"/>
                <a:gd name="T10" fmla="*/ 0 w 70"/>
                <a:gd name="T11" fmla="*/ 9891 h 65"/>
                <a:gd name="T12" fmla="*/ 9797 w 70"/>
                <a:gd name="T13" fmla="*/ 9891 h 65"/>
                <a:gd name="T14" fmla="*/ 13426 w 70"/>
                <a:gd name="T15" fmla="*/ 0 h 65"/>
                <a:gd name="T16" fmla="*/ 16329 w 70"/>
                <a:gd name="T17" fmla="*/ 9891 h 65"/>
                <a:gd name="T18" fmla="*/ 25037 w 70"/>
                <a:gd name="T19" fmla="*/ 9891 h 65"/>
                <a:gd name="T20" fmla="*/ 18143 w 70"/>
                <a:gd name="T21" fmla="*/ 14654 h 65"/>
                <a:gd name="T22" fmla="*/ 20320 w 70"/>
                <a:gd name="T23" fmla="*/ 23446 h 65"/>
                <a:gd name="T24" fmla="*/ 2903 w 70"/>
                <a:gd name="T25" fmla="*/ 10624 h 65"/>
                <a:gd name="T26" fmla="*/ 8709 w 70"/>
                <a:gd name="T27" fmla="*/ 14654 h 65"/>
                <a:gd name="T28" fmla="*/ 6894 w 70"/>
                <a:gd name="T29" fmla="*/ 21248 h 65"/>
                <a:gd name="T30" fmla="*/ 12700 w 70"/>
                <a:gd name="T31" fmla="*/ 15753 h 65"/>
                <a:gd name="T32" fmla="*/ 18143 w 70"/>
                <a:gd name="T33" fmla="*/ 20515 h 65"/>
                <a:gd name="T34" fmla="*/ 16329 w 70"/>
                <a:gd name="T35" fmla="*/ 14654 h 65"/>
                <a:gd name="T36" fmla="*/ 21046 w 70"/>
                <a:gd name="T37" fmla="*/ 10624 h 65"/>
                <a:gd name="T38" fmla="*/ 14514 w 70"/>
                <a:gd name="T39" fmla="*/ 10624 h 65"/>
                <a:gd name="T40" fmla="*/ 12700 w 70"/>
                <a:gd name="T41" fmla="*/ 2931 h 65"/>
                <a:gd name="T42" fmla="*/ 9797 w 70"/>
                <a:gd name="T43" fmla="*/ 10624 h 65"/>
                <a:gd name="T44" fmla="*/ 2903 w 70"/>
                <a:gd name="T45" fmla="*/ 10624 h 6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0" h="65">
                  <a:moveTo>
                    <a:pt x="56" y="64"/>
                  </a:moveTo>
                  <a:lnTo>
                    <a:pt x="35" y="45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27" y="27"/>
                  </a:lnTo>
                  <a:lnTo>
                    <a:pt x="37" y="0"/>
                  </a:lnTo>
                  <a:lnTo>
                    <a:pt x="45" y="27"/>
                  </a:lnTo>
                  <a:lnTo>
                    <a:pt x="69" y="27"/>
                  </a:lnTo>
                  <a:lnTo>
                    <a:pt x="50" y="40"/>
                  </a:lnTo>
                  <a:lnTo>
                    <a:pt x="56" y="64"/>
                  </a:lnTo>
                  <a:close/>
                  <a:moveTo>
                    <a:pt x="8" y="29"/>
                  </a:moveTo>
                  <a:lnTo>
                    <a:pt x="24" y="40"/>
                  </a:lnTo>
                  <a:lnTo>
                    <a:pt x="19" y="58"/>
                  </a:lnTo>
                  <a:lnTo>
                    <a:pt x="35" y="43"/>
                  </a:lnTo>
                  <a:lnTo>
                    <a:pt x="50" y="56"/>
                  </a:lnTo>
                  <a:lnTo>
                    <a:pt x="45" y="40"/>
                  </a:lnTo>
                  <a:lnTo>
                    <a:pt x="58" y="29"/>
                  </a:lnTo>
                  <a:lnTo>
                    <a:pt x="40" y="29"/>
                  </a:lnTo>
                  <a:lnTo>
                    <a:pt x="35" y="8"/>
                  </a:lnTo>
                  <a:lnTo>
                    <a:pt x="27" y="29"/>
                  </a:lnTo>
                  <a:lnTo>
                    <a:pt x="8" y="2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148">
              <a:extLst>
                <a:ext uri="{FF2B5EF4-FFF2-40B4-BE49-F238E27FC236}">
                  <a16:creationId xmlns:a16="http://schemas.microsoft.com/office/drawing/2014/main" id="{27370DFD-33D4-F94E-8A89-89F51DC77E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475" y="4498975"/>
              <a:ext cx="22225" cy="20638"/>
            </a:xfrm>
            <a:custGeom>
              <a:avLst/>
              <a:gdLst>
                <a:gd name="T0" fmla="*/ 10742 w 60"/>
                <a:gd name="T1" fmla="*/ 0 h 59"/>
                <a:gd name="T2" fmla="*/ 14817 w 60"/>
                <a:gd name="T3" fmla="*/ 8395 h 59"/>
                <a:gd name="T4" fmla="*/ 21855 w 60"/>
                <a:gd name="T5" fmla="*/ 8395 h 59"/>
                <a:gd name="T6" fmla="*/ 15928 w 60"/>
                <a:gd name="T7" fmla="*/ 12942 h 59"/>
                <a:gd name="T8" fmla="*/ 17780 w 60"/>
                <a:gd name="T9" fmla="*/ 19589 h 59"/>
                <a:gd name="T10" fmla="*/ 10742 w 60"/>
                <a:gd name="T11" fmla="*/ 13992 h 59"/>
                <a:gd name="T12" fmla="*/ 4075 w 60"/>
                <a:gd name="T13" fmla="*/ 20288 h 59"/>
                <a:gd name="T14" fmla="*/ 7038 w 60"/>
                <a:gd name="T15" fmla="*/ 12942 h 59"/>
                <a:gd name="T16" fmla="*/ 0 w 60"/>
                <a:gd name="T17" fmla="*/ 8395 h 59"/>
                <a:gd name="T18" fmla="*/ 8149 w 60"/>
                <a:gd name="T19" fmla="*/ 8395 h 59"/>
                <a:gd name="T20" fmla="*/ 10742 w 60"/>
                <a:gd name="T21" fmla="*/ 0 h 5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9">
                  <a:moveTo>
                    <a:pt x="29" y="0"/>
                  </a:moveTo>
                  <a:lnTo>
                    <a:pt x="40" y="24"/>
                  </a:lnTo>
                  <a:lnTo>
                    <a:pt x="59" y="24"/>
                  </a:lnTo>
                  <a:lnTo>
                    <a:pt x="43" y="37"/>
                  </a:lnTo>
                  <a:lnTo>
                    <a:pt x="48" y="56"/>
                  </a:lnTo>
                  <a:lnTo>
                    <a:pt x="29" y="40"/>
                  </a:lnTo>
                  <a:lnTo>
                    <a:pt x="11" y="58"/>
                  </a:lnTo>
                  <a:lnTo>
                    <a:pt x="19" y="37"/>
                  </a:lnTo>
                  <a:lnTo>
                    <a:pt x="0" y="24"/>
                  </a:lnTo>
                  <a:lnTo>
                    <a:pt x="22" y="24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149">
              <a:extLst>
                <a:ext uri="{FF2B5EF4-FFF2-40B4-BE49-F238E27FC236}">
                  <a16:creationId xmlns:a16="http://schemas.microsoft.com/office/drawing/2014/main" id="{114E5DCD-8DC1-E64A-9854-9AAB27731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888" y="4498975"/>
              <a:ext cx="25400" cy="22225"/>
            </a:xfrm>
            <a:custGeom>
              <a:avLst/>
              <a:gdLst>
                <a:gd name="T0" fmla="*/ 20320 w 70"/>
                <a:gd name="T1" fmla="*/ 21867 h 62"/>
                <a:gd name="T2" fmla="*/ 12337 w 70"/>
                <a:gd name="T3" fmla="*/ 15414 h 62"/>
                <a:gd name="T4" fmla="*/ 5806 w 70"/>
                <a:gd name="T5" fmla="*/ 21867 h 62"/>
                <a:gd name="T6" fmla="*/ 4717 w 70"/>
                <a:gd name="T7" fmla="*/ 21867 h 62"/>
                <a:gd name="T8" fmla="*/ 7620 w 70"/>
                <a:gd name="T9" fmla="*/ 14339 h 62"/>
                <a:gd name="T10" fmla="*/ 0 w 70"/>
                <a:gd name="T11" fmla="*/ 9679 h 62"/>
                <a:gd name="T12" fmla="*/ 2903 w 70"/>
                <a:gd name="T13" fmla="*/ 9679 h 62"/>
                <a:gd name="T14" fmla="*/ 9071 w 70"/>
                <a:gd name="T15" fmla="*/ 9679 h 62"/>
                <a:gd name="T16" fmla="*/ 8709 w 70"/>
                <a:gd name="T17" fmla="*/ 10396 h 62"/>
                <a:gd name="T18" fmla="*/ 2903 w 70"/>
                <a:gd name="T19" fmla="*/ 9679 h 62"/>
                <a:gd name="T20" fmla="*/ 8709 w 70"/>
                <a:gd name="T21" fmla="*/ 13263 h 62"/>
                <a:gd name="T22" fmla="*/ 6894 w 70"/>
                <a:gd name="T23" fmla="*/ 20074 h 62"/>
                <a:gd name="T24" fmla="*/ 12337 w 70"/>
                <a:gd name="T25" fmla="*/ 14339 h 62"/>
                <a:gd name="T26" fmla="*/ 18143 w 70"/>
                <a:gd name="T27" fmla="*/ 20074 h 62"/>
                <a:gd name="T28" fmla="*/ 16329 w 70"/>
                <a:gd name="T29" fmla="*/ 14339 h 62"/>
                <a:gd name="T30" fmla="*/ 21046 w 70"/>
                <a:gd name="T31" fmla="*/ 10396 h 62"/>
                <a:gd name="T32" fmla="*/ 14514 w 70"/>
                <a:gd name="T33" fmla="*/ 10396 h 62"/>
                <a:gd name="T34" fmla="*/ 11974 w 70"/>
                <a:gd name="T35" fmla="*/ 3943 h 62"/>
                <a:gd name="T36" fmla="*/ 13426 w 70"/>
                <a:gd name="T37" fmla="*/ 0 h 62"/>
                <a:gd name="T38" fmla="*/ 16329 w 70"/>
                <a:gd name="T39" fmla="*/ 8603 h 62"/>
                <a:gd name="T40" fmla="*/ 25037 w 70"/>
                <a:gd name="T41" fmla="*/ 8603 h 62"/>
                <a:gd name="T42" fmla="*/ 18143 w 70"/>
                <a:gd name="T43" fmla="*/ 13263 h 62"/>
                <a:gd name="T44" fmla="*/ 20320 w 70"/>
                <a:gd name="T45" fmla="*/ 21867 h 62"/>
                <a:gd name="T46" fmla="*/ 9797 w 70"/>
                <a:gd name="T47" fmla="*/ 9679 h 62"/>
                <a:gd name="T48" fmla="*/ 11974 w 70"/>
                <a:gd name="T49" fmla="*/ 3943 h 62"/>
                <a:gd name="T50" fmla="*/ 11611 w 70"/>
                <a:gd name="T51" fmla="*/ 2868 h 62"/>
                <a:gd name="T52" fmla="*/ 9071 w 70"/>
                <a:gd name="T53" fmla="*/ 9679 h 62"/>
                <a:gd name="T54" fmla="*/ 9797 w 70"/>
                <a:gd name="T55" fmla="*/ 9679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0" h="62">
                  <a:moveTo>
                    <a:pt x="56" y="61"/>
                  </a:moveTo>
                  <a:lnTo>
                    <a:pt x="34" y="43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21" y="40"/>
                  </a:lnTo>
                  <a:lnTo>
                    <a:pt x="0" y="27"/>
                  </a:lnTo>
                  <a:lnTo>
                    <a:pt x="8" y="27"/>
                  </a:lnTo>
                  <a:lnTo>
                    <a:pt x="25" y="27"/>
                  </a:lnTo>
                  <a:lnTo>
                    <a:pt x="24" y="29"/>
                  </a:lnTo>
                  <a:lnTo>
                    <a:pt x="8" y="27"/>
                  </a:lnTo>
                  <a:lnTo>
                    <a:pt x="24" y="37"/>
                  </a:lnTo>
                  <a:lnTo>
                    <a:pt x="19" y="56"/>
                  </a:lnTo>
                  <a:lnTo>
                    <a:pt x="34" y="40"/>
                  </a:lnTo>
                  <a:lnTo>
                    <a:pt x="50" y="56"/>
                  </a:lnTo>
                  <a:lnTo>
                    <a:pt x="45" y="40"/>
                  </a:lnTo>
                  <a:lnTo>
                    <a:pt x="58" y="29"/>
                  </a:lnTo>
                  <a:lnTo>
                    <a:pt x="40" y="29"/>
                  </a:lnTo>
                  <a:lnTo>
                    <a:pt x="33" y="11"/>
                  </a:lnTo>
                  <a:lnTo>
                    <a:pt x="37" y="0"/>
                  </a:lnTo>
                  <a:lnTo>
                    <a:pt x="45" y="24"/>
                  </a:lnTo>
                  <a:lnTo>
                    <a:pt x="69" y="24"/>
                  </a:lnTo>
                  <a:lnTo>
                    <a:pt x="50" y="37"/>
                  </a:lnTo>
                  <a:lnTo>
                    <a:pt x="56" y="61"/>
                  </a:lnTo>
                  <a:close/>
                  <a:moveTo>
                    <a:pt x="27" y="27"/>
                  </a:moveTo>
                  <a:lnTo>
                    <a:pt x="33" y="11"/>
                  </a:lnTo>
                  <a:lnTo>
                    <a:pt x="32" y="8"/>
                  </a:lnTo>
                  <a:lnTo>
                    <a:pt x="25" y="27"/>
                  </a:lnTo>
                  <a:lnTo>
                    <a:pt x="27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50">
              <a:extLst>
                <a:ext uri="{FF2B5EF4-FFF2-40B4-BE49-F238E27FC236}">
                  <a16:creationId xmlns:a16="http://schemas.microsoft.com/office/drawing/2014/main" id="{E6C08CDD-8CA5-FD47-986F-3778145D1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648200"/>
              <a:ext cx="31750" cy="31750"/>
            </a:xfrm>
            <a:custGeom>
              <a:avLst/>
              <a:gdLst>
                <a:gd name="T0" fmla="*/ 27469 w 89"/>
                <a:gd name="T1" fmla="*/ 10463 h 88"/>
                <a:gd name="T2" fmla="*/ 31393 w 89"/>
                <a:gd name="T3" fmla="*/ 13349 h 88"/>
                <a:gd name="T4" fmla="*/ 14270 w 89"/>
                <a:gd name="T5" fmla="*/ 31389 h 88"/>
                <a:gd name="T6" fmla="*/ 10346 w 89"/>
                <a:gd name="T7" fmla="*/ 27781 h 88"/>
                <a:gd name="T8" fmla="*/ 15340 w 89"/>
                <a:gd name="T9" fmla="*/ 8659 h 88"/>
                <a:gd name="T10" fmla="*/ 15340 w 89"/>
                <a:gd name="T11" fmla="*/ 8659 h 88"/>
                <a:gd name="T12" fmla="*/ 3924 w 89"/>
                <a:gd name="T13" fmla="*/ 20926 h 88"/>
                <a:gd name="T14" fmla="*/ 0 w 89"/>
                <a:gd name="T15" fmla="*/ 18040 h 88"/>
                <a:gd name="T16" fmla="*/ 17124 w 89"/>
                <a:gd name="T17" fmla="*/ 0 h 88"/>
                <a:gd name="T18" fmla="*/ 21048 w 89"/>
                <a:gd name="T19" fmla="*/ 3969 h 88"/>
                <a:gd name="T20" fmla="*/ 16053 w 89"/>
                <a:gd name="T21" fmla="*/ 22730 h 88"/>
                <a:gd name="T22" fmla="*/ 16053 w 89"/>
                <a:gd name="T23" fmla="*/ 22730 h 88"/>
                <a:gd name="T24" fmla="*/ 27469 w 89"/>
                <a:gd name="T25" fmla="*/ 10463 h 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9" h="88">
                  <a:moveTo>
                    <a:pt x="77" y="29"/>
                  </a:moveTo>
                  <a:lnTo>
                    <a:pt x="88" y="37"/>
                  </a:lnTo>
                  <a:lnTo>
                    <a:pt x="40" y="87"/>
                  </a:lnTo>
                  <a:lnTo>
                    <a:pt x="29" y="77"/>
                  </a:lnTo>
                  <a:lnTo>
                    <a:pt x="43" y="24"/>
                  </a:lnTo>
                  <a:lnTo>
                    <a:pt x="11" y="58"/>
                  </a:lnTo>
                  <a:lnTo>
                    <a:pt x="0" y="50"/>
                  </a:lnTo>
                  <a:lnTo>
                    <a:pt x="48" y="0"/>
                  </a:lnTo>
                  <a:lnTo>
                    <a:pt x="59" y="11"/>
                  </a:lnTo>
                  <a:lnTo>
                    <a:pt x="45" y="63"/>
                  </a:lnTo>
                  <a:lnTo>
                    <a:pt x="77" y="2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51">
              <a:extLst>
                <a:ext uri="{FF2B5EF4-FFF2-40B4-BE49-F238E27FC236}">
                  <a16:creationId xmlns:a16="http://schemas.microsoft.com/office/drawing/2014/main" id="{D6A87D3D-51D8-0745-AA58-8A6901E2A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4410075"/>
              <a:ext cx="23812" cy="25400"/>
            </a:xfrm>
            <a:custGeom>
              <a:avLst/>
              <a:gdLst>
                <a:gd name="T0" fmla="*/ 5603 w 68"/>
                <a:gd name="T1" fmla="*/ 23283 h 72"/>
                <a:gd name="T2" fmla="*/ 0 w 68"/>
                <a:gd name="T3" fmla="*/ 22225 h 72"/>
                <a:gd name="T4" fmla="*/ 11206 w 68"/>
                <a:gd name="T5" fmla="*/ 0 h 72"/>
                <a:gd name="T6" fmla="*/ 16808 w 68"/>
                <a:gd name="T7" fmla="*/ 706 h 72"/>
                <a:gd name="T8" fmla="*/ 23462 w 68"/>
                <a:gd name="T9" fmla="*/ 25047 h 72"/>
                <a:gd name="T10" fmla="*/ 17859 w 68"/>
                <a:gd name="T11" fmla="*/ 23989 h 72"/>
                <a:gd name="T12" fmla="*/ 16808 w 68"/>
                <a:gd name="T13" fmla="*/ 19403 h 72"/>
                <a:gd name="T14" fmla="*/ 7704 w 68"/>
                <a:gd name="T15" fmla="*/ 18697 h 72"/>
                <a:gd name="T16" fmla="*/ 5603 w 68"/>
                <a:gd name="T17" fmla="*/ 23283 h 72"/>
                <a:gd name="T18" fmla="*/ 9455 w 68"/>
                <a:gd name="T19" fmla="*/ 14817 h 72"/>
                <a:gd name="T20" fmla="*/ 15758 w 68"/>
                <a:gd name="T21" fmla="*/ 15875 h 72"/>
                <a:gd name="T22" fmla="*/ 14007 w 68"/>
                <a:gd name="T23" fmla="*/ 6350 h 72"/>
                <a:gd name="T24" fmla="*/ 14007 w 68"/>
                <a:gd name="T25" fmla="*/ 6350 h 72"/>
                <a:gd name="T26" fmla="*/ 9455 w 68"/>
                <a:gd name="T27" fmla="*/ 14817 h 7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8" h="72">
                  <a:moveTo>
                    <a:pt x="16" y="66"/>
                  </a:moveTo>
                  <a:lnTo>
                    <a:pt x="0" y="63"/>
                  </a:lnTo>
                  <a:lnTo>
                    <a:pt x="32" y="0"/>
                  </a:lnTo>
                  <a:lnTo>
                    <a:pt x="48" y="2"/>
                  </a:lnTo>
                  <a:lnTo>
                    <a:pt x="67" y="71"/>
                  </a:lnTo>
                  <a:lnTo>
                    <a:pt x="51" y="68"/>
                  </a:lnTo>
                  <a:lnTo>
                    <a:pt x="48" y="55"/>
                  </a:lnTo>
                  <a:lnTo>
                    <a:pt x="22" y="53"/>
                  </a:lnTo>
                  <a:lnTo>
                    <a:pt x="16" y="66"/>
                  </a:lnTo>
                  <a:close/>
                  <a:moveTo>
                    <a:pt x="27" y="42"/>
                  </a:moveTo>
                  <a:lnTo>
                    <a:pt x="45" y="45"/>
                  </a:lnTo>
                  <a:lnTo>
                    <a:pt x="40" y="18"/>
                  </a:lnTo>
                  <a:lnTo>
                    <a:pt x="27" y="4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52">
              <a:extLst>
                <a:ext uri="{FF2B5EF4-FFF2-40B4-BE49-F238E27FC236}">
                  <a16:creationId xmlns:a16="http://schemas.microsoft.com/office/drawing/2014/main" id="{D0E1C3D9-F22C-B945-8653-46C081B5DD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0575" y="4414838"/>
              <a:ext cx="19050" cy="28575"/>
            </a:xfrm>
            <a:custGeom>
              <a:avLst/>
              <a:gdLst>
                <a:gd name="T0" fmla="*/ 5976 w 51"/>
                <a:gd name="T1" fmla="*/ 19645 h 80"/>
                <a:gd name="T2" fmla="*/ 18676 w 51"/>
                <a:gd name="T3" fmla="*/ 23574 h 80"/>
                <a:gd name="T4" fmla="*/ 16809 w 51"/>
                <a:gd name="T5" fmla="*/ 28218 h 80"/>
                <a:gd name="T6" fmla="*/ 0 w 51"/>
                <a:gd name="T7" fmla="*/ 22503 h 80"/>
                <a:gd name="T8" fmla="*/ 7844 w 51"/>
                <a:gd name="T9" fmla="*/ 0 h 80"/>
                <a:gd name="T10" fmla="*/ 12700 w 51"/>
                <a:gd name="T11" fmla="*/ 1786 h 80"/>
                <a:gd name="T12" fmla="*/ 5976 w 51"/>
                <a:gd name="T13" fmla="*/ 19645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1" h="80">
                  <a:moveTo>
                    <a:pt x="16" y="55"/>
                  </a:moveTo>
                  <a:lnTo>
                    <a:pt x="50" y="66"/>
                  </a:lnTo>
                  <a:lnTo>
                    <a:pt x="45" y="79"/>
                  </a:lnTo>
                  <a:lnTo>
                    <a:pt x="0" y="63"/>
                  </a:lnTo>
                  <a:lnTo>
                    <a:pt x="21" y="0"/>
                  </a:lnTo>
                  <a:lnTo>
                    <a:pt x="34" y="5"/>
                  </a:lnTo>
                  <a:lnTo>
                    <a:pt x="16" y="5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153">
              <a:extLst>
                <a:ext uri="{FF2B5EF4-FFF2-40B4-BE49-F238E27FC236}">
                  <a16:creationId xmlns:a16="http://schemas.microsoft.com/office/drawing/2014/main" id="{0A6ECF28-5561-AC46-8B86-5705A8E64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5975" y="4427538"/>
              <a:ext cx="26988" cy="30162"/>
            </a:xfrm>
            <a:custGeom>
              <a:avLst/>
              <a:gdLst>
                <a:gd name="T0" fmla="*/ 17525 w 77"/>
                <a:gd name="T1" fmla="*/ 23984 h 83"/>
                <a:gd name="T2" fmla="*/ 4556 w 77"/>
                <a:gd name="T3" fmla="*/ 25801 h 83"/>
                <a:gd name="T4" fmla="*/ 0 w 77"/>
                <a:gd name="T5" fmla="*/ 19260 h 83"/>
                <a:gd name="T6" fmla="*/ 1752 w 77"/>
                <a:gd name="T7" fmla="*/ 13446 h 83"/>
                <a:gd name="T8" fmla="*/ 10164 w 77"/>
                <a:gd name="T9" fmla="*/ 0 h 83"/>
                <a:gd name="T10" fmla="*/ 14721 w 77"/>
                <a:gd name="T11" fmla="*/ 2907 h 83"/>
                <a:gd name="T12" fmla="*/ 6309 w 77"/>
                <a:gd name="T13" fmla="*/ 16353 h 83"/>
                <a:gd name="T14" fmla="*/ 7360 w 77"/>
                <a:gd name="T15" fmla="*/ 22894 h 83"/>
                <a:gd name="T16" fmla="*/ 13669 w 77"/>
                <a:gd name="T17" fmla="*/ 21804 h 83"/>
                <a:gd name="T18" fmla="*/ 22081 w 77"/>
                <a:gd name="T19" fmla="*/ 8358 h 83"/>
                <a:gd name="T20" fmla="*/ 26638 w 77"/>
                <a:gd name="T21" fmla="*/ 11265 h 83"/>
                <a:gd name="T22" fmla="*/ 17525 w 77"/>
                <a:gd name="T23" fmla="*/ 23984 h 8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7" h="83">
                  <a:moveTo>
                    <a:pt x="50" y="66"/>
                  </a:moveTo>
                  <a:cubicBezTo>
                    <a:pt x="39" y="82"/>
                    <a:pt x="26" y="82"/>
                    <a:pt x="13" y="71"/>
                  </a:cubicBezTo>
                  <a:cubicBezTo>
                    <a:pt x="8" y="68"/>
                    <a:pt x="0" y="60"/>
                    <a:pt x="0" y="53"/>
                  </a:cubicBezTo>
                  <a:cubicBezTo>
                    <a:pt x="0" y="47"/>
                    <a:pt x="0" y="42"/>
                    <a:pt x="5" y="37"/>
                  </a:cubicBezTo>
                  <a:lnTo>
                    <a:pt x="29" y="0"/>
                  </a:lnTo>
                  <a:lnTo>
                    <a:pt x="42" y="8"/>
                  </a:lnTo>
                  <a:lnTo>
                    <a:pt x="18" y="45"/>
                  </a:lnTo>
                  <a:cubicBezTo>
                    <a:pt x="13" y="53"/>
                    <a:pt x="15" y="58"/>
                    <a:pt x="21" y="63"/>
                  </a:cubicBezTo>
                  <a:cubicBezTo>
                    <a:pt x="29" y="68"/>
                    <a:pt x="34" y="66"/>
                    <a:pt x="39" y="60"/>
                  </a:cubicBezTo>
                  <a:lnTo>
                    <a:pt x="63" y="23"/>
                  </a:lnTo>
                  <a:lnTo>
                    <a:pt x="76" y="31"/>
                  </a:lnTo>
                  <a:lnTo>
                    <a:pt x="50" y="6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Freeform 154">
              <a:extLst>
                <a:ext uri="{FF2B5EF4-FFF2-40B4-BE49-F238E27FC236}">
                  <a16:creationId xmlns:a16="http://schemas.microsoft.com/office/drawing/2014/main" id="{D61348C4-9D40-5A47-BB28-90C2A2B10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1375" y="4443413"/>
              <a:ext cx="26988" cy="26987"/>
            </a:xfrm>
            <a:custGeom>
              <a:avLst/>
              <a:gdLst>
                <a:gd name="T0" fmla="*/ 4067 w 73"/>
                <a:gd name="T1" fmla="*/ 26627 h 75"/>
                <a:gd name="T2" fmla="*/ 0 w 73"/>
                <a:gd name="T3" fmla="*/ 23749 h 75"/>
                <a:gd name="T4" fmla="*/ 12570 w 73"/>
                <a:gd name="T5" fmla="*/ 8276 h 75"/>
                <a:gd name="T6" fmla="*/ 7024 w 73"/>
                <a:gd name="T7" fmla="*/ 3598 h 75"/>
                <a:gd name="T8" fmla="*/ 9982 w 73"/>
                <a:gd name="T9" fmla="*/ 0 h 75"/>
                <a:gd name="T10" fmla="*/ 26618 w 73"/>
                <a:gd name="T11" fmla="*/ 13314 h 75"/>
                <a:gd name="T12" fmla="*/ 23661 w 73"/>
                <a:gd name="T13" fmla="*/ 16192 h 75"/>
                <a:gd name="T14" fmla="*/ 17746 w 73"/>
                <a:gd name="T15" fmla="*/ 11155 h 75"/>
                <a:gd name="T16" fmla="*/ 4067 w 73"/>
                <a:gd name="T17" fmla="*/ 26627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3" h="75">
                  <a:moveTo>
                    <a:pt x="11" y="74"/>
                  </a:moveTo>
                  <a:lnTo>
                    <a:pt x="0" y="66"/>
                  </a:lnTo>
                  <a:lnTo>
                    <a:pt x="34" y="23"/>
                  </a:lnTo>
                  <a:lnTo>
                    <a:pt x="19" y="10"/>
                  </a:lnTo>
                  <a:lnTo>
                    <a:pt x="27" y="0"/>
                  </a:lnTo>
                  <a:lnTo>
                    <a:pt x="72" y="37"/>
                  </a:lnTo>
                  <a:lnTo>
                    <a:pt x="64" y="45"/>
                  </a:lnTo>
                  <a:lnTo>
                    <a:pt x="48" y="31"/>
                  </a:lnTo>
                  <a:lnTo>
                    <a:pt x="11" y="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Freeform 155">
              <a:extLst>
                <a:ext uri="{FF2B5EF4-FFF2-40B4-BE49-F238E27FC236}">
                  <a16:creationId xmlns:a16="http://schemas.microsoft.com/office/drawing/2014/main" id="{55634FBB-B077-1D4B-B145-01E96F8D9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250" y="4410075"/>
              <a:ext cx="23813" cy="28575"/>
            </a:xfrm>
            <a:custGeom>
              <a:avLst/>
              <a:gdLst>
                <a:gd name="T0" fmla="*/ 5581 w 64"/>
                <a:gd name="T1" fmla="*/ 17859 h 80"/>
                <a:gd name="T2" fmla="*/ 11534 w 64"/>
                <a:gd name="T3" fmla="*/ 20717 h 80"/>
                <a:gd name="T4" fmla="*/ 16744 w 64"/>
                <a:gd name="T5" fmla="*/ 16788 h 80"/>
                <a:gd name="T6" fmla="*/ 11534 w 64"/>
                <a:gd name="T7" fmla="*/ 15002 h 80"/>
                <a:gd name="T8" fmla="*/ 8558 w 64"/>
                <a:gd name="T9" fmla="*/ 15002 h 80"/>
                <a:gd name="T10" fmla="*/ 0 w 64"/>
                <a:gd name="T11" fmla="*/ 9287 h 80"/>
                <a:gd name="T12" fmla="*/ 8558 w 64"/>
                <a:gd name="T13" fmla="*/ 714 h 80"/>
                <a:gd name="T14" fmla="*/ 19720 w 64"/>
                <a:gd name="T15" fmla="*/ 7501 h 80"/>
                <a:gd name="T16" fmla="*/ 14511 w 64"/>
                <a:gd name="T17" fmla="*/ 8215 h 80"/>
                <a:gd name="T18" fmla="*/ 8558 w 64"/>
                <a:gd name="T19" fmla="*/ 5358 h 80"/>
                <a:gd name="T20" fmla="*/ 4837 w 64"/>
                <a:gd name="T21" fmla="*/ 9287 h 80"/>
                <a:gd name="T22" fmla="*/ 7814 w 64"/>
                <a:gd name="T23" fmla="*/ 11073 h 80"/>
                <a:gd name="T24" fmla="*/ 14511 w 64"/>
                <a:gd name="T25" fmla="*/ 12144 h 80"/>
                <a:gd name="T26" fmla="*/ 22697 w 64"/>
                <a:gd name="T27" fmla="*/ 17859 h 80"/>
                <a:gd name="T28" fmla="*/ 13767 w 64"/>
                <a:gd name="T29" fmla="*/ 27146 h 80"/>
                <a:gd name="T30" fmla="*/ 1860 w 64"/>
                <a:gd name="T31" fmla="*/ 20717 h 80"/>
                <a:gd name="T32" fmla="*/ 5581 w 64"/>
                <a:gd name="T33" fmla="*/ 17859 h 8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4" h="80">
                  <a:moveTo>
                    <a:pt x="15" y="50"/>
                  </a:moveTo>
                  <a:cubicBezTo>
                    <a:pt x="15" y="53"/>
                    <a:pt x="18" y="60"/>
                    <a:pt x="31" y="58"/>
                  </a:cubicBezTo>
                  <a:cubicBezTo>
                    <a:pt x="39" y="58"/>
                    <a:pt x="45" y="55"/>
                    <a:pt x="45" y="47"/>
                  </a:cubicBezTo>
                  <a:cubicBezTo>
                    <a:pt x="45" y="42"/>
                    <a:pt x="39" y="42"/>
                    <a:pt x="31" y="42"/>
                  </a:cubicBezTo>
                  <a:lnTo>
                    <a:pt x="23" y="42"/>
                  </a:lnTo>
                  <a:cubicBezTo>
                    <a:pt x="13" y="42"/>
                    <a:pt x="2" y="39"/>
                    <a:pt x="0" y="26"/>
                  </a:cubicBezTo>
                  <a:cubicBezTo>
                    <a:pt x="0" y="18"/>
                    <a:pt x="0" y="5"/>
                    <a:pt x="23" y="2"/>
                  </a:cubicBezTo>
                  <a:cubicBezTo>
                    <a:pt x="45" y="0"/>
                    <a:pt x="53" y="13"/>
                    <a:pt x="53" y="21"/>
                  </a:cubicBezTo>
                  <a:lnTo>
                    <a:pt x="39" y="23"/>
                  </a:lnTo>
                  <a:cubicBezTo>
                    <a:pt x="39" y="21"/>
                    <a:pt x="37" y="13"/>
                    <a:pt x="23" y="15"/>
                  </a:cubicBezTo>
                  <a:cubicBezTo>
                    <a:pt x="18" y="15"/>
                    <a:pt x="13" y="18"/>
                    <a:pt x="13" y="26"/>
                  </a:cubicBezTo>
                  <a:cubicBezTo>
                    <a:pt x="13" y="31"/>
                    <a:pt x="18" y="31"/>
                    <a:pt x="21" y="31"/>
                  </a:cubicBezTo>
                  <a:lnTo>
                    <a:pt x="39" y="34"/>
                  </a:lnTo>
                  <a:cubicBezTo>
                    <a:pt x="50" y="34"/>
                    <a:pt x="58" y="37"/>
                    <a:pt x="61" y="50"/>
                  </a:cubicBezTo>
                  <a:cubicBezTo>
                    <a:pt x="63" y="71"/>
                    <a:pt x="42" y="74"/>
                    <a:pt x="37" y="76"/>
                  </a:cubicBezTo>
                  <a:cubicBezTo>
                    <a:pt x="13" y="79"/>
                    <a:pt x="5" y="66"/>
                    <a:pt x="5" y="58"/>
                  </a:cubicBezTo>
                  <a:lnTo>
                    <a:pt x="15" y="5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Freeform 156">
              <a:extLst>
                <a:ext uri="{FF2B5EF4-FFF2-40B4-BE49-F238E27FC236}">
                  <a16:creationId xmlns:a16="http://schemas.microsoft.com/office/drawing/2014/main" id="{76110C54-BF0F-6E4C-A78A-CE94B33706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9925" y="4425950"/>
              <a:ext cx="31750" cy="31750"/>
            </a:xfrm>
            <a:custGeom>
              <a:avLst/>
              <a:gdLst>
                <a:gd name="T0" fmla="*/ 25616 w 88"/>
                <a:gd name="T1" fmla="*/ 9599 h 86"/>
                <a:gd name="T2" fmla="*/ 20926 w 88"/>
                <a:gd name="T3" fmla="*/ 27320 h 86"/>
                <a:gd name="T4" fmla="*/ 4690 w 88"/>
                <a:gd name="T5" fmla="*/ 21413 h 86"/>
                <a:gd name="T6" fmla="*/ 9381 w 88"/>
                <a:gd name="T7" fmla="*/ 4061 h 86"/>
                <a:gd name="T8" fmla="*/ 25616 w 88"/>
                <a:gd name="T9" fmla="*/ 9599 h 86"/>
                <a:gd name="T10" fmla="*/ 22009 w 88"/>
                <a:gd name="T11" fmla="*/ 12552 h 86"/>
                <a:gd name="T12" fmla="*/ 12267 w 88"/>
                <a:gd name="T13" fmla="*/ 7753 h 86"/>
                <a:gd name="T14" fmla="*/ 10463 w 88"/>
                <a:gd name="T15" fmla="*/ 18459 h 86"/>
                <a:gd name="T16" fmla="*/ 19844 w 88"/>
                <a:gd name="T17" fmla="*/ 23259 h 86"/>
                <a:gd name="T18" fmla="*/ 22009 w 88"/>
                <a:gd name="T19" fmla="*/ 12552 h 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8" h="86">
                  <a:moveTo>
                    <a:pt x="71" y="26"/>
                  </a:moveTo>
                  <a:cubicBezTo>
                    <a:pt x="87" y="56"/>
                    <a:pt x="66" y="69"/>
                    <a:pt x="58" y="74"/>
                  </a:cubicBezTo>
                  <a:cubicBezTo>
                    <a:pt x="50" y="79"/>
                    <a:pt x="26" y="85"/>
                    <a:pt x="13" y="58"/>
                  </a:cubicBezTo>
                  <a:cubicBezTo>
                    <a:pt x="0" y="29"/>
                    <a:pt x="18" y="13"/>
                    <a:pt x="26" y="11"/>
                  </a:cubicBezTo>
                  <a:cubicBezTo>
                    <a:pt x="34" y="5"/>
                    <a:pt x="58" y="0"/>
                    <a:pt x="71" y="26"/>
                  </a:cubicBezTo>
                  <a:close/>
                  <a:moveTo>
                    <a:pt x="61" y="34"/>
                  </a:moveTo>
                  <a:cubicBezTo>
                    <a:pt x="53" y="18"/>
                    <a:pt x="40" y="18"/>
                    <a:pt x="34" y="21"/>
                  </a:cubicBezTo>
                  <a:cubicBezTo>
                    <a:pt x="26" y="24"/>
                    <a:pt x="21" y="34"/>
                    <a:pt x="29" y="50"/>
                  </a:cubicBezTo>
                  <a:cubicBezTo>
                    <a:pt x="37" y="66"/>
                    <a:pt x="47" y="66"/>
                    <a:pt x="55" y="63"/>
                  </a:cubicBezTo>
                  <a:cubicBezTo>
                    <a:pt x="63" y="61"/>
                    <a:pt x="69" y="50"/>
                    <a:pt x="61" y="3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Freeform 157">
              <a:extLst>
                <a:ext uri="{FF2B5EF4-FFF2-40B4-BE49-F238E27FC236}">
                  <a16:creationId xmlns:a16="http://schemas.microsoft.com/office/drawing/2014/main" id="{B7E73EBD-6422-8649-B88C-A0FFC4A6E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446588"/>
              <a:ext cx="31750" cy="30162"/>
            </a:xfrm>
            <a:custGeom>
              <a:avLst/>
              <a:gdLst>
                <a:gd name="T0" fmla="*/ 0 w 89"/>
                <a:gd name="T1" fmla="*/ 13129 h 85"/>
                <a:gd name="T2" fmla="*/ 8562 w 89"/>
                <a:gd name="T3" fmla="*/ 4613 h 85"/>
                <a:gd name="T4" fmla="*/ 18907 w 89"/>
                <a:gd name="T5" fmla="*/ 3548 h 85"/>
                <a:gd name="T6" fmla="*/ 21048 w 89"/>
                <a:gd name="T7" fmla="*/ 10291 h 85"/>
                <a:gd name="T8" fmla="*/ 27469 w 89"/>
                <a:gd name="T9" fmla="*/ 12065 h 85"/>
                <a:gd name="T10" fmla="*/ 31393 w 89"/>
                <a:gd name="T11" fmla="*/ 14904 h 85"/>
                <a:gd name="T12" fmla="*/ 31393 w 89"/>
                <a:gd name="T13" fmla="*/ 14904 h 85"/>
                <a:gd name="T14" fmla="*/ 27469 w 89"/>
                <a:gd name="T15" fmla="*/ 18807 h 85"/>
                <a:gd name="T16" fmla="*/ 23545 w 89"/>
                <a:gd name="T17" fmla="*/ 15968 h 85"/>
                <a:gd name="T18" fmla="*/ 18194 w 89"/>
                <a:gd name="T19" fmla="*/ 15968 h 85"/>
                <a:gd name="T20" fmla="*/ 14270 w 89"/>
                <a:gd name="T21" fmla="*/ 19517 h 85"/>
                <a:gd name="T22" fmla="*/ 21048 w 89"/>
                <a:gd name="T23" fmla="*/ 26259 h 85"/>
                <a:gd name="T24" fmla="*/ 17124 w 89"/>
                <a:gd name="T25" fmla="*/ 29807 h 85"/>
                <a:gd name="T26" fmla="*/ 0 w 89"/>
                <a:gd name="T27" fmla="*/ 13129 h 85"/>
                <a:gd name="T28" fmla="*/ 15340 w 89"/>
                <a:gd name="T29" fmla="*/ 12065 h 85"/>
                <a:gd name="T30" fmla="*/ 15340 w 89"/>
                <a:gd name="T31" fmla="*/ 7452 h 85"/>
                <a:gd name="T32" fmla="*/ 10346 w 89"/>
                <a:gd name="T33" fmla="*/ 7452 h 85"/>
                <a:gd name="T34" fmla="*/ 5708 w 89"/>
                <a:gd name="T35" fmla="*/ 12065 h 85"/>
                <a:gd name="T36" fmla="*/ 10346 w 89"/>
                <a:gd name="T37" fmla="*/ 16678 h 85"/>
                <a:gd name="T38" fmla="*/ 15340 w 89"/>
                <a:gd name="T39" fmla="*/ 12065 h 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9" h="85">
                  <a:moveTo>
                    <a:pt x="0" y="37"/>
                  </a:moveTo>
                  <a:lnTo>
                    <a:pt x="24" y="13"/>
                  </a:lnTo>
                  <a:cubicBezTo>
                    <a:pt x="37" y="0"/>
                    <a:pt x="48" y="7"/>
                    <a:pt x="53" y="10"/>
                  </a:cubicBezTo>
                  <a:cubicBezTo>
                    <a:pt x="59" y="15"/>
                    <a:pt x="61" y="23"/>
                    <a:pt x="59" y="29"/>
                  </a:cubicBezTo>
                  <a:cubicBezTo>
                    <a:pt x="64" y="26"/>
                    <a:pt x="69" y="26"/>
                    <a:pt x="77" y="34"/>
                  </a:cubicBezTo>
                  <a:cubicBezTo>
                    <a:pt x="85" y="42"/>
                    <a:pt x="85" y="42"/>
                    <a:pt x="88" y="42"/>
                  </a:cubicBezTo>
                  <a:lnTo>
                    <a:pt x="77" y="53"/>
                  </a:lnTo>
                  <a:cubicBezTo>
                    <a:pt x="74" y="50"/>
                    <a:pt x="72" y="50"/>
                    <a:pt x="66" y="45"/>
                  </a:cubicBezTo>
                  <a:cubicBezTo>
                    <a:pt x="59" y="39"/>
                    <a:pt x="56" y="37"/>
                    <a:pt x="51" y="45"/>
                  </a:cubicBezTo>
                  <a:lnTo>
                    <a:pt x="40" y="55"/>
                  </a:lnTo>
                  <a:lnTo>
                    <a:pt x="59" y="74"/>
                  </a:lnTo>
                  <a:lnTo>
                    <a:pt x="48" y="84"/>
                  </a:lnTo>
                  <a:lnTo>
                    <a:pt x="0" y="37"/>
                  </a:lnTo>
                  <a:close/>
                  <a:moveTo>
                    <a:pt x="43" y="34"/>
                  </a:moveTo>
                  <a:cubicBezTo>
                    <a:pt x="48" y="29"/>
                    <a:pt x="48" y="23"/>
                    <a:pt x="43" y="21"/>
                  </a:cubicBezTo>
                  <a:cubicBezTo>
                    <a:pt x="40" y="18"/>
                    <a:pt x="35" y="15"/>
                    <a:pt x="29" y="21"/>
                  </a:cubicBezTo>
                  <a:lnTo>
                    <a:pt x="16" y="34"/>
                  </a:lnTo>
                  <a:lnTo>
                    <a:pt x="29" y="47"/>
                  </a:lnTo>
                  <a:lnTo>
                    <a:pt x="43" y="3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158">
              <a:extLst>
                <a:ext uri="{FF2B5EF4-FFF2-40B4-BE49-F238E27FC236}">
                  <a16:creationId xmlns:a16="http://schemas.microsoft.com/office/drawing/2014/main" id="{7522329A-9423-5C49-9399-B8A0D5FC2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1213" y="4670425"/>
              <a:ext cx="30162" cy="31750"/>
            </a:xfrm>
            <a:custGeom>
              <a:avLst/>
              <a:gdLst>
                <a:gd name="T0" fmla="*/ 13446 w 83"/>
                <a:gd name="T1" fmla="*/ 2886 h 88"/>
                <a:gd name="T2" fmla="*/ 18170 w 83"/>
                <a:gd name="T3" fmla="*/ 0 h 88"/>
                <a:gd name="T4" fmla="*/ 29799 w 83"/>
                <a:gd name="T5" fmla="*/ 20926 h 88"/>
                <a:gd name="T6" fmla="*/ 25074 w 83"/>
                <a:gd name="T7" fmla="*/ 23813 h 88"/>
                <a:gd name="T8" fmla="*/ 7631 w 83"/>
                <a:gd name="T9" fmla="*/ 13349 h 88"/>
                <a:gd name="T10" fmla="*/ 7631 w 83"/>
                <a:gd name="T11" fmla="*/ 13349 h 88"/>
                <a:gd name="T12" fmla="*/ 16353 w 83"/>
                <a:gd name="T13" fmla="*/ 28503 h 88"/>
                <a:gd name="T14" fmla="*/ 12356 w 83"/>
                <a:gd name="T15" fmla="*/ 31389 h 88"/>
                <a:gd name="T16" fmla="*/ 0 w 83"/>
                <a:gd name="T17" fmla="*/ 9381 h 88"/>
                <a:gd name="T18" fmla="*/ 4724 w 83"/>
                <a:gd name="T19" fmla="*/ 7577 h 88"/>
                <a:gd name="T20" fmla="*/ 22167 w 83"/>
                <a:gd name="T21" fmla="*/ 17318 h 88"/>
                <a:gd name="T22" fmla="*/ 22167 w 83"/>
                <a:gd name="T23" fmla="*/ 17318 h 88"/>
                <a:gd name="T24" fmla="*/ 13446 w 83"/>
                <a:gd name="T25" fmla="*/ 2886 h 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3" h="88">
                  <a:moveTo>
                    <a:pt x="37" y="8"/>
                  </a:moveTo>
                  <a:lnTo>
                    <a:pt x="50" y="0"/>
                  </a:lnTo>
                  <a:lnTo>
                    <a:pt x="82" y="58"/>
                  </a:lnTo>
                  <a:lnTo>
                    <a:pt x="69" y="66"/>
                  </a:lnTo>
                  <a:lnTo>
                    <a:pt x="21" y="37"/>
                  </a:lnTo>
                  <a:lnTo>
                    <a:pt x="45" y="79"/>
                  </a:lnTo>
                  <a:lnTo>
                    <a:pt x="34" y="87"/>
                  </a:lnTo>
                  <a:lnTo>
                    <a:pt x="0" y="26"/>
                  </a:lnTo>
                  <a:lnTo>
                    <a:pt x="13" y="21"/>
                  </a:lnTo>
                  <a:lnTo>
                    <a:pt x="61" y="48"/>
                  </a:lnTo>
                  <a:lnTo>
                    <a:pt x="37" y="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159">
              <a:extLst>
                <a:ext uri="{FF2B5EF4-FFF2-40B4-BE49-F238E27FC236}">
                  <a16:creationId xmlns:a16="http://schemas.microsoft.com/office/drawing/2014/main" id="{D06BD539-0BD5-A644-80EB-5A51D5007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3438" y="4654550"/>
              <a:ext cx="31750" cy="31750"/>
            </a:xfrm>
            <a:custGeom>
              <a:avLst/>
              <a:gdLst>
                <a:gd name="T0" fmla="*/ 0 w 86"/>
                <a:gd name="T1" fmla="*/ 11814 h 86"/>
                <a:gd name="T2" fmla="*/ 8860 w 86"/>
                <a:gd name="T3" fmla="*/ 5169 h 86"/>
                <a:gd name="T4" fmla="*/ 24366 w 86"/>
                <a:gd name="T5" fmla="*/ 8122 h 86"/>
                <a:gd name="T6" fmla="*/ 24366 w 86"/>
                <a:gd name="T7" fmla="*/ 24735 h 86"/>
                <a:gd name="T8" fmla="*/ 15875 w 86"/>
                <a:gd name="T9" fmla="*/ 31381 h 86"/>
                <a:gd name="T10" fmla="*/ 0 w 86"/>
                <a:gd name="T11" fmla="*/ 11814 h 86"/>
                <a:gd name="T12" fmla="*/ 16613 w 86"/>
                <a:gd name="T13" fmla="*/ 24735 h 86"/>
                <a:gd name="T14" fmla="*/ 20674 w 86"/>
                <a:gd name="T15" fmla="*/ 21782 h 86"/>
                <a:gd name="T16" fmla="*/ 19567 w 86"/>
                <a:gd name="T17" fmla="*/ 11814 h 86"/>
                <a:gd name="T18" fmla="*/ 9968 w 86"/>
                <a:gd name="T19" fmla="*/ 8860 h 86"/>
                <a:gd name="T20" fmla="*/ 5907 w 86"/>
                <a:gd name="T21" fmla="*/ 11814 h 86"/>
                <a:gd name="T22" fmla="*/ 16613 w 86"/>
                <a:gd name="T23" fmla="*/ 24735 h 8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6" h="86">
                  <a:moveTo>
                    <a:pt x="0" y="32"/>
                  </a:moveTo>
                  <a:lnTo>
                    <a:pt x="24" y="14"/>
                  </a:lnTo>
                  <a:cubicBezTo>
                    <a:pt x="43" y="0"/>
                    <a:pt x="58" y="11"/>
                    <a:pt x="66" y="22"/>
                  </a:cubicBezTo>
                  <a:cubicBezTo>
                    <a:pt x="74" y="32"/>
                    <a:pt x="85" y="53"/>
                    <a:pt x="66" y="67"/>
                  </a:cubicBezTo>
                  <a:lnTo>
                    <a:pt x="43" y="85"/>
                  </a:lnTo>
                  <a:lnTo>
                    <a:pt x="0" y="32"/>
                  </a:lnTo>
                  <a:close/>
                  <a:moveTo>
                    <a:pt x="45" y="67"/>
                  </a:moveTo>
                  <a:lnTo>
                    <a:pt x="56" y="59"/>
                  </a:lnTo>
                  <a:cubicBezTo>
                    <a:pt x="64" y="51"/>
                    <a:pt x="61" y="40"/>
                    <a:pt x="53" y="32"/>
                  </a:cubicBezTo>
                  <a:cubicBezTo>
                    <a:pt x="40" y="16"/>
                    <a:pt x="32" y="22"/>
                    <a:pt x="27" y="24"/>
                  </a:cubicBezTo>
                  <a:lnTo>
                    <a:pt x="16" y="32"/>
                  </a:lnTo>
                  <a:lnTo>
                    <a:pt x="45" y="6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160">
              <a:extLst>
                <a:ext uri="{FF2B5EF4-FFF2-40B4-BE49-F238E27FC236}">
                  <a16:creationId xmlns:a16="http://schemas.microsoft.com/office/drawing/2014/main" id="{51F6F8B4-BC7A-C14D-B8EE-71EDEC9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2488" y="4646613"/>
              <a:ext cx="22225" cy="20637"/>
            </a:xfrm>
            <a:custGeom>
              <a:avLst/>
              <a:gdLst>
                <a:gd name="T0" fmla="*/ 21867 w 62"/>
                <a:gd name="T1" fmla="*/ 16583 h 56"/>
                <a:gd name="T2" fmla="*/ 18282 w 62"/>
                <a:gd name="T3" fmla="*/ 20268 h 56"/>
                <a:gd name="T4" fmla="*/ 0 w 62"/>
                <a:gd name="T5" fmla="*/ 3685 h 56"/>
                <a:gd name="T6" fmla="*/ 2868 w 62"/>
                <a:gd name="T7" fmla="*/ 0 h 56"/>
                <a:gd name="T8" fmla="*/ 21867 w 62"/>
                <a:gd name="T9" fmla="*/ 16583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2" h="56">
                  <a:moveTo>
                    <a:pt x="61" y="45"/>
                  </a:moveTo>
                  <a:lnTo>
                    <a:pt x="51" y="55"/>
                  </a:lnTo>
                  <a:lnTo>
                    <a:pt x="0" y="10"/>
                  </a:lnTo>
                  <a:lnTo>
                    <a:pt x="8" y="0"/>
                  </a:lnTo>
                  <a:lnTo>
                    <a:pt x="61" y="4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161">
              <a:extLst>
                <a:ext uri="{FF2B5EF4-FFF2-40B4-BE49-F238E27FC236}">
                  <a16:creationId xmlns:a16="http://schemas.microsoft.com/office/drawing/2014/main" id="{FF055FA2-1BDD-114C-8286-0472B8B55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3" y="4465638"/>
              <a:ext cx="31750" cy="30162"/>
            </a:xfrm>
            <a:custGeom>
              <a:avLst/>
              <a:gdLst>
                <a:gd name="T0" fmla="*/ 27320 w 86"/>
                <a:gd name="T1" fmla="*/ 17080 h 83"/>
                <a:gd name="T2" fmla="*/ 19567 w 86"/>
                <a:gd name="T3" fmla="*/ 6541 h 83"/>
                <a:gd name="T4" fmla="*/ 15875 w 86"/>
                <a:gd name="T5" fmla="*/ 9448 h 83"/>
                <a:gd name="T6" fmla="*/ 22520 w 86"/>
                <a:gd name="T7" fmla="*/ 18897 h 83"/>
                <a:gd name="T8" fmla="*/ 19567 w 86"/>
                <a:gd name="T9" fmla="*/ 21804 h 83"/>
                <a:gd name="T10" fmla="*/ 11814 w 86"/>
                <a:gd name="T11" fmla="*/ 12356 h 83"/>
                <a:gd name="T12" fmla="*/ 7015 w 86"/>
                <a:gd name="T13" fmla="*/ 16353 h 83"/>
                <a:gd name="T14" fmla="*/ 14767 w 86"/>
                <a:gd name="T15" fmla="*/ 26891 h 83"/>
                <a:gd name="T16" fmla="*/ 11814 w 86"/>
                <a:gd name="T17" fmla="*/ 29799 h 83"/>
                <a:gd name="T18" fmla="*/ 0 w 86"/>
                <a:gd name="T19" fmla="*/ 15263 h 83"/>
                <a:gd name="T20" fmla="*/ 19567 w 86"/>
                <a:gd name="T21" fmla="*/ 0 h 83"/>
                <a:gd name="T22" fmla="*/ 31381 w 86"/>
                <a:gd name="T23" fmla="*/ 14173 h 83"/>
                <a:gd name="T24" fmla="*/ 27320 w 86"/>
                <a:gd name="T25" fmla="*/ 17080 h 8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83">
                  <a:moveTo>
                    <a:pt x="74" y="47"/>
                  </a:moveTo>
                  <a:lnTo>
                    <a:pt x="53" y="18"/>
                  </a:lnTo>
                  <a:lnTo>
                    <a:pt x="43" y="26"/>
                  </a:lnTo>
                  <a:lnTo>
                    <a:pt x="61" y="52"/>
                  </a:lnTo>
                  <a:lnTo>
                    <a:pt x="53" y="60"/>
                  </a:lnTo>
                  <a:lnTo>
                    <a:pt x="32" y="34"/>
                  </a:lnTo>
                  <a:lnTo>
                    <a:pt x="19" y="45"/>
                  </a:lnTo>
                  <a:lnTo>
                    <a:pt x="40" y="74"/>
                  </a:lnTo>
                  <a:lnTo>
                    <a:pt x="32" y="82"/>
                  </a:lnTo>
                  <a:lnTo>
                    <a:pt x="0" y="42"/>
                  </a:lnTo>
                  <a:lnTo>
                    <a:pt x="53" y="0"/>
                  </a:lnTo>
                  <a:lnTo>
                    <a:pt x="85" y="39"/>
                  </a:lnTo>
                  <a:lnTo>
                    <a:pt x="74" y="4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162">
              <a:extLst>
                <a:ext uri="{FF2B5EF4-FFF2-40B4-BE49-F238E27FC236}">
                  <a16:creationId xmlns:a16="http://schemas.microsoft.com/office/drawing/2014/main" id="{EF023832-7494-8B42-8504-9F8209CE2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5163" y="4665663"/>
              <a:ext cx="33337" cy="33337"/>
            </a:xfrm>
            <a:custGeom>
              <a:avLst/>
              <a:gdLst>
                <a:gd name="T0" fmla="*/ 26010 w 91"/>
                <a:gd name="T1" fmla="*/ 23079 h 91"/>
                <a:gd name="T2" fmla="*/ 8426 w 91"/>
                <a:gd name="T3" fmla="*/ 27109 h 91"/>
                <a:gd name="T4" fmla="*/ 6594 w 91"/>
                <a:gd name="T5" fmla="*/ 9525 h 91"/>
                <a:gd name="T6" fmla="*/ 24178 w 91"/>
                <a:gd name="T7" fmla="*/ 5495 h 91"/>
                <a:gd name="T8" fmla="*/ 26010 w 91"/>
                <a:gd name="T9" fmla="*/ 23079 h 91"/>
                <a:gd name="T10" fmla="*/ 21980 w 91"/>
                <a:gd name="T11" fmla="*/ 20149 h 91"/>
                <a:gd name="T12" fmla="*/ 21248 w 91"/>
                <a:gd name="T13" fmla="*/ 9525 h 91"/>
                <a:gd name="T14" fmla="*/ 10624 w 91"/>
                <a:gd name="T15" fmla="*/ 12456 h 91"/>
                <a:gd name="T16" fmla="*/ 11357 w 91"/>
                <a:gd name="T17" fmla="*/ 23079 h 91"/>
                <a:gd name="T18" fmla="*/ 21980 w 91"/>
                <a:gd name="T19" fmla="*/ 20149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" h="91">
                  <a:moveTo>
                    <a:pt x="71" y="63"/>
                  </a:moveTo>
                  <a:cubicBezTo>
                    <a:pt x="53" y="90"/>
                    <a:pt x="31" y="79"/>
                    <a:pt x="23" y="74"/>
                  </a:cubicBezTo>
                  <a:cubicBezTo>
                    <a:pt x="15" y="68"/>
                    <a:pt x="0" y="53"/>
                    <a:pt x="18" y="26"/>
                  </a:cubicBezTo>
                  <a:cubicBezTo>
                    <a:pt x="34" y="0"/>
                    <a:pt x="58" y="10"/>
                    <a:pt x="66" y="15"/>
                  </a:cubicBezTo>
                  <a:cubicBezTo>
                    <a:pt x="74" y="21"/>
                    <a:pt x="90" y="37"/>
                    <a:pt x="71" y="63"/>
                  </a:cubicBezTo>
                  <a:close/>
                  <a:moveTo>
                    <a:pt x="60" y="55"/>
                  </a:moveTo>
                  <a:cubicBezTo>
                    <a:pt x="70" y="39"/>
                    <a:pt x="66" y="29"/>
                    <a:pt x="58" y="26"/>
                  </a:cubicBezTo>
                  <a:cubicBezTo>
                    <a:pt x="53" y="21"/>
                    <a:pt x="39" y="18"/>
                    <a:pt x="29" y="34"/>
                  </a:cubicBezTo>
                  <a:cubicBezTo>
                    <a:pt x="18" y="50"/>
                    <a:pt x="23" y="61"/>
                    <a:pt x="31" y="63"/>
                  </a:cubicBezTo>
                  <a:cubicBezTo>
                    <a:pt x="37" y="68"/>
                    <a:pt x="49" y="71"/>
                    <a:pt x="60" y="5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163">
              <a:extLst>
                <a:ext uri="{FF2B5EF4-FFF2-40B4-BE49-F238E27FC236}">
                  <a16:creationId xmlns:a16="http://schemas.microsoft.com/office/drawing/2014/main" id="{4B5838A1-3903-C244-8D73-B1E2C8A7A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8500" y="4678363"/>
              <a:ext cx="20638" cy="26987"/>
            </a:xfrm>
            <a:custGeom>
              <a:avLst/>
              <a:gdLst>
                <a:gd name="T0" fmla="*/ 15741 w 59"/>
                <a:gd name="T1" fmla="*/ 5757 h 75"/>
                <a:gd name="T2" fmla="*/ 20288 w 59"/>
                <a:gd name="T3" fmla="*/ 7556 h 75"/>
                <a:gd name="T4" fmla="*/ 4547 w 59"/>
                <a:gd name="T5" fmla="*/ 26627 h 75"/>
                <a:gd name="T6" fmla="*/ 0 w 59"/>
                <a:gd name="T7" fmla="*/ 25548 h 75"/>
                <a:gd name="T8" fmla="*/ 1049 w 59"/>
                <a:gd name="T9" fmla="*/ 0 h 75"/>
                <a:gd name="T10" fmla="*/ 6646 w 59"/>
                <a:gd name="T11" fmla="*/ 1799 h 75"/>
                <a:gd name="T12" fmla="*/ 4547 w 59"/>
                <a:gd name="T13" fmla="*/ 20870 h 75"/>
                <a:gd name="T14" fmla="*/ 4547 w 59"/>
                <a:gd name="T15" fmla="*/ 20870 h 75"/>
                <a:gd name="T16" fmla="*/ 15741 w 59"/>
                <a:gd name="T17" fmla="*/ 5757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75">
                  <a:moveTo>
                    <a:pt x="45" y="16"/>
                  </a:moveTo>
                  <a:lnTo>
                    <a:pt x="58" y="21"/>
                  </a:lnTo>
                  <a:lnTo>
                    <a:pt x="13" y="74"/>
                  </a:lnTo>
                  <a:lnTo>
                    <a:pt x="0" y="71"/>
                  </a:lnTo>
                  <a:lnTo>
                    <a:pt x="3" y="0"/>
                  </a:lnTo>
                  <a:lnTo>
                    <a:pt x="19" y="5"/>
                  </a:lnTo>
                  <a:lnTo>
                    <a:pt x="13" y="58"/>
                  </a:lnTo>
                  <a:lnTo>
                    <a:pt x="45" y="1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164">
              <a:extLst>
                <a:ext uri="{FF2B5EF4-FFF2-40B4-BE49-F238E27FC236}">
                  <a16:creationId xmlns:a16="http://schemas.microsoft.com/office/drawing/2014/main" id="{76C610EB-51AA-994E-B8F1-198C97322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7550" y="4687888"/>
              <a:ext cx="11113" cy="25400"/>
            </a:xfrm>
            <a:custGeom>
              <a:avLst/>
              <a:gdLst>
                <a:gd name="T0" fmla="*/ 4378 w 33"/>
                <a:gd name="T1" fmla="*/ 25032 h 69"/>
                <a:gd name="T2" fmla="*/ 0 w 33"/>
                <a:gd name="T3" fmla="*/ 23191 h 69"/>
                <a:gd name="T4" fmla="*/ 5388 w 33"/>
                <a:gd name="T5" fmla="*/ 0 h 69"/>
                <a:gd name="T6" fmla="*/ 10776 w 33"/>
                <a:gd name="T7" fmla="*/ 736 h 69"/>
                <a:gd name="T8" fmla="*/ 4378 w 33"/>
                <a:gd name="T9" fmla="*/ 25032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9">
                  <a:moveTo>
                    <a:pt x="13" y="68"/>
                  </a:moveTo>
                  <a:lnTo>
                    <a:pt x="0" y="63"/>
                  </a:lnTo>
                  <a:lnTo>
                    <a:pt x="16" y="0"/>
                  </a:lnTo>
                  <a:lnTo>
                    <a:pt x="32" y="2"/>
                  </a:lnTo>
                  <a:lnTo>
                    <a:pt x="13" y="6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165">
              <a:extLst>
                <a:ext uri="{FF2B5EF4-FFF2-40B4-BE49-F238E27FC236}">
                  <a16:creationId xmlns:a16="http://schemas.microsoft.com/office/drawing/2014/main" id="{A5C7B447-F3A1-9245-8DA9-CC2E24060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5650" y="4689475"/>
              <a:ext cx="26988" cy="25400"/>
            </a:xfrm>
            <a:custGeom>
              <a:avLst/>
              <a:gdLst>
                <a:gd name="T0" fmla="*/ 26618 w 73"/>
                <a:gd name="T1" fmla="*/ 24342 h 72"/>
                <a:gd name="T2" fmla="*/ 21443 w 73"/>
                <a:gd name="T3" fmla="*/ 24342 h 72"/>
                <a:gd name="T4" fmla="*/ 20703 w 73"/>
                <a:gd name="T5" fmla="*/ 4586 h 72"/>
                <a:gd name="T6" fmla="*/ 20703 w 73"/>
                <a:gd name="T7" fmla="*/ 4586 h 72"/>
                <a:gd name="T8" fmla="*/ 16636 w 73"/>
                <a:gd name="T9" fmla="*/ 24342 h 72"/>
                <a:gd name="T10" fmla="*/ 11830 w 73"/>
                <a:gd name="T11" fmla="*/ 25047 h 72"/>
                <a:gd name="T12" fmla="*/ 5915 w 73"/>
                <a:gd name="T13" fmla="*/ 5644 h 72"/>
                <a:gd name="T14" fmla="*/ 5915 w 73"/>
                <a:gd name="T15" fmla="*/ 5644 h 72"/>
                <a:gd name="T16" fmla="*/ 7024 w 73"/>
                <a:gd name="T17" fmla="*/ 25047 h 72"/>
                <a:gd name="T18" fmla="*/ 1848 w 73"/>
                <a:gd name="T19" fmla="*/ 25047 h 72"/>
                <a:gd name="T20" fmla="*/ 0 w 73"/>
                <a:gd name="T21" fmla="*/ 1764 h 72"/>
                <a:gd name="T22" fmla="*/ 7764 w 73"/>
                <a:gd name="T23" fmla="*/ 706 h 72"/>
                <a:gd name="T24" fmla="*/ 13679 w 73"/>
                <a:gd name="T25" fmla="*/ 19403 h 72"/>
                <a:gd name="T26" fmla="*/ 14788 w 73"/>
                <a:gd name="T27" fmla="*/ 19403 h 72"/>
                <a:gd name="T28" fmla="*/ 17746 w 73"/>
                <a:gd name="T29" fmla="*/ 706 h 72"/>
                <a:gd name="T30" fmla="*/ 25509 w 73"/>
                <a:gd name="T31" fmla="*/ 0 h 72"/>
                <a:gd name="T32" fmla="*/ 26618 w 73"/>
                <a:gd name="T33" fmla="*/ 24342 h 7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3" h="72">
                  <a:moveTo>
                    <a:pt x="72" y="69"/>
                  </a:moveTo>
                  <a:lnTo>
                    <a:pt x="58" y="69"/>
                  </a:lnTo>
                  <a:lnTo>
                    <a:pt x="56" y="13"/>
                  </a:lnTo>
                  <a:lnTo>
                    <a:pt x="45" y="69"/>
                  </a:lnTo>
                  <a:lnTo>
                    <a:pt x="32" y="71"/>
                  </a:lnTo>
                  <a:lnTo>
                    <a:pt x="16" y="16"/>
                  </a:lnTo>
                  <a:lnTo>
                    <a:pt x="19" y="71"/>
                  </a:lnTo>
                  <a:lnTo>
                    <a:pt x="5" y="71"/>
                  </a:lnTo>
                  <a:lnTo>
                    <a:pt x="0" y="5"/>
                  </a:lnTo>
                  <a:lnTo>
                    <a:pt x="21" y="2"/>
                  </a:lnTo>
                  <a:lnTo>
                    <a:pt x="37" y="55"/>
                  </a:lnTo>
                  <a:lnTo>
                    <a:pt x="40" y="55"/>
                  </a:lnTo>
                  <a:lnTo>
                    <a:pt x="48" y="2"/>
                  </a:lnTo>
                  <a:lnTo>
                    <a:pt x="69" y="0"/>
                  </a:lnTo>
                  <a:lnTo>
                    <a:pt x="72" y="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166">
              <a:extLst>
                <a:ext uri="{FF2B5EF4-FFF2-40B4-BE49-F238E27FC236}">
                  <a16:creationId xmlns:a16="http://schemas.microsoft.com/office/drawing/2014/main" id="{744E597C-AF54-FA4F-B717-A81A6B2F0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4684713"/>
              <a:ext cx="26987" cy="26987"/>
            </a:xfrm>
            <a:custGeom>
              <a:avLst/>
              <a:gdLst>
                <a:gd name="T0" fmla="*/ 24769 w 73"/>
                <a:gd name="T1" fmla="*/ 14033 h 75"/>
                <a:gd name="T2" fmla="*/ 16636 w 73"/>
                <a:gd name="T3" fmla="*/ 25548 h 75"/>
                <a:gd name="T4" fmla="*/ 8133 w 73"/>
                <a:gd name="T5" fmla="*/ 24468 h 75"/>
                <a:gd name="T6" fmla="*/ 4067 w 73"/>
                <a:gd name="T7" fmla="*/ 19071 h 75"/>
                <a:gd name="T8" fmla="*/ 0 w 73"/>
                <a:gd name="T9" fmla="*/ 3598 h 75"/>
                <a:gd name="T10" fmla="*/ 5176 w 73"/>
                <a:gd name="T11" fmla="*/ 2879 h 75"/>
                <a:gd name="T12" fmla="*/ 8872 w 73"/>
                <a:gd name="T13" fmla="*/ 17991 h 75"/>
                <a:gd name="T14" fmla="*/ 14787 w 73"/>
                <a:gd name="T15" fmla="*/ 21590 h 75"/>
                <a:gd name="T16" fmla="*/ 18854 w 73"/>
                <a:gd name="T17" fmla="*/ 16192 h 75"/>
                <a:gd name="T18" fmla="*/ 14787 w 73"/>
                <a:gd name="T19" fmla="*/ 720 h 75"/>
                <a:gd name="T20" fmla="*/ 19593 w 73"/>
                <a:gd name="T21" fmla="*/ 0 h 75"/>
                <a:gd name="T22" fmla="*/ 24769 w 73"/>
                <a:gd name="T23" fmla="*/ 14033 h 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3" h="75">
                  <a:moveTo>
                    <a:pt x="67" y="39"/>
                  </a:moveTo>
                  <a:cubicBezTo>
                    <a:pt x="72" y="58"/>
                    <a:pt x="61" y="66"/>
                    <a:pt x="45" y="71"/>
                  </a:cubicBezTo>
                  <a:cubicBezTo>
                    <a:pt x="40" y="74"/>
                    <a:pt x="30" y="74"/>
                    <a:pt x="22" y="68"/>
                  </a:cubicBezTo>
                  <a:cubicBezTo>
                    <a:pt x="16" y="66"/>
                    <a:pt x="14" y="60"/>
                    <a:pt x="11" y="53"/>
                  </a:cubicBezTo>
                  <a:lnTo>
                    <a:pt x="0" y="10"/>
                  </a:lnTo>
                  <a:lnTo>
                    <a:pt x="14" y="8"/>
                  </a:lnTo>
                  <a:lnTo>
                    <a:pt x="24" y="50"/>
                  </a:lnTo>
                  <a:cubicBezTo>
                    <a:pt x="27" y="58"/>
                    <a:pt x="32" y="60"/>
                    <a:pt x="40" y="60"/>
                  </a:cubicBezTo>
                  <a:cubicBezTo>
                    <a:pt x="51" y="58"/>
                    <a:pt x="53" y="53"/>
                    <a:pt x="51" y="45"/>
                  </a:cubicBezTo>
                  <a:lnTo>
                    <a:pt x="40" y="2"/>
                  </a:lnTo>
                  <a:lnTo>
                    <a:pt x="53" y="0"/>
                  </a:lnTo>
                  <a:lnTo>
                    <a:pt x="67" y="3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167">
              <a:extLst>
                <a:ext uri="{FF2B5EF4-FFF2-40B4-BE49-F238E27FC236}">
                  <a16:creationId xmlns:a16="http://schemas.microsoft.com/office/drawing/2014/main" id="{D7B3AEFA-E728-194C-8B7F-9C56215B1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2300" y="4470400"/>
              <a:ext cx="23813" cy="28575"/>
            </a:xfrm>
            <a:custGeom>
              <a:avLst/>
              <a:gdLst>
                <a:gd name="T0" fmla="*/ 23447 w 65"/>
                <a:gd name="T1" fmla="*/ 24545 h 78"/>
                <a:gd name="T2" fmla="*/ 20516 w 65"/>
                <a:gd name="T3" fmla="*/ 28209 h 78"/>
                <a:gd name="T4" fmla="*/ 0 w 65"/>
                <a:gd name="T5" fmla="*/ 14654 h 78"/>
                <a:gd name="T6" fmla="*/ 6961 w 65"/>
                <a:gd name="T7" fmla="*/ 5129 h 78"/>
                <a:gd name="T8" fmla="*/ 17585 w 65"/>
                <a:gd name="T9" fmla="*/ 2931 h 78"/>
                <a:gd name="T10" fmla="*/ 19417 w 65"/>
                <a:gd name="T11" fmla="*/ 13555 h 78"/>
                <a:gd name="T12" fmla="*/ 16486 w 65"/>
                <a:gd name="T13" fmla="*/ 18684 h 78"/>
                <a:gd name="T14" fmla="*/ 23447 w 65"/>
                <a:gd name="T15" fmla="*/ 24545 h 78"/>
                <a:gd name="T16" fmla="*/ 15387 w 65"/>
                <a:gd name="T17" fmla="*/ 12822 h 78"/>
                <a:gd name="T18" fmla="*/ 14654 w 65"/>
                <a:gd name="T19" fmla="*/ 6961 h 78"/>
                <a:gd name="T20" fmla="*/ 8792 w 65"/>
                <a:gd name="T21" fmla="*/ 8792 h 78"/>
                <a:gd name="T22" fmla="*/ 6961 w 65"/>
                <a:gd name="T23" fmla="*/ 12822 h 78"/>
                <a:gd name="T24" fmla="*/ 12456 w 65"/>
                <a:gd name="T25" fmla="*/ 16486 h 78"/>
                <a:gd name="T26" fmla="*/ 15387 w 65"/>
                <a:gd name="T27" fmla="*/ 12822 h 7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5" h="78">
                  <a:moveTo>
                    <a:pt x="64" y="67"/>
                  </a:moveTo>
                  <a:lnTo>
                    <a:pt x="56" y="77"/>
                  </a:lnTo>
                  <a:lnTo>
                    <a:pt x="0" y="40"/>
                  </a:lnTo>
                  <a:lnTo>
                    <a:pt x="19" y="14"/>
                  </a:lnTo>
                  <a:cubicBezTo>
                    <a:pt x="27" y="3"/>
                    <a:pt x="37" y="0"/>
                    <a:pt x="48" y="8"/>
                  </a:cubicBezTo>
                  <a:cubicBezTo>
                    <a:pt x="53" y="11"/>
                    <a:pt x="64" y="24"/>
                    <a:pt x="53" y="37"/>
                  </a:cubicBezTo>
                  <a:lnTo>
                    <a:pt x="45" y="51"/>
                  </a:lnTo>
                  <a:lnTo>
                    <a:pt x="64" y="67"/>
                  </a:lnTo>
                  <a:close/>
                  <a:moveTo>
                    <a:pt x="42" y="35"/>
                  </a:moveTo>
                  <a:cubicBezTo>
                    <a:pt x="48" y="27"/>
                    <a:pt x="42" y="22"/>
                    <a:pt x="40" y="19"/>
                  </a:cubicBezTo>
                  <a:cubicBezTo>
                    <a:pt x="34" y="16"/>
                    <a:pt x="29" y="16"/>
                    <a:pt x="24" y="24"/>
                  </a:cubicBezTo>
                  <a:lnTo>
                    <a:pt x="19" y="35"/>
                  </a:lnTo>
                  <a:lnTo>
                    <a:pt x="34" y="45"/>
                  </a:lnTo>
                  <a:lnTo>
                    <a:pt x="42" y="3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168">
              <a:extLst>
                <a:ext uri="{FF2B5EF4-FFF2-40B4-BE49-F238E27FC236}">
                  <a16:creationId xmlns:a16="http://schemas.microsoft.com/office/drawing/2014/main" id="{E96959D5-AA56-BD4C-8860-FB733CD26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4700" y="4656138"/>
              <a:ext cx="9525" cy="6350"/>
            </a:xfrm>
            <a:custGeom>
              <a:avLst/>
              <a:gdLst>
                <a:gd name="T0" fmla="*/ 1905 w 25"/>
                <a:gd name="T1" fmla="*/ 6016 h 19"/>
                <a:gd name="T2" fmla="*/ 0 w 25"/>
                <a:gd name="T3" fmla="*/ 6016 h 19"/>
                <a:gd name="T4" fmla="*/ 7239 w 25"/>
                <a:gd name="T5" fmla="*/ 1671 h 19"/>
                <a:gd name="T6" fmla="*/ 1905 w 25"/>
                <a:gd name="T7" fmla="*/ 6016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19">
                  <a:moveTo>
                    <a:pt x="5" y="18"/>
                  </a:moveTo>
                  <a:lnTo>
                    <a:pt x="0" y="18"/>
                  </a:lnTo>
                  <a:cubicBezTo>
                    <a:pt x="3" y="10"/>
                    <a:pt x="11" y="0"/>
                    <a:pt x="19" y="5"/>
                  </a:cubicBezTo>
                  <a:cubicBezTo>
                    <a:pt x="24" y="16"/>
                    <a:pt x="11" y="13"/>
                    <a:pt x="5" y="1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169">
              <a:extLst>
                <a:ext uri="{FF2B5EF4-FFF2-40B4-BE49-F238E27FC236}">
                  <a16:creationId xmlns:a16="http://schemas.microsoft.com/office/drawing/2014/main" id="{F0FA61BA-7452-EA45-AF5C-FB61E7D5B8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713" y="4581525"/>
              <a:ext cx="6350" cy="4763"/>
            </a:xfrm>
            <a:custGeom>
              <a:avLst/>
              <a:gdLst>
                <a:gd name="T0" fmla="*/ 6016 w 19"/>
                <a:gd name="T1" fmla="*/ 4366 h 12"/>
                <a:gd name="T2" fmla="*/ 0 w 19"/>
                <a:gd name="T3" fmla="*/ 4366 h 12"/>
                <a:gd name="T4" fmla="*/ 6016 w 19"/>
                <a:gd name="T5" fmla="*/ 2382 h 12"/>
                <a:gd name="T6" fmla="*/ 6016 w 19"/>
                <a:gd name="T7" fmla="*/ 4366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8" y="11"/>
                  </a:moveTo>
                  <a:lnTo>
                    <a:pt x="0" y="11"/>
                  </a:lnTo>
                  <a:cubicBezTo>
                    <a:pt x="0" y="0"/>
                    <a:pt x="16" y="0"/>
                    <a:pt x="18" y="6"/>
                  </a:cubicBezTo>
                  <a:lnTo>
                    <a:pt x="18" y="1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170">
              <a:extLst>
                <a:ext uri="{FF2B5EF4-FFF2-40B4-BE49-F238E27FC236}">
                  <a16:creationId xmlns:a16="http://schemas.microsoft.com/office/drawing/2014/main" id="{6246A585-2FB0-5445-9315-EA9974CA9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175" y="4537075"/>
              <a:ext cx="15875" cy="6350"/>
            </a:xfrm>
            <a:custGeom>
              <a:avLst/>
              <a:gdLst>
                <a:gd name="T0" fmla="*/ 0 w 44"/>
                <a:gd name="T1" fmla="*/ 5976 h 17"/>
                <a:gd name="T2" fmla="*/ 2886 w 44"/>
                <a:gd name="T3" fmla="*/ 1868 h 17"/>
                <a:gd name="T4" fmla="*/ 11545 w 44"/>
                <a:gd name="T5" fmla="*/ 1121 h 17"/>
                <a:gd name="T6" fmla="*/ 15514 w 44"/>
                <a:gd name="T7" fmla="*/ 0 h 17"/>
                <a:gd name="T8" fmla="*/ 13349 w 44"/>
                <a:gd name="T9" fmla="*/ 4109 h 17"/>
                <a:gd name="T10" fmla="*/ 8659 w 44"/>
                <a:gd name="T11" fmla="*/ 5976 h 17"/>
                <a:gd name="T12" fmla="*/ 9741 w 44"/>
                <a:gd name="T13" fmla="*/ 4109 h 17"/>
                <a:gd name="T14" fmla="*/ 3969 w 44"/>
                <a:gd name="T15" fmla="*/ 4109 h 17"/>
                <a:gd name="T16" fmla="*/ 2165 w 44"/>
                <a:gd name="T17" fmla="*/ 5976 h 17"/>
                <a:gd name="T18" fmla="*/ 0 w 44"/>
                <a:gd name="T19" fmla="*/ 5976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17">
                  <a:moveTo>
                    <a:pt x="0" y="16"/>
                  </a:moveTo>
                  <a:lnTo>
                    <a:pt x="8" y="5"/>
                  </a:lnTo>
                  <a:lnTo>
                    <a:pt x="32" y="3"/>
                  </a:lnTo>
                  <a:lnTo>
                    <a:pt x="43" y="0"/>
                  </a:lnTo>
                  <a:lnTo>
                    <a:pt x="37" y="11"/>
                  </a:lnTo>
                  <a:lnTo>
                    <a:pt x="24" y="16"/>
                  </a:lnTo>
                  <a:lnTo>
                    <a:pt x="27" y="11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0" y="1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Freeform 171">
              <a:extLst>
                <a:ext uri="{FF2B5EF4-FFF2-40B4-BE49-F238E27FC236}">
                  <a16:creationId xmlns:a16="http://schemas.microsoft.com/office/drawing/2014/main" id="{8B2D8F7D-0514-E84D-B3F4-A0F8B9D97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1050" y="4537075"/>
              <a:ext cx="11113" cy="7938"/>
            </a:xfrm>
            <a:custGeom>
              <a:avLst/>
              <a:gdLst>
                <a:gd name="T0" fmla="*/ 4816 w 30"/>
                <a:gd name="T1" fmla="*/ 1191 h 20"/>
                <a:gd name="T2" fmla="*/ 7779 w 30"/>
                <a:gd name="T3" fmla="*/ 0 h 20"/>
                <a:gd name="T4" fmla="*/ 10743 w 30"/>
                <a:gd name="T5" fmla="*/ 1985 h 20"/>
                <a:gd name="T6" fmla="*/ 8520 w 30"/>
                <a:gd name="T7" fmla="*/ 4366 h 20"/>
                <a:gd name="T8" fmla="*/ 5557 w 30"/>
                <a:gd name="T9" fmla="*/ 5160 h 20"/>
                <a:gd name="T10" fmla="*/ 4816 w 30"/>
                <a:gd name="T11" fmla="*/ 7541 h 20"/>
                <a:gd name="T12" fmla="*/ 2963 w 30"/>
                <a:gd name="T13" fmla="*/ 5160 h 20"/>
                <a:gd name="T14" fmla="*/ 0 w 30"/>
                <a:gd name="T15" fmla="*/ 6350 h 20"/>
                <a:gd name="T16" fmla="*/ 0 w 30"/>
                <a:gd name="T17" fmla="*/ 4366 h 20"/>
                <a:gd name="T18" fmla="*/ 1852 w 30"/>
                <a:gd name="T19" fmla="*/ 4366 h 20"/>
                <a:gd name="T20" fmla="*/ 741 w 30"/>
                <a:gd name="T21" fmla="*/ 1985 h 20"/>
                <a:gd name="T22" fmla="*/ 1852 w 30"/>
                <a:gd name="T23" fmla="*/ 1191 h 20"/>
                <a:gd name="T24" fmla="*/ 4816 w 30"/>
                <a:gd name="T25" fmla="*/ 1191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20">
                  <a:moveTo>
                    <a:pt x="13" y="3"/>
                  </a:moveTo>
                  <a:lnTo>
                    <a:pt x="21" y="0"/>
                  </a:lnTo>
                  <a:lnTo>
                    <a:pt x="29" y="5"/>
                  </a:lnTo>
                  <a:lnTo>
                    <a:pt x="23" y="11"/>
                  </a:lnTo>
                  <a:lnTo>
                    <a:pt x="15" y="13"/>
                  </a:lnTo>
                  <a:lnTo>
                    <a:pt x="13" y="19"/>
                  </a:lnTo>
                  <a:lnTo>
                    <a:pt x="8" y="13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5" y="11"/>
                  </a:lnTo>
                  <a:lnTo>
                    <a:pt x="2" y="5"/>
                  </a:lnTo>
                  <a:lnTo>
                    <a:pt x="5" y="3"/>
                  </a:lnTo>
                  <a:lnTo>
                    <a:pt x="13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Freeform 172">
              <a:extLst>
                <a:ext uri="{FF2B5EF4-FFF2-40B4-BE49-F238E27FC236}">
                  <a16:creationId xmlns:a16="http://schemas.microsoft.com/office/drawing/2014/main" id="{FC460269-983B-3343-9A81-2C2A4DC58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750" y="4538663"/>
              <a:ext cx="6350" cy="3175"/>
            </a:xfrm>
            <a:custGeom>
              <a:avLst/>
              <a:gdLst>
                <a:gd name="T0" fmla="*/ 1121 w 17"/>
                <a:gd name="T1" fmla="*/ 1058 h 9"/>
                <a:gd name="T2" fmla="*/ 2988 w 17"/>
                <a:gd name="T3" fmla="*/ 0 h 9"/>
                <a:gd name="T4" fmla="*/ 5976 w 17"/>
                <a:gd name="T5" fmla="*/ 0 h 9"/>
                <a:gd name="T6" fmla="*/ 4856 w 17"/>
                <a:gd name="T7" fmla="*/ 1764 h 9"/>
                <a:gd name="T8" fmla="*/ 0 w 17"/>
                <a:gd name="T9" fmla="*/ 2822 h 9"/>
                <a:gd name="T10" fmla="*/ 1121 w 17"/>
                <a:gd name="T11" fmla="*/ 105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9">
                  <a:moveTo>
                    <a:pt x="3" y="3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13" y="5"/>
                  </a:lnTo>
                  <a:lnTo>
                    <a:pt x="0" y="8"/>
                  </a:lnTo>
                  <a:lnTo>
                    <a:pt x="3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173">
              <a:extLst>
                <a:ext uri="{FF2B5EF4-FFF2-40B4-BE49-F238E27FC236}">
                  <a16:creationId xmlns:a16="http://schemas.microsoft.com/office/drawing/2014/main" id="{357F66F5-4C5C-FB4E-B3D1-0485D8CB6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9938" y="4543425"/>
              <a:ext cx="3175" cy="3175"/>
            </a:xfrm>
            <a:custGeom>
              <a:avLst/>
              <a:gdLst>
                <a:gd name="T0" fmla="*/ 0 w 11"/>
                <a:gd name="T1" fmla="*/ 0 h 7"/>
                <a:gd name="T2" fmla="*/ 2886 w 11"/>
                <a:gd name="T3" fmla="*/ 0 h 7"/>
                <a:gd name="T4" fmla="*/ 2309 w 11"/>
                <a:gd name="T5" fmla="*/ 2721 h 7"/>
                <a:gd name="T6" fmla="*/ 0 w 11"/>
                <a:gd name="T7" fmla="*/ 2721 h 7"/>
                <a:gd name="T8" fmla="*/ 0 w 11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lnTo>
                    <a:pt x="10" y="0"/>
                  </a:lnTo>
                  <a:lnTo>
                    <a:pt x="8" y="6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174">
              <a:extLst>
                <a:ext uri="{FF2B5EF4-FFF2-40B4-BE49-F238E27FC236}">
                  <a16:creationId xmlns:a16="http://schemas.microsoft.com/office/drawing/2014/main" id="{3512D160-735A-5E47-933F-C7087CC41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750" y="4541838"/>
              <a:ext cx="3175" cy="3175"/>
            </a:xfrm>
            <a:custGeom>
              <a:avLst/>
              <a:gdLst>
                <a:gd name="T0" fmla="*/ 0 w 9"/>
                <a:gd name="T1" fmla="*/ 1764 h 9"/>
                <a:gd name="T2" fmla="*/ 1764 w 9"/>
                <a:gd name="T3" fmla="*/ 0 h 9"/>
                <a:gd name="T4" fmla="*/ 2822 w 9"/>
                <a:gd name="T5" fmla="*/ 1058 h 9"/>
                <a:gd name="T6" fmla="*/ 1764 w 9"/>
                <a:gd name="T7" fmla="*/ 2822 h 9"/>
                <a:gd name="T8" fmla="*/ 0 w 9"/>
                <a:gd name="T9" fmla="*/ 1764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8"/>
                  </a:lnTo>
                  <a:lnTo>
                    <a:pt x="0" y="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Freeform 175">
              <a:extLst>
                <a:ext uri="{FF2B5EF4-FFF2-40B4-BE49-F238E27FC236}">
                  <a16:creationId xmlns:a16="http://schemas.microsoft.com/office/drawing/2014/main" id="{6F5977CF-1CA5-614A-BB7B-F8B9D7DB5A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2163" y="4545013"/>
              <a:ext cx="3175" cy="4762"/>
            </a:xfrm>
            <a:custGeom>
              <a:avLst/>
              <a:gdLst>
                <a:gd name="T0" fmla="*/ 0 w 9"/>
                <a:gd name="T1" fmla="*/ 1984 h 12"/>
                <a:gd name="T2" fmla="*/ 1764 w 9"/>
                <a:gd name="T3" fmla="*/ 4365 h 12"/>
                <a:gd name="T4" fmla="*/ 2822 w 9"/>
                <a:gd name="T5" fmla="*/ 4365 h 12"/>
                <a:gd name="T6" fmla="*/ 1764 w 9"/>
                <a:gd name="T7" fmla="*/ 0 h 12"/>
                <a:gd name="T8" fmla="*/ 0 w 9"/>
                <a:gd name="T9" fmla="*/ 1984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12">
                  <a:moveTo>
                    <a:pt x="0" y="5"/>
                  </a:moveTo>
                  <a:lnTo>
                    <a:pt x="5" y="11"/>
                  </a:lnTo>
                  <a:lnTo>
                    <a:pt x="8" y="11"/>
                  </a:lnTo>
                  <a:lnTo>
                    <a:pt x="5" y="0"/>
                  </a:lnTo>
                  <a:lnTo>
                    <a:pt x="0" y="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Freeform 176">
              <a:extLst>
                <a:ext uri="{FF2B5EF4-FFF2-40B4-BE49-F238E27FC236}">
                  <a16:creationId xmlns:a16="http://schemas.microsoft.com/office/drawing/2014/main" id="{655B9106-DAE2-6E41-BBB4-A31E0E4C9F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5338" y="4545013"/>
              <a:ext cx="3175" cy="4762"/>
            </a:xfrm>
            <a:custGeom>
              <a:avLst/>
              <a:gdLst>
                <a:gd name="T0" fmla="*/ 2117 w 9"/>
                <a:gd name="T1" fmla="*/ 4365 h 12"/>
                <a:gd name="T2" fmla="*/ 2822 w 9"/>
                <a:gd name="T3" fmla="*/ 1984 h 12"/>
                <a:gd name="T4" fmla="*/ 0 w 9"/>
                <a:gd name="T5" fmla="*/ 0 h 12"/>
                <a:gd name="T6" fmla="*/ 2117 w 9"/>
                <a:gd name="T7" fmla="*/ 4365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" h="12">
                  <a:moveTo>
                    <a:pt x="6" y="11"/>
                  </a:moveTo>
                  <a:lnTo>
                    <a:pt x="8" y="5"/>
                  </a:lnTo>
                  <a:lnTo>
                    <a:pt x="0" y="0"/>
                  </a:lnTo>
                  <a:lnTo>
                    <a:pt x="6" y="1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Freeform 177">
              <a:extLst>
                <a:ext uri="{FF2B5EF4-FFF2-40B4-BE49-F238E27FC236}">
                  <a16:creationId xmlns:a16="http://schemas.microsoft.com/office/drawing/2014/main" id="{92E0EB9D-8AEE-784D-9EB5-8AA452982E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100" y="4546600"/>
              <a:ext cx="1588" cy="6350"/>
            </a:xfrm>
            <a:custGeom>
              <a:avLst/>
              <a:gdLst>
                <a:gd name="T0" fmla="*/ 529 w 6"/>
                <a:gd name="T1" fmla="*/ 0 h 17"/>
                <a:gd name="T2" fmla="*/ 1323 w 6"/>
                <a:gd name="T3" fmla="*/ 1121 h 17"/>
                <a:gd name="T4" fmla="*/ 1323 w 6"/>
                <a:gd name="T5" fmla="*/ 5976 h 17"/>
                <a:gd name="T6" fmla="*/ 0 w 6"/>
                <a:gd name="T7" fmla="*/ 1121 h 17"/>
                <a:gd name="T8" fmla="*/ 529 w 6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17">
                  <a:moveTo>
                    <a:pt x="2" y="0"/>
                  </a:moveTo>
                  <a:lnTo>
                    <a:pt x="5" y="3"/>
                  </a:lnTo>
                  <a:lnTo>
                    <a:pt x="5" y="16"/>
                  </a:lnTo>
                  <a:lnTo>
                    <a:pt x="0" y="3"/>
                  </a:lnTo>
                  <a:lnTo>
                    <a:pt x="2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Freeform 178">
              <a:extLst>
                <a:ext uri="{FF2B5EF4-FFF2-40B4-BE49-F238E27FC236}">
                  <a16:creationId xmlns:a16="http://schemas.microsoft.com/office/drawing/2014/main" id="{C9210584-F62E-7742-8D55-4E4E79B2A4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3100" y="4456113"/>
              <a:ext cx="171450" cy="211137"/>
            </a:xfrm>
            <a:custGeom>
              <a:avLst/>
              <a:gdLst>
                <a:gd name="T0" fmla="*/ 71829 w 475"/>
                <a:gd name="T1" fmla="*/ 6485 h 586"/>
                <a:gd name="T2" fmla="*/ 73633 w 475"/>
                <a:gd name="T3" fmla="*/ 14052 h 586"/>
                <a:gd name="T4" fmla="*/ 78687 w 475"/>
                <a:gd name="T5" fmla="*/ 25581 h 586"/>
                <a:gd name="T6" fmla="*/ 74716 w 475"/>
                <a:gd name="T7" fmla="*/ 22699 h 586"/>
                <a:gd name="T8" fmla="*/ 76521 w 475"/>
                <a:gd name="T9" fmla="*/ 24861 h 586"/>
                <a:gd name="T10" fmla="*/ 71829 w 475"/>
                <a:gd name="T11" fmla="*/ 31346 h 586"/>
                <a:gd name="T12" fmla="*/ 76521 w 475"/>
                <a:gd name="T13" fmla="*/ 34229 h 586"/>
                <a:gd name="T14" fmla="*/ 84101 w 475"/>
                <a:gd name="T15" fmla="*/ 32427 h 586"/>
                <a:gd name="T16" fmla="*/ 86266 w 475"/>
                <a:gd name="T17" fmla="*/ 19817 h 586"/>
                <a:gd name="T18" fmla="*/ 86266 w 475"/>
                <a:gd name="T19" fmla="*/ 19817 h 586"/>
                <a:gd name="T20" fmla="*/ 85184 w 475"/>
                <a:gd name="T21" fmla="*/ 15133 h 586"/>
                <a:gd name="T22" fmla="*/ 84462 w 475"/>
                <a:gd name="T23" fmla="*/ 23780 h 586"/>
                <a:gd name="T24" fmla="*/ 111894 w 475"/>
                <a:gd name="T25" fmla="*/ 101965 h 586"/>
                <a:gd name="T26" fmla="*/ 122361 w 475"/>
                <a:gd name="T27" fmla="*/ 106649 h 586"/>
                <a:gd name="T28" fmla="*/ 128136 w 475"/>
                <a:gd name="T29" fmla="*/ 106649 h 586"/>
                <a:gd name="T30" fmla="*/ 142574 w 475"/>
                <a:gd name="T31" fmla="*/ 122142 h 586"/>
                <a:gd name="T32" fmla="*/ 150154 w 475"/>
                <a:gd name="T33" fmla="*/ 157452 h 586"/>
                <a:gd name="T34" fmla="*/ 121639 w 475"/>
                <a:gd name="T35" fmla="*/ 180151 h 586"/>
                <a:gd name="T36" fmla="*/ 93846 w 475"/>
                <a:gd name="T37" fmla="*/ 206093 h 586"/>
                <a:gd name="T38" fmla="*/ 86266 w 475"/>
                <a:gd name="T39" fmla="*/ 201049 h 586"/>
                <a:gd name="T40" fmla="*/ 92763 w 475"/>
                <a:gd name="T41" fmla="*/ 123944 h 586"/>
                <a:gd name="T42" fmla="*/ 96734 w 475"/>
                <a:gd name="T43" fmla="*/ 108811 h 586"/>
                <a:gd name="T44" fmla="*/ 85184 w 475"/>
                <a:gd name="T45" fmla="*/ 105929 h 586"/>
                <a:gd name="T46" fmla="*/ 59556 w 475"/>
                <a:gd name="T47" fmla="*/ 93318 h 586"/>
                <a:gd name="T48" fmla="*/ 48006 w 475"/>
                <a:gd name="T49" fmla="*/ 85752 h 586"/>
                <a:gd name="T50" fmla="*/ 37539 w 475"/>
                <a:gd name="T51" fmla="*/ 53325 h 586"/>
                <a:gd name="T52" fmla="*/ 0 w 475"/>
                <a:gd name="T53" fmla="*/ 47560 h 586"/>
                <a:gd name="T54" fmla="*/ 7941 w 475"/>
                <a:gd name="T55" fmla="*/ 37111 h 586"/>
                <a:gd name="T56" fmla="*/ 7941 w 475"/>
                <a:gd name="T57" fmla="*/ 33148 h 586"/>
                <a:gd name="T58" fmla="*/ 7941 w 475"/>
                <a:gd name="T59" fmla="*/ 28464 h 586"/>
                <a:gd name="T60" fmla="*/ 55586 w 475"/>
                <a:gd name="T61" fmla="*/ 15133 h 586"/>
                <a:gd name="T62" fmla="*/ 59556 w 475"/>
                <a:gd name="T63" fmla="*/ 7566 h 586"/>
                <a:gd name="T64" fmla="*/ 73633 w 475"/>
                <a:gd name="T65" fmla="*/ 721 h 586"/>
                <a:gd name="T66" fmla="*/ 78687 w 475"/>
                <a:gd name="T67" fmla="*/ 3603 h 586"/>
                <a:gd name="T68" fmla="*/ 82296 w 475"/>
                <a:gd name="T69" fmla="*/ 3603 h 586"/>
                <a:gd name="T70" fmla="*/ 102509 w 475"/>
                <a:gd name="T71" fmla="*/ 19817 h 586"/>
                <a:gd name="T72" fmla="*/ 104314 w 475"/>
                <a:gd name="T73" fmla="*/ 28464 h 586"/>
                <a:gd name="T74" fmla="*/ 122361 w 475"/>
                <a:gd name="T75" fmla="*/ 41795 h 586"/>
                <a:gd name="T76" fmla="*/ 95651 w 475"/>
                <a:gd name="T77" fmla="*/ 78906 h 586"/>
                <a:gd name="T78" fmla="*/ 89876 w 475"/>
                <a:gd name="T79" fmla="*/ 74222 h 586"/>
                <a:gd name="T80" fmla="*/ 74716 w 475"/>
                <a:gd name="T81" fmla="*/ 90436 h 586"/>
                <a:gd name="T82" fmla="*/ 82296 w 475"/>
                <a:gd name="T83" fmla="*/ 83950 h 586"/>
                <a:gd name="T84" fmla="*/ 92042 w 475"/>
                <a:gd name="T85" fmla="*/ 97282 h 586"/>
                <a:gd name="T86" fmla="*/ 93846 w 475"/>
                <a:gd name="T87" fmla="*/ 104848 h 586"/>
                <a:gd name="T88" fmla="*/ 99621 w 475"/>
                <a:gd name="T89" fmla="*/ 104848 h 586"/>
                <a:gd name="T90" fmla="*/ 111894 w 475"/>
                <a:gd name="T91" fmla="*/ 101965 h 5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5" h="586">
                  <a:moveTo>
                    <a:pt x="204" y="39"/>
                  </a:moveTo>
                  <a:cubicBezTo>
                    <a:pt x="207" y="37"/>
                    <a:pt x="204" y="21"/>
                    <a:pt x="199" y="18"/>
                  </a:cubicBezTo>
                  <a:cubicBezTo>
                    <a:pt x="194" y="29"/>
                    <a:pt x="212" y="31"/>
                    <a:pt x="199" y="39"/>
                  </a:cubicBezTo>
                  <a:lnTo>
                    <a:pt x="204" y="39"/>
                  </a:lnTo>
                  <a:close/>
                  <a:moveTo>
                    <a:pt x="234" y="66"/>
                  </a:moveTo>
                  <a:cubicBezTo>
                    <a:pt x="233" y="69"/>
                    <a:pt x="229" y="71"/>
                    <a:pt x="218" y="71"/>
                  </a:cubicBezTo>
                  <a:cubicBezTo>
                    <a:pt x="215" y="69"/>
                    <a:pt x="212" y="66"/>
                    <a:pt x="212" y="63"/>
                  </a:cubicBezTo>
                  <a:lnTo>
                    <a:pt x="207" y="63"/>
                  </a:lnTo>
                  <a:lnTo>
                    <a:pt x="207" y="69"/>
                  </a:lnTo>
                  <a:lnTo>
                    <a:pt x="212" y="69"/>
                  </a:lnTo>
                  <a:cubicBezTo>
                    <a:pt x="210" y="71"/>
                    <a:pt x="207" y="74"/>
                    <a:pt x="204" y="74"/>
                  </a:cubicBezTo>
                  <a:cubicBezTo>
                    <a:pt x="204" y="79"/>
                    <a:pt x="204" y="84"/>
                    <a:pt x="199" y="87"/>
                  </a:cubicBezTo>
                  <a:lnTo>
                    <a:pt x="207" y="87"/>
                  </a:lnTo>
                  <a:cubicBezTo>
                    <a:pt x="210" y="90"/>
                    <a:pt x="212" y="92"/>
                    <a:pt x="212" y="95"/>
                  </a:cubicBezTo>
                  <a:cubicBezTo>
                    <a:pt x="217" y="98"/>
                    <a:pt x="227" y="93"/>
                    <a:pt x="230" y="99"/>
                  </a:cubicBezTo>
                  <a:cubicBezTo>
                    <a:pt x="229" y="95"/>
                    <a:pt x="233" y="92"/>
                    <a:pt x="233" y="90"/>
                  </a:cubicBezTo>
                  <a:cubicBezTo>
                    <a:pt x="233" y="84"/>
                    <a:pt x="232" y="75"/>
                    <a:pt x="234" y="66"/>
                  </a:cubicBezTo>
                  <a:close/>
                  <a:moveTo>
                    <a:pt x="239" y="55"/>
                  </a:moveTo>
                  <a:lnTo>
                    <a:pt x="244" y="50"/>
                  </a:lnTo>
                  <a:cubicBezTo>
                    <a:pt x="241" y="50"/>
                    <a:pt x="241" y="53"/>
                    <a:pt x="239" y="55"/>
                  </a:cubicBezTo>
                  <a:lnTo>
                    <a:pt x="231" y="47"/>
                  </a:lnTo>
                  <a:lnTo>
                    <a:pt x="236" y="42"/>
                  </a:lnTo>
                  <a:cubicBezTo>
                    <a:pt x="231" y="45"/>
                    <a:pt x="228" y="37"/>
                    <a:pt x="223" y="34"/>
                  </a:cubicBezTo>
                  <a:cubicBezTo>
                    <a:pt x="219" y="45"/>
                    <a:pt x="235" y="58"/>
                    <a:pt x="234" y="66"/>
                  </a:cubicBezTo>
                  <a:cubicBezTo>
                    <a:pt x="235" y="62"/>
                    <a:pt x="236" y="58"/>
                    <a:pt x="239" y="55"/>
                  </a:cubicBezTo>
                  <a:close/>
                  <a:moveTo>
                    <a:pt x="310" y="283"/>
                  </a:moveTo>
                  <a:cubicBezTo>
                    <a:pt x="310" y="288"/>
                    <a:pt x="313" y="288"/>
                    <a:pt x="315" y="291"/>
                  </a:cubicBezTo>
                  <a:cubicBezTo>
                    <a:pt x="326" y="280"/>
                    <a:pt x="331" y="288"/>
                    <a:pt x="339" y="296"/>
                  </a:cubicBezTo>
                  <a:cubicBezTo>
                    <a:pt x="342" y="299"/>
                    <a:pt x="347" y="302"/>
                    <a:pt x="353" y="302"/>
                  </a:cubicBezTo>
                  <a:cubicBezTo>
                    <a:pt x="353" y="299"/>
                    <a:pt x="353" y="299"/>
                    <a:pt x="355" y="296"/>
                  </a:cubicBezTo>
                  <a:lnTo>
                    <a:pt x="360" y="296"/>
                  </a:lnTo>
                  <a:cubicBezTo>
                    <a:pt x="366" y="312"/>
                    <a:pt x="392" y="323"/>
                    <a:pt x="395" y="339"/>
                  </a:cubicBezTo>
                  <a:cubicBezTo>
                    <a:pt x="411" y="347"/>
                    <a:pt x="432" y="339"/>
                    <a:pt x="443" y="355"/>
                  </a:cubicBezTo>
                  <a:cubicBezTo>
                    <a:pt x="474" y="389"/>
                    <a:pt x="406" y="402"/>
                    <a:pt x="416" y="437"/>
                  </a:cubicBezTo>
                  <a:cubicBezTo>
                    <a:pt x="411" y="460"/>
                    <a:pt x="392" y="463"/>
                    <a:pt x="371" y="466"/>
                  </a:cubicBezTo>
                  <a:cubicBezTo>
                    <a:pt x="363" y="484"/>
                    <a:pt x="350" y="490"/>
                    <a:pt x="337" y="500"/>
                  </a:cubicBezTo>
                  <a:cubicBezTo>
                    <a:pt x="315" y="500"/>
                    <a:pt x="313" y="516"/>
                    <a:pt x="292" y="521"/>
                  </a:cubicBezTo>
                  <a:cubicBezTo>
                    <a:pt x="284" y="543"/>
                    <a:pt x="265" y="550"/>
                    <a:pt x="260" y="572"/>
                  </a:cubicBezTo>
                  <a:cubicBezTo>
                    <a:pt x="263" y="580"/>
                    <a:pt x="276" y="574"/>
                    <a:pt x="273" y="585"/>
                  </a:cubicBezTo>
                  <a:cubicBezTo>
                    <a:pt x="257" y="585"/>
                    <a:pt x="239" y="577"/>
                    <a:pt x="239" y="558"/>
                  </a:cubicBezTo>
                  <a:cubicBezTo>
                    <a:pt x="244" y="511"/>
                    <a:pt x="278" y="474"/>
                    <a:pt x="284" y="426"/>
                  </a:cubicBezTo>
                  <a:cubicBezTo>
                    <a:pt x="260" y="407"/>
                    <a:pt x="257" y="376"/>
                    <a:pt x="257" y="344"/>
                  </a:cubicBezTo>
                  <a:cubicBezTo>
                    <a:pt x="273" y="336"/>
                    <a:pt x="268" y="320"/>
                    <a:pt x="276" y="309"/>
                  </a:cubicBezTo>
                  <a:lnTo>
                    <a:pt x="268" y="302"/>
                  </a:lnTo>
                  <a:cubicBezTo>
                    <a:pt x="260" y="315"/>
                    <a:pt x="252" y="296"/>
                    <a:pt x="241" y="302"/>
                  </a:cubicBezTo>
                  <a:cubicBezTo>
                    <a:pt x="241" y="299"/>
                    <a:pt x="239" y="296"/>
                    <a:pt x="236" y="294"/>
                  </a:cubicBezTo>
                  <a:cubicBezTo>
                    <a:pt x="231" y="288"/>
                    <a:pt x="223" y="283"/>
                    <a:pt x="218" y="275"/>
                  </a:cubicBezTo>
                  <a:cubicBezTo>
                    <a:pt x="199" y="270"/>
                    <a:pt x="180" y="270"/>
                    <a:pt x="165" y="259"/>
                  </a:cubicBezTo>
                  <a:cubicBezTo>
                    <a:pt x="146" y="257"/>
                    <a:pt x="157" y="235"/>
                    <a:pt x="138" y="230"/>
                  </a:cubicBezTo>
                  <a:cubicBezTo>
                    <a:pt x="135" y="233"/>
                    <a:pt x="133" y="235"/>
                    <a:pt x="133" y="238"/>
                  </a:cubicBezTo>
                  <a:cubicBezTo>
                    <a:pt x="104" y="230"/>
                    <a:pt x="117" y="201"/>
                    <a:pt x="104" y="182"/>
                  </a:cubicBezTo>
                  <a:cubicBezTo>
                    <a:pt x="106" y="169"/>
                    <a:pt x="106" y="159"/>
                    <a:pt x="104" y="148"/>
                  </a:cubicBezTo>
                  <a:cubicBezTo>
                    <a:pt x="101" y="140"/>
                    <a:pt x="98" y="135"/>
                    <a:pt x="93" y="127"/>
                  </a:cubicBezTo>
                  <a:cubicBezTo>
                    <a:pt x="67" y="95"/>
                    <a:pt x="35" y="148"/>
                    <a:pt x="0" y="132"/>
                  </a:cubicBezTo>
                  <a:cubicBezTo>
                    <a:pt x="14" y="132"/>
                    <a:pt x="22" y="124"/>
                    <a:pt x="30" y="116"/>
                  </a:cubicBezTo>
                  <a:cubicBezTo>
                    <a:pt x="27" y="111"/>
                    <a:pt x="19" y="108"/>
                    <a:pt x="22" y="103"/>
                  </a:cubicBezTo>
                  <a:lnTo>
                    <a:pt x="27" y="98"/>
                  </a:lnTo>
                  <a:lnTo>
                    <a:pt x="22" y="92"/>
                  </a:lnTo>
                  <a:lnTo>
                    <a:pt x="27" y="87"/>
                  </a:lnTo>
                  <a:cubicBezTo>
                    <a:pt x="24" y="84"/>
                    <a:pt x="22" y="82"/>
                    <a:pt x="22" y="79"/>
                  </a:cubicBezTo>
                  <a:cubicBezTo>
                    <a:pt x="37" y="66"/>
                    <a:pt x="61" y="47"/>
                    <a:pt x="88" y="50"/>
                  </a:cubicBezTo>
                  <a:cubicBezTo>
                    <a:pt x="109" y="42"/>
                    <a:pt x="135" y="66"/>
                    <a:pt x="154" y="42"/>
                  </a:cubicBezTo>
                  <a:cubicBezTo>
                    <a:pt x="146" y="42"/>
                    <a:pt x="135" y="29"/>
                    <a:pt x="146" y="21"/>
                  </a:cubicBezTo>
                  <a:cubicBezTo>
                    <a:pt x="151" y="21"/>
                    <a:pt x="159" y="10"/>
                    <a:pt x="165" y="21"/>
                  </a:cubicBezTo>
                  <a:cubicBezTo>
                    <a:pt x="170" y="18"/>
                    <a:pt x="170" y="13"/>
                    <a:pt x="170" y="8"/>
                  </a:cubicBezTo>
                  <a:cubicBezTo>
                    <a:pt x="183" y="0"/>
                    <a:pt x="199" y="24"/>
                    <a:pt x="204" y="2"/>
                  </a:cubicBezTo>
                  <a:lnTo>
                    <a:pt x="212" y="2"/>
                  </a:lnTo>
                  <a:cubicBezTo>
                    <a:pt x="212" y="8"/>
                    <a:pt x="215" y="8"/>
                    <a:pt x="218" y="10"/>
                  </a:cubicBezTo>
                  <a:lnTo>
                    <a:pt x="223" y="5"/>
                  </a:lnTo>
                  <a:lnTo>
                    <a:pt x="228" y="10"/>
                  </a:lnTo>
                  <a:cubicBezTo>
                    <a:pt x="239" y="0"/>
                    <a:pt x="247" y="24"/>
                    <a:pt x="263" y="16"/>
                  </a:cubicBezTo>
                  <a:cubicBezTo>
                    <a:pt x="273" y="24"/>
                    <a:pt x="281" y="39"/>
                    <a:pt x="284" y="55"/>
                  </a:cubicBezTo>
                  <a:cubicBezTo>
                    <a:pt x="278" y="55"/>
                    <a:pt x="273" y="55"/>
                    <a:pt x="270" y="61"/>
                  </a:cubicBezTo>
                  <a:lnTo>
                    <a:pt x="289" y="79"/>
                  </a:lnTo>
                  <a:cubicBezTo>
                    <a:pt x="294" y="76"/>
                    <a:pt x="294" y="71"/>
                    <a:pt x="294" y="66"/>
                  </a:cubicBezTo>
                  <a:cubicBezTo>
                    <a:pt x="315" y="76"/>
                    <a:pt x="329" y="98"/>
                    <a:pt x="339" y="116"/>
                  </a:cubicBezTo>
                  <a:cubicBezTo>
                    <a:pt x="315" y="119"/>
                    <a:pt x="297" y="129"/>
                    <a:pt x="284" y="151"/>
                  </a:cubicBezTo>
                  <a:cubicBezTo>
                    <a:pt x="297" y="185"/>
                    <a:pt x="239" y="185"/>
                    <a:pt x="265" y="219"/>
                  </a:cubicBezTo>
                  <a:lnTo>
                    <a:pt x="257" y="227"/>
                  </a:lnTo>
                  <a:cubicBezTo>
                    <a:pt x="257" y="219"/>
                    <a:pt x="255" y="212"/>
                    <a:pt x="249" y="206"/>
                  </a:cubicBezTo>
                  <a:cubicBezTo>
                    <a:pt x="225" y="219"/>
                    <a:pt x="186" y="193"/>
                    <a:pt x="194" y="235"/>
                  </a:cubicBezTo>
                  <a:cubicBezTo>
                    <a:pt x="199" y="241"/>
                    <a:pt x="199" y="249"/>
                    <a:pt x="207" y="251"/>
                  </a:cubicBezTo>
                  <a:cubicBezTo>
                    <a:pt x="218" y="257"/>
                    <a:pt x="223" y="243"/>
                    <a:pt x="228" y="238"/>
                  </a:cubicBezTo>
                  <a:lnTo>
                    <a:pt x="228" y="233"/>
                  </a:lnTo>
                  <a:lnTo>
                    <a:pt x="247" y="233"/>
                  </a:lnTo>
                  <a:cubicBezTo>
                    <a:pt x="255" y="249"/>
                    <a:pt x="228" y="267"/>
                    <a:pt x="255" y="270"/>
                  </a:cubicBezTo>
                  <a:cubicBezTo>
                    <a:pt x="255" y="275"/>
                    <a:pt x="255" y="280"/>
                    <a:pt x="249" y="283"/>
                  </a:cubicBezTo>
                  <a:cubicBezTo>
                    <a:pt x="252" y="288"/>
                    <a:pt x="255" y="291"/>
                    <a:pt x="260" y="291"/>
                  </a:cubicBezTo>
                  <a:lnTo>
                    <a:pt x="270" y="291"/>
                  </a:lnTo>
                  <a:lnTo>
                    <a:pt x="276" y="291"/>
                  </a:lnTo>
                  <a:cubicBezTo>
                    <a:pt x="278" y="291"/>
                    <a:pt x="281" y="291"/>
                    <a:pt x="283" y="295"/>
                  </a:cubicBezTo>
                  <a:cubicBezTo>
                    <a:pt x="292" y="290"/>
                    <a:pt x="298" y="285"/>
                    <a:pt x="310" y="2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Freeform 179">
              <a:extLst>
                <a:ext uri="{FF2B5EF4-FFF2-40B4-BE49-F238E27FC236}">
                  <a16:creationId xmlns:a16="http://schemas.microsoft.com/office/drawing/2014/main" id="{C764B093-D4DE-AC46-A0E1-0F7F70F0F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000" y="4532313"/>
              <a:ext cx="14288" cy="15875"/>
            </a:xfrm>
            <a:custGeom>
              <a:avLst/>
              <a:gdLst>
                <a:gd name="T0" fmla="*/ 1099 w 39"/>
                <a:gd name="T1" fmla="*/ 0 h 46"/>
                <a:gd name="T2" fmla="*/ 6961 w 39"/>
                <a:gd name="T3" fmla="*/ 0 h 46"/>
                <a:gd name="T4" fmla="*/ 11723 w 39"/>
                <a:gd name="T5" fmla="*/ 690 h 46"/>
                <a:gd name="T6" fmla="*/ 13922 w 39"/>
                <a:gd name="T7" fmla="*/ 4486 h 46"/>
                <a:gd name="T8" fmla="*/ 11723 w 39"/>
                <a:gd name="T9" fmla="*/ 7938 h 46"/>
                <a:gd name="T10" fmla="*/ 5862 w 39"/>
                <a:gd name="T11" fmla="*/ 10008 h 46"/>
                <a:gd name="T12" fmla="*/ 5129 w 39"/>
                <a:gd name="T13" fmla="*/ 10008 h 46"/>
                <a:gd name="T14" fmla="*/ 5129 w 39"/>
                <a:gd name="T15" fmla="*/ 15530 h 46"/>
                <a:gd name="T16" fmla="*/ 0 w 39"/>
                <a:gd name="T17" fmla="*/ 15530 h 46"/>
                <a:gd name="T18" fmla="*/ 0 w 39"/>
                <a:gd name="T19" fmla="*/ 0 h 46"/>
                <a:gd name="T20" fmla="*/ 1099 w 39"/>
                <a:gd name="T21" fmla="*/ 0 h 46"/>
                <a:gd name="T22" fmla="*/ 5129 w 39"/>
                <a:gd name="T23" fmla="*/ 6212 h 46"/>
                <a:gd name="T24" fmla="*/ 5862 w 39"/>
                <a:gd name="T25" fmla="*/ 6212 h 46"/>
                <a:gd name="T26" fmla="*/ 8793 w 39"/>
                <a:gd name="T27" fmla="*/ 4486 h 46"/>
                <a:gd name="T28" fmla="*/ 5862 w 39"/>
                <a:gd name="T29" fmla="*/ 2416 h 46"/>
                <a:gd name="T30" fmla="*/ 5129 w 39"/>
                <a:gd name="T31" fmla="*/ 2416 h 46"/>
                <a:gd name="T32" fmla="*/ 5129 w 39"/>
                <a:gd name="T33" fmla="*/ 6212 h 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46">
                  <a:moveTo>
                    <a:pt x="3" y="0"/>
                  </a:moveTo>
                  <a:cubicBezTo>
                    <a:pt x="6" y="0"/>
                    <a:pt x="11" y="0"/>
                    <a:pt x="19" y="0"/>
                  </a:cubicBezTo>
                  <a:cubicBezTo>
                    <a:pt x="24" y="0"/>
                    <a:pt x="29" y="0"/>
                    <a:pt x="32" y="2"/>
                  </a:cubicBezTo>
                  <a:cubicBezTo>
                    <a:pt x="34" y="5"/>
                    <a:pt x="38" y="8"/>
                    <a:pt x="38" y="13"/>
                  </a:cubicBezTo>
                  <a:cubicBezTo>
                    <a:pt x="38" y="19"/>
                    <a:pt x="34" y="21"/>
                    <a:pt x="32" y="23"/>
                  </a:cubicBezTo>
                  <a:cubicBezTo>
                    <a:pt x="29" y="26"/>
                    <a:pt x="24" y="29"/>
                    <a:pt x="16" y="29"/>
                  </a:cubicBezTo>
                  <a:lnTo>
                    <a:pt x="14" y="29"/>
                  </a:lnTo>
                  <a:lnTo>
                    <a:pt x="14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14" y="18"/>
                  </a:moveTo>
                  <a:lnTo>
                    <a:pt x="16" y="18"/>
                  </a:lnTo>
                  <a:cubicBezTo>
                    <a:pt x="22" y="18"/>
                    <a:pt x="24" y="15"/>
                    <a:pt x="24" y="13"/>
                  </a:cubicBezTo>
                  <a:cubicBezTo>
                    <a:pt x="24" y="10"/>
                    <a:pt x="22" y="7"/>
                    <a:pt x="16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1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180">
              <a:extLst>
                <a:ext uri="{FF2B5EF4-FFF2-40B4-BE49-F238E27FC236}">
                  <a16:creationId xmlns:a16="http://schemas.microsoft.com/office/drawing/2014/main" id="{0F335CFE-1643-CE43-BF78-D3C1622FB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2175" y="4554538"/>
              <a:ext cx="15875" cy="15875"/>
            </a:xfrm>
            <a:custGeom>
              <a:avLst/>
              <a:gdLst>
                <a:gd name="T0" fmla="*/ 5907 w 43"/>
                <a:gd name="T1" fmla="*/ 12079 h 46"/>
                <a:gd name="T2" fmla="*/ 4799 w 43"/>
                <a:gd name="T3" fmla="*/ 15530 h 46"/>
                <a:gd name="T4" fmla="*/ 0 w 43"/>
                <a:gd name="T5" fmla="*/ 15530 h 46"/>
                <a:gd name="T6" fmla="*/ 4799 w 43"/>
                <a:gd name="T7" fmla="*/ 0 h 46"/>
                <a:gd name="T8" fmla="*/ 10706 w 43"/>
                <a:gd name="T9" fmla="*/ 0 h 46"/>
                <a:gd name="T10" fmla="*/ 15506 w 43"/>
                <a:gd name="T11" fmla="*/ 15530 h 46"/>
                <a:gd name="T12" fmla="*/ 10706 w 43"/>
                <a:gd name="T13" fmla="*/ 15530 h 46"/>
                <a:gd name="T14" fmla="*/ 9599 w 43"/>
                <a:gd name="T15" fmla="*/ 12079 h 46"/>
                <a:gd name="T16" fmla="*/ 5907 w 43"/>
                <a:gd name="T17" fmla="*/ 12079 h 46"/>
                <a:gd name="T18" fmla="*/ 9599 w 43"/>
                <a:gd name="T19" fmla="*/ 9318 h 46"/>
                <a:gd name="T20" fmla="*/ 8860 w 43"/>
                <a:gd name="T21" fmla="*/ 6557 h 46"/>
                <a:gd name="T22" fmla="*/ 7753 w 43"/>
                <a:gd name="T23" fmla="*/ 3796 h 46"/>
                <a:gd name="T24" fmla="*/ 7753 w 43"/>
                <a:gd name="T25" fmla="*/ 3796 h 46"/>
                <a:gd name="T26" fmla="*/ 6645 w 43"/>
                <a:gd name="T27" fmla="*/ 6557 h 46"/>
                <a:gd name="T28" fmla="*/ 5907 w 43"/>
                <a:gd name="T29" fmla="*/ 9318 h 46"/>
                <a:gd name="T30" fmla="*/ 9599 w 43"/>
                <a:gd name="T31" fmla="*/ 9318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6">
                  <a:moveTo>
                    <a:pt x="16" y="35"/>
                  </a:moveTo>
                  <a:lnTo>
                    <a:pt x="13" y="45"/>
                  </a:lnTo>
                  <a:lnTo>
                    <a:pt x="0" y="45"/>
                  </a:lnTo>
                  <a:lnTo>
                    <a:pt x="13" y="0"/>
                  </a:lnTo>
                  <a:lnTo>
                    <a:pt x="29" y="0"/>
                  </a:lnTo>
                  <a:lnTo>
                    <a:pt x="42" y="45"/>
                  </a:lnTo>
                  <a:lnTo>
                    <a:pt x="29" y="45"/>
                  </a:lnTo>
                  <a:lnTo>
                    <a:pt x="26" y="35"/>
                  </a:lnTo>
                  <a:lnTo>
                    <a:pt x="16" y="35"/>
                  </a:lnTo>
                  <a:close/>
                  <a:moveTo>
                    <a:pt x="26" y="27"/>
                  </a:moveTo>
                  <a:lnTo>
                    <a:pt x="24" y="19"/>
                  </a:lnTo>
                  <a:cubicBezTo>
                    <a:pt x="24" y="16"/>
                    <a:pt x="21" y="14"/>
                    <a:pt x="21" y="11"/>
                  </a:cubicBezTo>
                  <a:cubicBezTo>
                    <a:pt x="21" y="14"/>
                    <a:pt x="21" y="16"/>
                    <a:pt x="18" y="19"/>
                  </a:cubicBezTo>
                  <a:lnTo>
                    <a:pt x="16" y="27"/>
                  </a:lnTo>
                  <a:lnTo>
                    <a:pt x="26" y="2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181">
              <a:extLst>
                <a:ext uri="{FF2B5EF4-FFF2-40B4-BE49-F238E27FC236}">
                  <a16:creationId xmlns:a16="http://schemas.microsoft.com/office/drawing/2014/main" id="{F8471EAC-B75C-3043-8389-F415FB96E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9000" y="4578350"/>
              <a:ext cx="14288" cy="15875"/>
            </a:xfrm>
            <a:custGeom>
              <a:avLst/>
              <a:gdLst>
                <a:gd name="T0" fmla="*/ 3833 w 41"/>
                <a:gd name="T1" fmla="*/ 0 h 46"/>
                <a:gd name="T2" fmla="*/ 3833 w 41"/>
                <a:gd name="T3" fmla="*/ 5522 h 46"/>
                <a:gd name="T4" fmla="*/ 9409 w 41"/>
                <a:gd name="T5" fmla="*/ 5522 h 46"/>
                <a:gd name="T6" fmla="*/ 9409 w 41"/>
                <a:gd name="T7" fmla="*/ 0 h 46"/>
                <a:gd name="T8" fmla="*/ 13940 w 41"/>
                <a:gd name="T9" fmla="*/ 0 h 46"/>
                <a:gd name="T10" fmla="*/ 13940 w 41"/>
                <a:gd name="T11" fmla="*/ 15530 h 46"/>
                <a:gd name="T12" fmla="*/ 9409 w 41"/>
                <a:gd name="T13" fmla="*/ 15530 h 46"/>
                <a:gd name="T14" fmla="*/ 9409 w 41"/>
                <a:gd name="T15" fmla="*/ 8973 h 46"/>
                <a:gd name="T16" fmla="*/ 3833 w 41"/>
                <a:gd name="T17" fmla="*/ 8973 h 46"/>
                <a:gd name="T18" fmla="*/ 3833 w 41"/>
                <a:gd name="T19" fmla="*/ 15530 h 46"/>
                <a:gd name="T20" fmla="*/ 0 w 41"/>
                <a:gd name="T21" fmla="*/ 15530 h 46"/>
                <a:gd name="T22" fmla="*/ 0 w 41"/>
                <a:gd name="T23" fmla="*/ 0 h 46"/>
                <a:gd name="T24" fmla="*/ 3833 w 41"/>
                <a:gd name="T25" fmla="*/ 0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6">
                  <a:moveTo>
                    <a:pt x="11" y="0"/>
                  </a:moveTo>
                  <a:lnTo>
                    <a:pt x="11" y="16"/>
                  </a:lnTo>
                  <a:lnTo>
                    <a:pt x="27" y="16"/>
                  </a:lnTo>
                  <a:lnTo>
                    <a:pt x="27" y="0"/>
                  </a:lnTo>
                  <a:lnTo>
                    <a:pt x="40" y="0"/>
                  </a:lnTo>
                  <a:lnTo>
                    <a:pt x="40" y="45"/>
                  </a:lnTo>
                  <a:lnTo>
                    <a:pt x="27" y="45"/>
                  </a:lnTo>
                  <a:lnTo>
                    <a:pt x="27" y="26"/>
                  </a:lnTo>
                  <a:lnTo>
                    <a:pt x="11" y="26"/>
                  </a:lnTo>
                  <a:lnTo>
                    <a:pt x="11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182">
              <a:extLst>
                <a:ext uri="{FF2B5EF4-FFF2-40B4-BE49-F238E27FC236}">
                  <a16:creationId xmlns:a16="http://schemas.microsoft.com/office/drawing/2014/main" id="{76DEBAD9-9EE9-A148-8E50-9CDDF99F5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0" y="4600575"/>
              <a:ext cx="15875" cy="17463"/>
            </a:xfrm>
            <a:custGeom>
              <a:avLst/>
              <a:gdLst>
                <a:gd name="T0" fmla="*/ 7247 w 46"/>
                <a:gd name="T1" fmla="*/ 17099 h 48"/>
                <a:gd name="T2" fmla="*/ 0 w 46"/>
                <a:gd name="T3" fmla="*/ 8368 h 48"/>
                <a:gd name="T4" fmla="*/ 7247 w 46"/>
                <a:gd name="T5" fmla="*/ 0 h 48"/>
                <a:gd name="T6" fmla="*/ 15530 w 46"/>
                <a:gd name="T7" fmla="*/ 8368 h 48"/>
                <a:gd name="T8" fmla="*/ 7247 w 46"/>
                <a:gd name="T9" fmla="*/ 17099 h 48"/>
                <a:gd name="T10" fmla="*/ 8973 w 46"/>
                <a:gd name="T11" fmla="*/ 13461 h 48"/>
                <a:gd name="T12" fmla="*/ 11734 w 46"/>
                <a:gd name="T13" fmla="*/ 8368 h 48"/>
                <a:gd name="T14" fmla="*/ 8283 w 46"/>
                <a:gd name="T15" fmla="*/ 3638 h 48"/>
                <a:gd name="T16" fmla="*/ 5522 w 46"/>
                <a:gd name="T17" fmla="*/ 8368 h 48"/>
                <a:gd name="T18" fmla="*/ 8973 w 46"/>
                <a:gd name="T19" fmla="*/ 13461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" h="48">
                  <a:moveTo>
                    <a:pt x="21" y="47"/>
                  </a:moveTo>
                  <a:cubicBezTo>
                    <a:pt x="8" y="47"/>
                    <a:pt x="0" y="37"/>
                    <a:pt x="0" y="23"/>
                  </a:cubicBezTo>
                  <a:cubicBezTo>
                    <a:pt x="0" y="10"/>
                    <a:pt x="8" y="0"/>
                    <a:pt x="21" y="0"/>
                  </a:cubicBezTo>
                  <a:cubicBezTo>
                    <a:pt x="40" y="0"/>
                    <a:pt x="45" y="10"/>
                    <a:pt x="45" y="23"/>
                  </a:cubicBezTo>
                  <a:cubicBezTo>
                    <a:pt x="45" y="37"/>
                    <a:pt x="37" y="47"/>
                    <a:pt x="21" y="47"/>
                  </a:cubicBezTo>
                  <a:close/>
                  <a:moveTo>
                    <a:pt x="26" y="37"/>
                  </a:moveTo>
                  <a:cubicBezTo>
                    <a:pt x="32" y="37"/>
                    <a:pt x="34" y="31"/>
                    <a:pt x="34" y="23"/>
                  </a:cubicBezTo>
                  <a:cubicBezTo>
                    <a:pt x="34" y="15"/>
                    <a:pt x="32" y="10"/>
                    <a:pt x="24" y="10"/>
                  </a:cubicBezTo>
                  <a:cubicBezTo>
                    <a:pt x="18" y="10"/>
                    <a:pt x="16" y="15"/>
                    <a:pt x="16" y="23"/>
                  </a:cubicBezTo>
                  <a:cubicBezTo>
                    <a:pt x="16" y="31"/>
                    <a:pt x="18" y="37"/>
                    <a:pt x="26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2" name="Freeform 183">
              <a:extLst>
                <a:ext uri="{FF2B5EF4-FFF2-40B4-BE49-F238E27FC236}">
                  <a16:creationId xmlns:a16="http://schemas.microsoft.com/office/drawing/2014/main" id="{2B8EDBC2-2255-EF45-BAFE-D60279BCF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9600" y="4540250"/>
              <a:ext cx="15875" cy="17463"/>
            </a:xfrm>
            <a:custGeom>
              <a:avLst/>
              <a:gdLst>
                <a:gd name="T0" fmla="*/ 7247 w 46"/>
                <a:gd name="T1" fmla="*/ 17099 h 48"/>
                <a:gd name="T2" fmla="*/ 0 w 46"/>
                <a:gd name="T3" fmla="*/ 8732 h 48"/>
                <a:gd name="T4" fmla="*/ 7247 w 46"/>
                <a:gd name="T5" fmla="*/ 0 h 48"/>
                <a:gd name="T6" fmla="*/ 15530 w 46"/>
                <a:gd name="T7" fmla="*/ 8732 h 48"/>
                <a:gd name="T8" fmla="*/ 7247 w 46"/>
                <a:gd name="T9" fmla="*/ 17099 h 48"/>
                <a:gd name="T10" fmla="*/ 8283 w 46"/>
                <a:gd name="T11" fmla="*/ 13461 h 48"/>
                <a:gd name="T12" fmla="*/ 11043 w 46"/>
                <a:gd name="T13" fmla="*/ 8732 h 48"/>
                <a:gd name="T14" fmla="*/ 7247 w 46"/>
                <a:gd name="T15" fmla="*/ 3638 h 48"/>
                <a:gd name="T16" fmla="*/ 4486 w 46"/>
                <a:gd name="T17" fmla="*/ 8732 h 48"/>
                <a:gd name="T18" fmla="*/ 8283 w 46"/>
                <a:gd name="T19" fmla="*/ 13461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" h="48">
                  <a:moveTo>
                    <a:pt x="21" y="47"/>
                  </a:moveTo>
                  <a:cubicBezTo>
                    <a:pt x="8" y="47"/>
                    <a:pt x="0" y="38"/>
                    <a:pt x="0" y="24"/>
                  </a:cubicBezTo>
                  <a:cubicBezTo>
                    <a:pt x="0" y="11"/>
                    <a:pt x="8" y="0"/>
                    <a:pt x="21" y="0"/>
                  </a:cubicBezTo>
                  <a:cubicBezTo>
                    <a:pt x="37" y="0"/>
                    <a:pt x="45" y="11"/>
                    <a:pt x="45" y="24"/>
                  </a:cubicBezTo>
                  <a:cubicBezTo>
                    <a:pt x="45" y="38"/>
                    <a:pt x="37" y="47"/>
                    <a:pt x="21" y="47"/>
                  </a:cubicBezTo>
                  <a:close/>
                  <a:moveTo>
                    <a:pt x="24" y="37"/>
                  </a:moveTo>
                  <a:cubicBezTo>
                    <a:pt x="29" y="37"/>
                    <a:pt x="32" y="32"/>
                    <a:pt x="32" y="24"/>
                  </a:cubicBezTo>
                  <a:cubicBezTo>
                    <a:pt x="32" y="17"/>
                    <a:pt x="29" y="10"/>
                    <a:pt x="21" y="10"/>
                  </a:cubicBezTo>
                  <a:cubicBezTo>
                    <a:pt x="16" y="10"/>
                    <a:pt x="13" y="17"/>
                    <a:pt x="13" y="24"/>
                  </a:cubicBezTo>
                  <a:cubicBezTo>
                    <a:pt x="13" y="32"/>
                    <a:pt x="16" y="37"/>
                    <a:pt x="24" y="3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184">
              <a:extLst>
                <a:ext uri="{FF2B5EF4-FFF2-40B4-BE49-F238E27FC236}">
                  <a16:creationId xmlns:a16="http://schemas.microsoft.com/office/drawing/2014/main" id="{9A7EAE7A-302A-3D4E-8FCF-248D065C1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013" y="4567238"/>
              <a:ext cx="14287" cy="15875"/>
            </a:xfrm>
            <a:custGeom>
              <a:avLst/>
              <a:gdLst>
                <a:gd name="T0" fmla="*/ 1128 w 38"/>
                <a:gd name="T1" fmla="*/ 0 h 46"/>
                <a:gd name="T2" fmla="*/ 7144 w 38"/>
                <a:gd name="T3" fmla="*/ 0 h 46"/>
                <a:gd name="T4" fmla="*/ 12031 w 38"/>
                <a:gd name="T5" fmla="*/ 690 h 46"/>
                <a:gd name="T6" fmla="*/ 13911 w 38"/>
                <a:gd name="T7" fmla="*/ 4486 h 46"/>
                <a:gd name="T8" fmla="*/ 12031 w 38"/>
                <a:gd name="T9" fmla="*/ 8283 h 46"/>
                <a:gd name="T10" fmla="*/ 6016 w 38"/>
                <a:gd name="T11" fmla="*/ 10008 h 46"/>
                <a:gd name="T12" fmla="*/ 5264 w 38"/>
                <a:gd name="T13" fmla="*/ 10008 h 46"/>
                <a:gd name="T14" fmla="*/ 5264 w 38"/>
                <a:gd name="T15" fmla="*/ 15530 h 46"/>
                <a:gd name="T16" fmla="*/ 0 w 38"/>
                <a:gd name="T17" fmla="*/ 15530 h 46"/>
                <a:gd name="T18" fmla="*/ 0 w 38"/>
                <a:gd name="T19" fmla="*/ 0 h 46"/>
                <a:gd name="T20" fmla="*/ 1128 w 38"/>
                <a:gd name="T21" fmla="*/ 0 h 46"/>
                <a:gd name="T22" fmla="*/ 5264 w 38"/>
                <a:gd name="T23" fmla="*/ 7247 h 46"/>
                <a:gd name="T24" fmla="*/ 6016 w 38"/>
                <a:gd name="T25" fmla="*/ 7247 h 46"/>
                <a:gd name="T26" fmla="*/ 9023 w 38"/>
                <a:gd name="T27" fmla="*/ 5522 h 46"/>
                <a:gd name="T28" fmla="*/ 6016 w 38"/>
                <a:gd name="T29" fmla="*/ 3451 h 46"/>
                <a:gd name="T30" fmla="*/ 5264 w 38"/>
                <a:gd name="T31" fmla="*/ 3451 h 46"/>
                <a:gd name="T32" fmla="*/ 5264 w 38"/>
                <a:gd name="T33" fmla="*/ 7247 h 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8" h="46">
                  <a:moveTo>
                    <a:pt x="3" y="0"/>
                  </a:moveTo>
                  <a:cubicBezTo>
                    <a:pt x="6" y="0"/>
                    <a:pt x="11" y="0"/>
                    <a:pt x="19" y="0"/>
                  </a:cubicBezTo>
                  <a:cubicBezTo>
                    <a:pt x="24" y="0"/>
                    <a:pt x="29" y="0"/>
                    <a:pt x="32" y="2"/>
                  </a:cubicBezTo>
                  <a:cubicBezTo>
                    <a:pt x="35" y="5"/>
                    <a:pt x="37" y="8"/>
                    <a:pt x="37" y="13"/>
                  </a:cubicBezTo>
                  <a:cubicBezTo>
                    <a:pt x="37" y="18"/>
                    <a:pt x="35" y="21"/>
                    <a:pt x="32" y="24"/>
                  </a:cubicBezTo>
                  <a:cubicBezTo>
                    <a:pt x="29" y="26"/>
                    <a:pt x="24" y="29"/>
                    <a:pt x="16" y="29"/>
                  </a:cubicBezTo>
                  <a:lnTo>
                    <a:pt x="14" y="29"/>
                  </a:lnTo>
                  <a:lnTo>
                    <a:pt x="14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14" y="21"/>
                  </a:moveTo>
                  <a:lnTo>
                    <a:pt x="16" y="21"/>
                  </a:lnTo>
                  <a:cubicBezTo>
                    <a:pt x="21" y="21"/>
                    <a:pt x="24" y="18"/>
                    <a:pt x="24" y="16"/>
                  </a:cubicBezTo>
                  <a:cubicBezTo>
                    <a:pt x="24" y="13"/>
                    <a:pt x="21" y="10"/>
                    <a:pt x="16" y="10"/>
                  </a:cubicBezTo>
                  <a:cubicBezTo>
                    <a:pt x="14" y="10"/>
                    <a:pt x="14" y="10"/>
                    <a:pt x="14" y="10"/>
                  </a:cubicBezTo>
                  <a:lnTo>
                    <a:pt x="14" y="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4" name="Freeform 185">
              <a:extLst>
                <a:ext uri="{FF2B5EF4-FFF2-40B4-BE49-F238E27FC236}">
                  <a16:creationId xmlns:a16="http://schemas.microsoft.com/office/drawing/2014/main" id="{982492C6-5C18-AB4E-9195-356D7EF6E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4363" y="4589463"/>
              <a:ext cx="11112" cy="15875"/>
            </a:xfrm>
            <a:custGeom>
              <a:avLst/>
              <a:gdLst>
                <a:gd name="T0" fmla="*/ 1684 w 33"/>
                <a:gd name="T1" fmla="*/ 11043 h 46"/>
                <a:gd name="T2" fmla="*/ 5388 w 33"/>
                <a:gd name="T3" fmla="*/ 12079 h 46"/>
                <a:gd name="T4" fmla="*/ 7071 w 33"/>
                <a:gd name="T5" fmla="*/ 11043 h 46"/>
                <a:gd name="T6" fmla="*/ 4377 w 33"/>
                <a:gd name="T7" fmla="*/ 9318 h 46"/>
                <a:gd name="T8" fmla="*/ 0 w 33"/>
                <a:gd name="T9" fmla="*/ 4832 h 46"/>
                <a:gd name="T10" fmla="*/ 6398 w 33"/>
                <a:gd name="T11" fmla="*/ 0 h 46"/>
                <a:gd name="T12" fmla="*/ 10775 w 33"/>
                <a:gd name="T13" fmla="*/ 1035 h 46"/>
                <a:gd name="T14" fmla="*/ 9765 w 33"/>
                <a:gd name="T15" fmla="*/ 4832 h 46"/>
                <a:gd name="T16" fmla="*/ 6398 w 33"/>
                <a:gd name="T17" fmla="*/ 3796 h 46"/>
                <a:gd name="T18" fmla="*/ 4377 w 33"/>
                <a:gd name="T19" fmla="*/ 4832 h 46"/>
                <a:gd name="T20" fmla="*/ 7071 w 33"/>
                <a:gd name="T21" fmla="*/ 6557 h 46"/>
                <a:gd name="T22" fmla="*/ 10775 w 33"/>
                <a:gd name="T23" fmla="*/ 11043 h 46"/>
                <a:gd name="T24" fmla="*/ 4377 w 33"/>
                <a:gd name="T25" fmla="*/ 15530 h 46"/>
                <a:gd name="T26" fmla="*/ 0 w 33"/>
                <a:gd name="T27" fmla="*/ 14840 h 46"/>
                <a:gd name="T28" fmla="*/ 1684 w 33"/>
                <a:gd name="T29" fmla="*/ 11043 h 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46">
                  <a:moveTo>
                    <a:pt x="5" y="32"/>
                  </a:moveTo>
                  <a:cubicBezTo>
                    <a:pt x="8" y="35"/>
                    <a:pt x="13" y="35"/>
                    <a:pt x="16" y="35"/>
                  </a:cubicBezTo>
                  <a:cubicBezTo>
                    <a:pt x="21" y="35"/>
                    <a:pt x="21" y="32"/>
                    <a:pt x="21" y="32"/>
                  </a:cubicBezTo>
                  <a:cubicBezTo>
                    <a:pt x="21" y="30"/>
                    <a:pt x="19" y="30"/>
                    <a:pt x="13" y="27"/>
                  </a:cubicBezTo>
                  <a:cubicBezTo>
                    <a:pt x="5" y="24"/>
                    <a:pt x="0" y="19"/>
                    <a:pt x="0" y="14"/>
                  </a:cubicBezTo>
                  <a:cubicBezTo>
                    <a:pt x="0" y="6"/>
                    <a:pt x="8" y="0"/>
                    <a:pt x="19" y="0"/>
                  </a:cubicBezTo>
                  <a:cubicBezTo>
                    <a:pt x="24" y="0"/>
                    <a:pt x="27" y="0"/>
                    <a:pt x="32" y="3"/>
                  </a:cubicBezTo>
                  <a:lnTo>
                    <a:pt x="29" y="14"/>
                  </a:lnTo>
                  <a:cubicBezTo>
                    <a:pt x="27" y="14"/>
                    <a:pt x="24" y="11"/>
                    <a:pt x="19" y="11"/>
                  </a:cubicBezTo>
                  <a:cubicBezTo>
                    <a:pt x="16" y="11"/>
                    <a:pt x="13" y="14"/>
                    <a:pt x="13" y="14"/>
                  </a:cubicBezTo>
                  <a:cubicBezTo>
                    <a:pt x="13" y="16"/>
                    <a:pt x="16" y="16"/>
                    <a:pt x="21" y="19"/>
                  </a:cubicBezTo>
                  <a:cubicBezTo>
                    <a:pt x="29" y="22"/>
                    <a:pt x="32" y="27"/>
                    <a:pt x="32" y="32"/>
                  </a:cubicBezTo>
                  <a:cubicBezTo>
                    <a:pt x="32" y="40"/>
                    <a:pt x="27" y="45"/>
                    <a:pt x="13" y="45"/>
                  </a:cubicBezTo>
                  <a:cubicBezTo>
                    <a:pt x="8" y="45"/>
                    <a:pt x="3" y="43"/>
                    <a:pt x="0" y="43"/>
                  </a:cubicBezTo>
                  <a:lnTo>
                    <a:pt x="5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Freeform 186">
              <a:extLst>
                <a:ext uri="{FF2B5EF4-FFF2-40B4-BE49-F238E27FC236}">
                  <a16:creationId xmlns:a16="http://schemas.microsoft.com/office/drawing/2014/main" id="{1C9359BF-97AF-EB4A-8917-4C69F0D31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9325" y="4416425"/>
              <a:ext cx="61913" cy="85725"/>
            </a:xfrm>
            <a:custGeom>
              <a:avLst/>
              <a:gdLst>
                <a:gd name="T0" fmla="*/ 30775 w 171"/>
                <a:gd name="T1" fmla="*/ 0 h 240"/>
                <a:gd name="T2" fmla="*/ 61551 w 171"/>
                <a:gd name="T3" fmla="*/ 42863 h 240"/>
                <a:gd name="T4" fmla="*/ 30775 w 171"/>
                <a:gd name="T5" fmla="*/ 85368 h 240"/>
                <a:gd name="T6" fmla="*/ 0 w 171"/>
                <a:gd name="T7" fmla="*/ 42863 h 240"/>
                <a:gd name="T8" fmla="*/ 30775 w 171"/>
                <a:gd name="T9" fmla="*/ 0 h 240"/>
                <a:gd name="T10" fmla="*/ 30775 w 171"/>
                <a:gd name="T11" fmla="*/ 73938 h 240"/>
                <a:gd name="T12" fmla="*/ 47068 w 171"/>
                <a:gd name="T13" fmla="*/ 42863 h 240"/>
                <a:gd name="T14" fmla="*/ 30775 w 171"/>
                <a:gd name="T15" fmla="*/ 11430 h 240"/>
                <a:gd name="T16" fmla="*/ 14483 w 171"/>
                <a:gd name="T17" fmla="*/ 42863 h 240"/>
                <a:gd name="T18" fmla="*/ 30775 w 171"/>
                <a:gd name="T19" fmla="*/ 73938 h 2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1" h="240">
                  <a:moveTo>
                    <a:pt x="85" y="0"/>
                  </a:moveTo>
                  <a:cubicBezTo>
                    <a:pt x="130" y="0"/>
                    <a:pt x="170" y="38"/>
                    <a:pt x="170" y="120"/>
                  </a:cubicBezTo>
                  <a:cubicBezTo>
                    <a:pt x="170" y="204"/>
                    <a:pt x="127" y="239"/>
                    <a:pt x="85" y="239"/>
                  </a:cubicBezTo>
                  <a:cubicBezTo>
                    <a:pt x="40" y="239"/>
                    <a:pt x="0" y="202"/>
                    <a:pt x="0" y="120"/>
                  </a:cubicBezTo>
                  <a:cubicBezTo>
                    <a:pt x="0" y="38"/>
                    <a:pt x="40" y="0"/>
                    <a:pt x="85" y="0"/>
                  </a:cubicBezTo>
                  <a:close/>
                  <a:moveTo>
                    <a:pt x="85" y="207"/>
                  </a:moveTo>
                  <a:cubicBezTo>
                    <a:pt x="109" y="207"/>
                    <a:pt x="130" y="183"/>
                    <a:pt x="130" y="120"/>
                  </a:cubicBezTo>
                  <a:cubicBezTo>
                    <a:pt x="130" y="56"/>
                    <a:pt x="109" y="32"/>
                    <a:pt x="85" y="32"/>
                  </a:cubicBezTo>
                  <a:cubicBezTo>
                    <a:pt x="61" y="32"/>
                    <a:pt x="40" y="56"/>
                    <a:pt x="40" y="120"/>
                  </a:cubicBezTo>
                  <a:cubicBezTo>
                    <a:pt x="40" y="186"/>
                    <a:pt x="61" y="207"/>
                    <a:pt x="85" y="20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187">
              <a:extLst>
                <a:ext uri="{FF2B5EF4-FFF2-40B4-BE49-F238E27FC236}">
                  <a16:creationId xmlns:a16="http://schemas.microsoft.com/office/drawing/2014/main" id="{B8AEC5E9-8E44-7248-9EB6-E09476F24E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2350" y="4438650"/>
              <a:ext cx="28575" cy="63500"/>
            </a:xfrm>
            <a:custGeom>
              <a:avLst/>
              <a:gdLst>
                <a:gd name="T0" fmla="*/ 0 w 80"/>
                <a:gd name="T1" fmla="*/ 11545 h 176"/>
                <a:gd name="T2" fmla="*/ 0 w 80"/>
                <a:gd name="T3" fmla="*/ 1082 h 176"/>
                <a:gd name="T4" fmla="*/ 12144 w 80"/>
                <a:gd name="T5" fmla="*/ 1082 h 176"/>
                <a:gd name="T6" fmla="*/ 12144 w 80"/>
                <a:gd name="T7" fmla="*/ 12628 h 176"/>
                <a:gd name="T8" fmla="*/ 12144 w 80"/>
                <a:gd name="T9" fmla="*/ 12628 h 176"/>
                <a:gd name="T10" fmla="*/ 26432 w 80"/>
                <a:gd name="T11" fmla="*/ 0 h 176"/>
                <a:gd name="T12" fmla="*/ 28218 w 80"/>
                <a:gd name="T13" fmla="*/ 0 h 176"/>
                <a:gd name="T14" fmla="*/ 28218 w 80"/>
                <a:gd name="T15" fmla="*/ 14432 h 176"/>
                <a:gd name="T16" fmla="*/ 24289 w 80"/>
                <a:gd name="T17" fmla="*/ 13349 h 176"/>
                <a:gd name="T18" fmla="*/ 13216 w 80"/>
                <a:gd name="T19" fmla="*/ 28864 h 176"/>
                <a:gd name="T20" fmla="*/ 13216 w 80"/>
                <a:gd name="T21" fmla="*/ 63139 h 176"/>
                <a:gd name="T22" fmla="*/ 0 w 80"/>
                <a:gd name="T23" fmla="*/ 63139 h 176"/>
                <a:gd name="T24" fmla="*/ 0 w 80"/>
                <a:gd name="T25" fmla="*/ 11545 h 1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0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4" y="3"/>
                  </a:lnTo>
                  <a:cubicBezTo>
                    <a:pt x="34" y="14"/>
                    <a:pt x="34" y="24"/>
                    <a:pt x="34" y="35"/>
                  </a:cubicBezTo>
                  <a:cubicBezTo>
                    <a:pt x="39" y="22"/>
                    <a:pt x="50" y="0"/>
                    <a:pt x="74" y="0"/>
                  </a:cubicBezTo>
                  <a:cubicBezTo>
                    <a:pt x="76" y="0"/>
                    <a:pt x="79" y="0"/>
                    <a:pt x="79" y="0"/>
                  </a:cubicBezTo>
                  <a:lnTo>
                    <a:pt x="79" y="40"/>
                  </a:lnTo>
                  <a:cubicBezTo>
                    <a:pt x="76" y="40"/>
                    <a:pt x="71" y="37"/>
                    <a:pt x="68" y="37"/>
                  </a:cubicBezTo>
                  <a:cubicBezTo>
                    <a:pt x="52" y="37"/>
                    <a:pt x="37" y="48"/>
                    <a:pt x="37" y="80"/>
                  </a:cubicBezTo>
                  <a:lnTo>
                    <a:pt x="37" y="175"/>
                  </a:lnTo>
                  <a:lnTo>
                    <a:pt x="0" y="175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188">
              <a:extLst>
                <a:ext uri="{FF2B5EF4-FFF2-40B4-BE49-F238E27FC236}">
                  <a16:creationId xmlns:a16="http://schemas.microsoft.com/office/drawing/2014/main" id="{C04C7BF7-1781-EB41-B76F-1BACED2CB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863" y="4438650"/>
              <a:ext cx="49212" cy="90488"/>
            </a:xfrm>
            <a:custGeom>
              <a:avLst/>
              <a:gdLst>
                <a:gd name="T0" fmla="*/ 2895 w 136"/>
                <a:gd name="T1" fmla="*/ 72752 h 250"/>
                <a:gd name="T2" fmla="*/ 20264 w 136"/>
                <a:gd name="T3" fmla="*/ 78544 h 250"/>
                <a:gd name="T4" fmla="*/ 35462 w 136"/>
                <a:gd name="T5" fmla="*/ 59360 h 250"/>
                <a:gd name="T6" fmla="*/ 35462 w 136"/>
                <a:gd name="T7" fmla="*/ 52845 h 250"/>
                <a:gd name="T8" fmla="*/ 35462 w 136"/>
                <a:gd name="T9" fmla="*/ 52845 h 250"/>
                <a:gd name="T10" fmla="*/ 20264 w 136"/>
                <a:gd name="T11" fmla="*/ 63342 h 250"/>
                <a:gd name="T12" fmla="*/ 0 w 136"/>
                <a:gd name="T13" fmla="*/ 32576 h 250"/>
                <a:gd name="T14" fmla="*/ 20987 w 136"/>
                <a:gd name="T15" fmla="*/ 0 h 250"/>
                <a:gd name="T16" fmla="*/ 36547 w 136"/>
                <a:gd name="T17" fmla="*/ 10497 h 250"/>
                <a:gd name="T18" fmla="*/ 36547 w 136"/>
                <a:gd name="T19" fmla="*/ 10497 h 250"/>
                <a:gd name="T20" fmla="*/ 36547 w 136"/>
                <a:gd name="T21" fmla="*/ 1086 h 250"/>
                <a:gd name="T22" fmla="*/ 48850 w 136"/>
                <a:gd name="T23" fmla="*/ 1086 h 250"/>
                <a:gd name="T24" fmla="*/ 48850 w 136"/>
                <a:gd name="T25" fmla="*/ 10497 h 250"/>
                <a:gd name="T26" fmla="*/ 48850 w 136"/>
                <a:gd name="T27" fmla="*/ 56465 h 250"/>
                <a:gd name="T28" fmla="*/ 22073 w 136"/>
                <a:gd name="T29" fmla="*/ 90126 h 250"/>
                <a:gd name="T30" fmla="*/ 1809 w 136"/>
                <a:gd name="T31" fmla="*/ 86145 h 250"/>
                <a:gd name="T32" fmla="*/ 2895 w 136"/>
                <a:gd name="T33" fmla="*/ 72752 h 250"/>
                <a:gd name="T34" fmla="*/ 23159 w 136"/>
                <a:gd name="T35" fmla="*/ 51759 h 250"/>
                <a:gd name="T36" fmla="*/ 35462 w 136"/>
                <a:gd name="T37" fmla="*/ 30766 h 250"/>
                <a:gd name="T38" fmla="*/ 23882 w 136"/>
                <a:gd name="T39" fmla="*/ 10497 h 250"/>
                <a:gd name="T40" fmla="*/ 14474 w 136"/>
                <a:gd name="T41" fmla="*/ 30766 h 250"/>
                <a:gd name="T42" fmla="*/ 23159 w 136"/>
                <a:gd name="T43" fmla="*/ 51759 h 2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6" h="250">
                  <a:moveTo>
                    <a:pt x="8" y="201"/>
                  </a:moveTo>
                  <a:cubicBezTo>
                    <a:pt x="16" y="207"/>
                    <a:pt x="35" y="217"/>
                    <a:pt x="56" y="217"/>
                  </a:cubicBezTo>
                  <a:cubicBezTo>
                    <a:pt x="93" y="217"/>
                    <a:pt x="98" y="191"/>
                    <a:pt x="98" y="164"/>
                  </a:cubicBezTo>
                  <a:lnTo>
                    <a:pt x="98" y="146"/>
                  </a:lnTo>
                  <a:cubicBezTo>
                    <a:pt x="93" y="159"/>
                    <a:pt x="82" y="175"/>
                    <a:pt x="56" y="175"/>
                  </a:cubicBezTo>
                  <a:cubicBezTo>
                    <a:pt x="35" y="175"/>
                    <a:pt x="0" y="159"/>
                    <a:pt x="0" y="90"/>
                  </a:cubicBezTo>
                  <a:cubicBezTo>
                    <a:pt x="0" y="42"/>
                    <a:pt x="16" y="0"/>
                    <a:pt x="58" y="0"/>
                  </a:cubicBezTo>
                  <a:cubicBezTo>
                    <a:pt x="82" y="0"/>
                    <a:pt x="93" y="13"/>
                    <a:pt x="101" y="29"/>
                  </a:cubicBezTo>
                  <a:cubicBezTo>
                    <a:pt x="101" y="21"/>
                    <a:pt x="101" y="11"/>
                    <a:pt x="101" y="3"/>
                  </a:cubicBezTo>
                  <a:lnTo>
                    <a:pt x="135" y="3"/>
                  </a:lnTo>
                  <a:cubicBezTo>
                    <a:pt x="135" y="11"/>
                    <a:pt x="135" y="21"/>
                    <a:pt x="135" y="29"/>
                  </a:cubicBezTo>
                  <a:lnTo>
                    <a:pt x="135" y="156"/>
                  </a:lnTo>
                  <a:cubicBezTo>
                    <a:pt x="135" y="209"/>
                    <a:pt x="119" y="249"/>
                    <a:pt x="61" y="249"/>
                  </a:cubicBezTo>
                  <a:cubicBezTo>
                    <a:pt x="35" y="249"/>
                    <a:pt x="16" y="241"/>
                    <a:pt x="5" y="238"/>
                  </a:cubicBezTo>
                  <a:lnTo>
                    <a:pt x="8" y="201"/>
                  </a:lnTo>
                  <a:close/>
                  <a:moveTo>
                    <a:pt x="64" y="143"/>
                  </a:moveTo>
                  <a:cubicBezTo>
                    <a:pt x="88" y="143"/>
                    <a:pt x="98" y="124"/>
                    <a:pt x="98" y="85"/>
                  </a:cubicBezTo>
                  <a:cubicBezTo>
                    <a:pt x="98" y="48"/>
                    <a:pt x="85" y="29"/>
                    <a:pt x="66" y="29"/>
                  </a:cubicBezTo>
                  <a:cubicBezTo>
                    <a:pt x="45" y="29"/>
                    <a:pt x="40" y="50"/>
                    <a:pt x="40" y="85"/>
                  </a:cubicBezTo>
                  <a:cubicBezTo>
                    <a:pt x="37" y="127"/>
                    <a:pt x="50" y="143"/>
                    <a:pt x="64" y="1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189">
              <a:extLst>
                <a:ext uri="{FF2B5EF4-FFF2-40B4-BE49-F238E27FC236}">
                  <a16:creationId xmlns:a16="http://schemas.microsoft.com/office/drawing/2014/main" id="{3BB1353C-9FF3-5943-BAA6-8BD3C7984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4438650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4173 h 176"/>
                <a:gd name="T20" fmla="*/ 33810 w 131"/>
                <a:gd name="T21" fmla="*/ 2417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1629 w 131"/>
                <a:gd name="T31" fmla="*/ 33554 h 176"/>
                <a:gd name="T32" fmla="*/ 12361 w 131"/>
                <a:gd name="T33" fmla="*/ 45099 h 176"/>
                <a:gd name="T34" fmla="*/ 21086 w 131"/>
                <a:gd name="T35" fmla="*/ 54480 h 176"/>
                <a:gd name="T36" fmla="*/ 32719 w 131"/>
                <a:gd name="T37" fmla="*/ 36440 h 176"/>
                <a:gd name="T38" fmla="*/ 32719 w 131"/>
                <a:gd name="T39" fmla="*/ 33554 h 176"/>
                <a:gd name="T40" fmla="*/ 31629 w 131"/>
                <a:gd name="T41" fmla="*/ 33554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5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4" y="67"/>
                    <a:pt x="85" y="67"/>
                  </a:cubicBezTo>
                  <a:lnTo>
                    <a:pt x="93" y="67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87" y="93"/>
                  </a:moveTo>
                  <a:cubicBezTo>
                    <a:pt x="56" y="93"/>
                    <a:pt x="34" y="101"/>
                    <a:pt x="34" y="125"/>
                  </a:cubicBezTo>
                  <a:cubicBezTo>
                    <a:pt x="34" y="141"/>
                    <a:pt x="45" y="151"/>
                    <a:pt x="58" y="151"/>
                  </a:cubicBezTo>
                  <a:cubicBezTo>
                    <a:pt x="82" y="151"/>
                    <a:pt x="90" y="133"/>
                    <a:pt x="90" y="101"/>
                  </a:cubicBezTo>
                  <a:lnTo>
                    <a:pt x="90" y="93"/>
                  </a:lnTo>
                  <a:lnTo>
                    <a:pt x="87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190">
              <a:extLst>
                <a:ext uri="{FF2B5EF4-FFF2-40B4-BE49-F238E27FC236}">
                  <a16:creationId xmlns:a16="http://schemas.microsoft.com/office/drawing/2014/main" id="{EC4E4941-9F87-DD43-8155-691CD8B289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4438650"/>
              <a:ext cx="46037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413 w 128"/>
                <a:gd name="T13" fmla="*/ 0 h 176"/>
                <a:gd name="T14" fmla="*/ 45677 w 128"/>
                <a:gd name="T15" fmla="*/ 23091 h 176"/>
                <a:gd name="T16" fmla="*/ 45677 w 128"/>
                <a:gd name="T17" fmla="*/ 63139 h 176"/>
                <a:gd name="T18" fmla="*/ 32370 w 128"/>
                <a:gd name="T19" fmla="*/ 63139 h 176"/>
                <a:gd name="T20" fmla="*/ 32370 w 128"/>
                <a:gd name="T21" fmla="*/ 25977 h 176"/>
                <a:gd name="T22" fmla="*/ 24817 w 128"/>
                <a:gd name="T23" fmla="*/ 12628 h 176"/>
                <a:gd name="T24" fmla="*/ 15106 w 128"/>
                <a:gd name="T25" fmla="*/ 27060 h 176"/>
                <a:gd name="T26" fmla="*/ 15106 w 128"/>
                <a:gd name="T27" fmla="*/ 63139 h 176"/>
                <a:gd name="T28" fmla="*/ 1798 w 128"/>
                <a:gd name="T29" fmla="*/ 63139 h 176"/>
                <a:gd name="T30" fmla="*/ 1798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29"/>
                  </a:cubicBez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90" y="175"/>
                  </a:lnTo>
                  <a:lnTo>
                    <a:pt x="90" y="72"/>
                  </a:lnTo>
                  <a:cubicBezTo>
                    <a:pt x="90" y="45"/>
                    <a:pt x="85" y="35"/>
                    <a:pt x="69" y="35"/>
                  </a:cubicBezTo>
                  <a:cubicBezTo>
                    <a:pt x="48" y="35"/>
                    <a:pt x="42" y="53"/>
                    <a:pt x="42" y="75"/>
                  </a:cubicBezTo>
                  <a:lnTo>
                    <a:pt x="42" y="175"/>
                  </a:lnTo>
                  <a:lnTo>
                    <a:pt x="5" y="175"/>
                  </a:lnTo>
                  <a:lnTo>
                    <a:pt x="5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191">
              <a:extLst>
                <a:ext uri="{FF2B5EF4-FFF2-40B4-BE49-F238E27FC236}">
                  <a16:creationId xmlns:a16="http://schemas.microsoft.com/office/drawing/2014/main" id="{A532A0C1-B482-BC4D-8E66-7AFCDF2EB3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313" y="4413250"/>
              <a:ext cx="14287" cy="87313"/>
            </a:xfrm>
            <a:custGeom>
              <a:avLst/>
              <a:gdLst>
                <a:gd name="T0" fmla="*/ 0 w 41"/>
                <a:gd name="T1" fmla="*/ 0 h 244"/>
                <a:gd name="T2" fmla="*/ 13939 w 41"/>
                <a:gd name="T3" fmla="*/ 0 h 244"/>
                <a:gd name="T4" fmla="*/ 13939 w 41"/>
                <a:gd name="T5" fmla="*/ 13956 h 244"/>
                <a:gd name="T6" fmla="*/ 0 w 41"/>
                <a:gd name="T7" fmla="*/ 13956 h 244"/>
                <a:gd name="T8" fmla="*/ 0 w 41"/>
                <a:gd name="T9" fmla="*/ 0 h 244"/>
                <a:gd name="T10" fmla="*/ 1045 w 41"/>
                <a:gd name="T11" fmla="*/ 25407 h 244"/>
                <a:gd name="T12" fmla="*/ 13939 w 41"/>
                <a:gd name="T13" fmla="*/ 25407 h 244"/>
                <a:gd name="T14" fmla="*/ 13939 w 41"/>
                <a:gd name="T15" fmla="*/ 86955 h 244"/>
                <a:gd name="T16" fmla="*/ 1045 w 41"/>
                <a:gd name="T17" fmla="*/ 86955 h 244"/>
                <a:gd name="T18" fmla="*/ 1045 w 41"/>
                <a:gd name="T19" fmla="*/ 25407 h 2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244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3" y="71"/>
                  </a:moveTo>
                  <a:lnTo>
                    <a:pt x="40" y="71"/>
                  </a:lnTo>
                  <a:lnTo>
                    <a:pt x="40" y="243"/>
                  </a:lnTo>
                  <a:lnTo>
                    <a:pt x="3" y="243"/>
                  </a:lnTo>
                  <a:lnTo>
                    <a:pt x="3" y="7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192">
              <a:extLst>
                <a:ext uri="{FF2B5EF4-FFF2-40B4-BE49-F238E27FC236}">
                  <a16:creationId xmlns:a16="http://schemas.microsoft.com/office/drawing/2014/main" id="{409332E9-1EBD-EE45-B411-A9DFAAEEE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4125" y="4438650"/>
              <a:ext cx="38100" cy="61913"/>
            </a:xfrm>
            <a:custGeom>
              <a:avLst/>
              <a:gdLst>
                <a:gd name="T0" fmla="*/ 0 w 108"/>
                <a:gd name="T1" fmla="*/ 49387 h 173"/>
                <a:gd name="T2" fmla="*/ 23636 w 108"/>
                <a:gd name="T3" fmla="*/ 11452 h 173"/>
                <a:gd name="T4" fmla="*/ 706 w 108"/>
                <a:gd name="T5" fmla="*/ 11452 h 173"/>
                <a:gd name="T6" fmla="*/ 706 w 108"/>
                <a:gd name="T7" fmla="*/ 0 h 173"/>
                <a:gd name="T8" fmla="*/ 37042 w 108"/>
                <a:gd name="T9" fmla="*/ 0 h 173"/>
                <a:gd name="T10" fmla="*/ 37042 w 108"/>
                <a:gd name="T11" fmla="*/ 12168 h 173"/>
                <a:gd name="T12" fmla="*/ 13758 w 108"/>
                <a:gd name="T13" fmla="*/ 50103 h 173"/>
                <a:gd name="T14" fmla="*/ 37747 w 108"/>
                <a:gd name="T15" fmla="*/ 50103 h 173"/>
                <a:gd name="T16" fmla="*/ 37747 w 108"/>
                <a:gd name="T17" fmla="*/ 61555 h 173"/>
                <a:gd name="T18" fmla="*/ 0 w 108"/>
                <a:gd name="T19" fmla="*/ 61555 h 173"/>
                <a:gd name="T20" fmla="*/ 0 w 108"/>
                <a:gd name="T21" fmla="*/ 49387 h 17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8" h="173">
                  <a:moveTo>
                    <a:pt x="0" y="138"/>
                  </a:moveTo>
                  <a:lnTo>
                    <a:pt x="67" y="32"/>
                  </a:lnTo>
                  <a:lnTo>
                    <a:pt x="2" y="32"/>
                  </a:lnTo>
                  <a:lnTo>
                    <a:pt x="2" y="0"/>
                  </a:lnTo>
                  <a:lnTo>
                    <a:pt x="105" y="0"/>
                  </a:lnTo>
                  <a:lnTo>
                    <a:pt x="105" y="34"/>
                  </a:lnTo>
                  <a:lnTo>
                    <a:pt x="39" y="140"/>
                  </a:lnTo>
                  <a:lnTo>
                    <a:pt x="107" y="140"/>
                  </a:lnTo>
                  <a:lnTo>
                    <a:pt x="107" y="172"/>
                  </a:lnTo>
                  <a:lnTo>
                    <a:pt x="0" y="172"/>
                  </a:lnTo>
                  <a:lnTo>
                    <a:pt x="0" y="13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193">
              <a:extLst>
                <a:ext uri="{FF2B5EF4-FFF2-40B4-BE49-F238E27FC236}">
                  <a16:creationId xmlns:a16="http://schemas.microsoft.com/office/drawing/2014/main" id="{961609FC-4167-4946-AF4C-EC5C984B3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8575" y="4438650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4173 h 176"/>
                <a:gd name="T20" fmla="*/ 33810 w 131"/>
                <a:gd name="T21" fmla="*/ 2417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2719 w 131"/>
                <a:gd name="T31" fmla="*/ 33554 h 176"/>
                <a:gd name="T32" fmla="*/ 13451 w 131"/>
                <a:gd name="T33" fmla="*/ 45099 h 176"/>
                <a:gd name="T34" fmla="*/ 22177 w 131"/>
                <a:gd name="T35" fmla="*/ 54480 h 176"/>
                <a:gd name="T36" fmla="*/ 33810 w 131"/>
                <a:gd name="T37" fmla="*/ 36440 h 176"/>
                <a:gd name="T38" fmla="*/ 33810 w 131"/>
                <a:gd name="T39" fmla="*/ 33554 h 176"/>
                <a:gd name="T40" fmla="*/ 32719 w 131"/>
                <a:gd name="T41" fmla="*/ 33554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5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7"/>
                    <a:pt x="85" y="67"/>
                  </a:cubicBezTo>
                  <a:lnTo>
                    <a:pt x="93" y="67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90" y="93"/>
                  </a:moveTo>
                  <a:cubicBezTo>
                    <a:pt x="58" y="93"/>
                    <a:pt x="37" y="101"/>
                    <a:pt x="37" y="125"/>
                  </a:cubicBezTo>
                  <a:cubicBezTo>
                    <a:pt x="37" y="141"/>
                    <a:pt x="48" y="151"/>
                    <a:pt x="61" y="151"/>
                  </a:cubicBezTo>
                  <a:cubicBezTo>
                    <a:pt x="85" y="151"/>
                    <a:pt x="93" y="133"/>
                    <a:pt x="93" y="101"/>
                  </a:cubicBezTo>
                  <a:lnTo>
                    <a:pt x="93" y="93"/>
                  </a:lnTo>
                  <a:lnTo>
                    <a:pt x="90" y="9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194">
              <a:extLst>
                <a:ext uri="{FF2B5EF4-FFF2-40B4-BE49-F238E27FC236}">
                  <a16:creationId xmlns:a16="http://schemas.microsoft.com/office/drawing/2014/main" id="{BFAAA0D3-017E-4645-AFC8-EAD8F4420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5725" y="4438650"/>
              <a:ext cx="39688" cy="63500"/>
            </a:xfrm>
            <a:custGeom>
              <a:avLst/>
              <a:gdLst>
                <a:gd name="T0" fmla="*/ 39334 w 112"/>
                <a:gd name="T1" fmla="*/ 60289 h 178"/>
                <a:gd name="T2" fmla="*/ 26222 w 112"/>
                <a:gd name="T3" fmla="*/ 63143 h 178"/>
                <a:gd name="T4" fmla="*/ 0 w 112"/>
                <a:gd name="T5" fmla="*/ 32107 h 178"/>
                <a:gd name="T6" fmla="*/ 27285 w 112"/>
                <a:gd name="T7" fmla="*/ 0 h 178"/>
                <a:gd name="T8" fmla="*/ 39334 w 112"/>
                <a:gd name="T9" fmla="*/ 2854 h 178"/>
                <a:gd name="T10" fmla="*/ 38625 w 112"/>
                <a:gd name="T11" fmla="*/ 14270 h 178"/>
                <a:gd name="T12" fmla="*/ 29057 w 112"/>
                <a:gd name="T13" fmla="*/ 11416 h 178"/>
                <a:gd name="T14" fmla="*/ 14174 w 112"/>
                <a:gd name="T15" fmla="*/ 32107 h 178"/>
                <a:gd name="T16" fmla="*/ 29057 w 112"/>
                <a:gd name="T17" fmla="*/ 52084 h 178"/>
                <a:gd name="T18" fmla="*/ 38625 w 112"/>
                <a:gd name="T19" fmla="*/ 49230 h 178"/>
                <a:gd name="T20" fmla="*/ 39334 w 112"/>
                <a:gd name="T21" fmla="*/ 60289 h 17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2" h="178">
                  <a:moveTo>
                    <a:pt x="111" y="169"/>
                  </a:moveTo>
                  <a:cubicBezTo>
                    <a:pt x="103" y="172"/>
                    <a:pt x="90" y="177"/>
                    <a:pt x="74" y="177"/>
                  </a:cubicBezTo>
                  <a:cubicBezTo>
                    <a:pt x="21" y="177"/>
                    <a:pt x="0" y="138"/>
                    <a:pt x="0" y="90"/>
                  </a:cubicBezTo>
                  <a:cubicBezTo>
                    <a:pt x="0" y="40"/>
                    <a:pt x="24" y="0"/>
                    <a:pt x="77" y="0"/>
                  </a:cubicBezTo>
                  <a:cubicBezTo>
                    <a:pt x="90" y="0"/>
                    <a:pt x="103" y="5"/>
                    <a:pt x="111" y="8"/>
                  </a:cubicBezTo>
                  <a:lnTo>
                    <a:pt x="109" y="40"/>
                  </a:lnTo>
                  <a:cubicBezTo>
                    <a:pt x="101" y="37"/>
                    <a:pt x="93" y="32"/>
                    <a:pt x="82" y="32"/>
                  </a:cubicBezTo>
                  <a:cubicBezTo>
                    <a:pt x="53" y="32"/>
                    <a:pt x="40" y="53"/>
                    <a:pt x="40" y="90"/>
                  </a:cubicBezTo>
                  <a:cubicBezTo>
                    <a:pt x="40" y="122"/>
                    <a:pt x="53" y="146"/>
                    <a:pt x="82" y="146"/>
                  </a:cubicBezTo>
                  <a:cubicBezTo>
                    <a:pt x="90" y="146"/>
                    <a:pt x="103" y="140"/>
                    <a:pt x="109" y="138"/>
                  </a:cubicBezTo>
                  <a:lnTo>
                    <a:pt x="111" y="1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Freeform 195">
              <a:extLst>
                <a:ext uri="{FF2B5EF4-FFF2-40B4-BE49-F238E27FC236}">
                  <a16:creationId xmlns:a16="http://schemas.microsoft.com/office/drawing/2014/main" id="{0119FC5E-79D5-C94A-8899-FF7B4A5C1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938" y="4413250"/>
              <a:ext cx="14287" cy="87313"/>
            </a:xfrm>
            <a:custGeom>
              <a:avLst/>
              <a:gdLst>
                <a:gd name="T0" fmla="*/ 0 w 41"/>
                <a:gd name="T1" fmla="*/ 0 h 244"/>
                <a:gd name="T2" fmla="*/ 13939 w 41"/>
                <a:gd name="T3" fmla="*/ 0 h 244"/>
                <a:gd name="T4" fmla="*/ 13939 w 41"/>
                <a:gd name="T5" fmla="*/ 13956 h 244"/>
                <a:gd name="T6" fmla="*/ 0 w 41"/>
                <a:gd name="T7" fmla="*/ 13956 h 244"/>
                <a:gd name="T8" fmla="*/ 0 w 41"/>
                <a:gd name="T9" fmla="*/ 0 h 244"/>
                <a:gd name="T10" fmla="*/ 0 w 41"/>
                <a:gd name="T11" fmla="*/ 25407 h 244"/>
                <a:gd name="T12" fmla="*/ 12893 w 41"/>
                <a:gd name="T13" fmla="*/ 25407 h 244"/>
                <a:gd name="T14" fmla="*/ 12893 w 41"/>
                <a:gd name="T15" fmla="*/ 86955 h 244"/>
                <a:gd name="T16" fmla="*/ 0 w 41"/>
                <a:gd name="T17" fmla="*/ 86955 h 244"/>
                <a:gd name="T18" fmla="*/ 0 w 41"/>
                <a:gd name="T19" fmla="*/ 25407 h 2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244">
                  <a:moveTo>
                    <a:pt x="0" y="0"/>
                  </a:moveTo>
                  <a:lnTo>
                    <a:pt x="40" y="0"/>
                  </a:lnTo>
                  <a:lnTo>
                    <a:pt x="40" y="39"/>
                  </a:lnTo>
                  <a:lnTo>
                    <a:pt x="0" y="39"/>
                  </a:lnTo>
                  <a:lnTo>
                    <a:pt x="0" y="0"/>
                  </a:lnTo>
                  <a:close/>
                  <a:moveTo>
                    <a:pt x="0" y="71"/>
                  </a:moveTo>
                  <a:lnTo>
                    <a:pt x="37" y="71"/>
                  </a:lnTo>
                  <a:lnTo>
                    <a:pt x="37" y="243"/>
                  </a:lnTo>
                  <a:lnTo>
                    <a:pt x="0" y="243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Freeform 196">
              <a:extLst>
                <a:ext uri="{FF2B5EF4-FFF2-40B4-BE49-F238E27FC236}">
                  <a16:creationId xmlns:a16="http://schemas.microsoft.com/office/drawing/2014/main" id="{20AADA6D-7FDA-504B-9564-04585F2EB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0338" y="4414838"/>
              <a:ext cx="49212" cy="87312"/>
            </a:xfrm>
            <a:custGeom>
              <a:avLst/>
              <a:gdLst>
                <a:gd name="T0" fmla="*/ 24249 w 138"/>
                <a:gd name="T1" fmla="*/ 22730 h 242"/>
                <a:gd name="T2" fmla="*/ 48855 w 138"/>
                <a:gd name="T3" fmla="*/ 54480 h 242"/>
                <a:gd name="T4" fmla="*/ 24249 w 138"/>
                <a:gd name="T5" fmla="*/ 86951 h 242"/>
                <a:gd name="T6" fmla="*/ 0 w 138"/>
                <a:gd name="T7" fmla="*/ 54480 h 242"/>
                <a:gd name="T8" fmla="*/ 24249 w 138"/>
                <a:gd name="T9" fmla="*/ 22730 h 242"/>
                <a:gd name="T10" fmla="*/ 24249 w 138"/>
                <a:gd name="T11" fmla="*/ 76488 h 242"/>
                <a:gd name="T12" fmla="*/ 34591 w 138"/>
                <a:gd name="T13" fmla="*/ 55201 h 242"/>
                <a:gd name="T14" fmla="*/ 24249 w 138"/>
                <a:gd name="T15" fmla="*/ 34275 h 242"/>
                <a:gd name="T16" fmla="*/ 13195 w 138"/>
                <a:gd name="T17" fmla="*/ 55201 h 242"/>
                <a:gd name="T18" fmla="*/ 24249 w 138"/>
                <a:gd name="T19" fmla="*/ 76488 h 242"/>
                <a:gd name="T20" fmla="*/ 25319 w 138"/>
                <a:gd name="T21" fmla="*/ 0 h 242"/>
                <a:gd name="T22" fmla="*/ 38514 w 138"/>
                <a:gd name="T23" fmla="*/ 0 h 242"/>
                <a:gd name="T24" fmla="*/ 27102 w 138"/>
                <a:gd name="T25" fmla="*/ 16957 h 242"/>
                <a:gd name="T26" fmla="*/ 18544 w 138"/>
                <a:gd name="T27" fmla="*/ 16957 h 242"/>
                <a:gd name="T28" fmla="*/ 25319 w 138"/>
                <a:gd name="T29" fmla="*/ 0 h 24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38" h="242">
                  <a:moveTo>
                    <a:pt x="68" y="63"/>
                  </a:moveTo>
                  <a:cubicBezTo>
                    <a:pt x="100" y="63"/>
                    <a:pt x="137" y="82"/>
                    <a:pt x="137" y="151"/>
                  </a:cubicBezTo>
                  <a:cubicBezTo>
                    <a:pt x="137" y="222"/>
                    <a:pt x="100" y="241"/>
                    <a:pt x="68" y="241"/>
                  </a:cubicBezTo>
                  <a:cubicBezTo>
                    <a:pt x="37" y="241"/>
                    <a:pt x="0" y="225"/>
                    <a:pt x="0" y="151"/>
                  </a:cubicBezTo>
                  <a:cubicBezTo>
                    <a:pt x="0" y="82"/>
                    <a:pt x="37" y="63"/>
                    <a:pt x="68" y="63"/>
                  </a:cubicBezTo>
                  <a:close/>
                  <a:moveTo>
                    <a:pt x="68" y="212"/>
                  </a:moveTo>
                  <a:cubicBezTo>
                    <a:pt x="92" y="212"/>
                    <a:pt x="97" y="180"/>
                    <a:pt x="97" y="153"/>
                  </a:cubicBezTo>
                  <a:cubicBezTo>
                    <a:pt x="97" y="124"/>
                    <a:pt x="92" y="95"/>
                    <a:pt x="68" y="95"/>
                  </a:cubicBezTo>
                  <a:cubicBezTo>
                    <a:pt x="45" y="95"/>
                    <a:pt x="37" y="124"/>
                    <a:pt x="37" y="153"/>
                  </a:cubicBezTo>
                  <a:cubicBezTo>
                    <a:pt x="39" y="183"/>
                    <a:pt x="45" y="212"/>
                    <a:pt x="68" y="212"/>
                  </a:cubicBezTo>
                  <a:close/>
                  <a:moveTo>
                    <a:pt x="71" y="0"/>
                  </a:moveTo>
                  <a:lnTo>
                    <a:pt x="108" y="0"/>
                  </a:lnTo>
                  <a:lnTo>
                    <a:pt x="76" y="47"/>
                  </a:lnTo>
                  <a:lnTo>
                    <a:pt x="52" y="47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197">
              <a:extLst>
                <a:ext uri="{FF2B5EF4-FFF2-40B4-BE49-F238E27FC236}">
                  <a16:creationId xmlns:a16="http://schemas.microsoft.com/office/drawing/2014/main" id="{44641357-F006-6446-BD52-1FE57A5EAD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0663" y="4438650"/>
              <a:ext cx="46037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773 w 128"/>
                <a:gd name="T13" fmla="*/ 0 h 176"/>
                <a:gd name="T14" fmla="*/ 45677 w 128"/>
                <a:gd name="T15" fmla="*/ 23091 h 176"/>
                <a:gd name="T16" fmla="*/ 45677 w 128"/>
                <a:gd name="T17" fmla="*/ 63139 h 176"/>
                <a:gd name="T18" fmla="*/ 32370 w 128"/>
                <a:gd name="T19" fmla="*/ 63139 h 176"/>
                <a:gd name="T20" fmla="*/ 32370 w 128"/>
                <a:gd name="T21" fmla="*/ 25977 h 176"/>
                <a:gd name="T22" fmla="*/ 24817 w 128"/>
                <a:gd name="T23" fmla="*/ 12628 h 176"/>
                <a:gd name="T24" fmla="*/ 15466 w 128"/>
                <a:gd name="T25" fmla="*/ 27060 h 176"/>
                <a:gd name="T26" fmla="*/ 15466 w 128"/>
                <a:gd name="T27" fmla="*/ 63139 h 176"/>
                <a:gd name="T28" fmla="*/ 2158 w 128"/>
                <a:gd name="T29" fmla="*/ 63139 h 176"/>
                <a:gd name="T30" fmla="*/ 2158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2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2"/>
                    <a:pt x="37" y="29"/>
                  </a:cubicBezTo>
                  <a:cubicBezTo>
                    <a:pt x="43" y="19"/>
                    <a:pt x="53" y="0"/>
                    <a:pt x="80" y="0"/>
                  </a:cubicBezTo>
                  <a:cubicBezTo>
                    <a:pt x="117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90" y="175"/>
                  </a:lnTo>
                  <a:lnTo>
                    <a:pt x="90" y="72"/>
                  </a:lnTo>
                  <a:cubicBezTo>
                    <a:pt x="90" y="45"/>
                    <a:pt x="85" y="35"/>
                    <a:pt x="69" y="35"/>
                  </a:cubicBezTo>
                  <a:cubicBezTo>
                    <a:pt x="48" y="35"/>
                    <a:pt x="43" y="53"/>
                    <a:pt x="43" y="75"/>
                  </a:cubicBezTo>
                  <a:lnTo>
                    <a:pt x="43" y="175"/>
                  </a:lnTo>
                  <a:lnTo>
                    <a:pt x="6" y="175"/>
                  </a:lnTo>
                  <a:lnTo>
                    <a:pt x="6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198">
              <a:extLst>
                <a:ext uri="{FF2B5EF4-FFF2-40B4-BE49-F238E27FC236}">
                  <a16:creationId xmlns:a16="http://schemas.microsoft.com/office/drawing/2014/main" id="{8DB63A61-83F9-BC48-8E95-0F5122805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2500" y="4522788"/>
              <a:ext cx="46038" cy="84137"/>
            </a:xfrm>
            <a:custGeom>
              <a:avLst/>
              <a:gdLst>
                <a:gd name="T0" fmla="*/ 0 w 130"/>
                <a:gd name="T1" fmla="*/ 0 h 234"/>
                <a:gd name="T2" fmla="*/ 21248 w 130"/>
                <a:gd name="T3" fmla="*/ 0 h 234"/>
                <a:gd name="T4" fmla="*/ 45684 w 130"/>
                <a:gd name="T5" fmla="*/ 25888 h 234"/>
                <a:gd name="T6" fmla="*/ 21248 w 130"/>
                <a:gd name="T7" fmla="*/ 51417 h 234"/>
                <a:gd name="T8" fmla="*/ 13811 w 130"/>
                <a:gd name="T9" fmla="*/ 51417 h 234"/>
                <a:gd name="T10" fmla="*/ 13811 w 130"/>
                <a:gd name="T11" fmla="*/ 83777 h 234"/>
                <a:gd name="T12" fmla="*/ 0 w 130"/>
                <a:gd name="T13" fmla="*/ 83777 h 234"/>
                <a:gd name="T14" fmla="*/ 0 w 130"/>
                <a:gd name="T15" fmla="*/ 0 h 234"/>
                <a:gd name="T16" fmla="*/ 19478 w 130"/>
                <a:gd name="T17" fmla="*/ 39192 h 234"/>
                <a:gd name="T18" fmla="*/ 31872 w 130"/>
                <a:gd name="T19" fmla="*/ 24810 h 234"/>
                <a:gd name="T20" fmla="*/ 19478 w 130"/>
                <a:gd name="T21" fmla="*/ 11506 h 234"/>
                <a:gd name="T22" fmla="*/ 13811 w 130"/>
                <a:gd name="T23" fmla="*/ 11506 h 234"/>
                <a:gd name="T24" fmla="*/ 13811 w 130"/>
                <a:gd name="T25" fmla="*/ 39192 h 234"/>
                <a:gd name="T26" fmla="*/ 19478 w 130"/>
                <a:gd name="T27" fmla="*/ 39192 h 2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0" h="234">
                  <a:moveTo>
                    <a:pt x="0" y="0"/>
                  </a:moveTo>
                  <a:lnTo>
                    <a:pt x="60" y="0"/>
                  </a:lnTo>
                  <a:cubicBezTo>
                    <a:pt x="105" y="0"/>
                    <a:pt x="129" y="27"/>
                    <a:pt x="129" y="72"/>
                  </a:cubicBezTo>
                  <a:cubicBezTo>
                    <a:pt x="129" y="117"/>
                    <a:pt x="105" y="143"/>
                    <a:pt x="60" y="143"/>
                  </a:cubicBezTo>
                  <a:lnTo>
                    <a:pt x="39" y="143"/>
                  </a:lnTo>
                  <a:lnTo>
                    <a:pt x="39" y="233"/>
                  </a:lnTo>
                  <a:lnTo>
                    <a:pt x="0" y="233"/>
                  </a:lnTo>
                  <a:lnTo>
                    <a:pt x="0" y="0"/>
                  </a:lnTo>
                  <a:close/>
                  <a:moveTo>
                    <a:pt x="55" y="109"/>
                  </a:moveTo>
                  <a:cubicBezTo>
                    <a:pt x="79" y="109"/>
                    <a:pt x="90" y="96"/>
                    <a:pt x="90" y="69"/>
                  </a:cubicBezTo>
                  <a:cubicBezTo>
                    <a:pt x="90" y="43"/>
                    <a:pt x="79" y="32"/>
                    <a:pt x="55" y="32"/>
                  </a:cubicBezTo>
                  <a:lnTo>
                    <a:pt x="39" y="32"/>
                  </a:lnTo>
                  <a:lnTo>
                    <a:pt x="39" y="109"/>
                  </a:lnTo>
                  <a:lnTo>
                    <a:pt x="55" y="10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199">
              <a:extLst>
                <a:ext uri="{FF2B5EF4-FFF2-40B4-BE49-F238E27FC236}">
                  <a16:creationId xmlns:a16="http://schemas.microsoft.com/office/drawing/2014/main" id="{75A719DF-4CE4-7541-ACE4-FBAABA690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8538" y="4543425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4358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901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998 w 131"/>
                <a:gd name="T27" fmla="*/ 16236 h 176"/>
                <a:gd name="T28" fmla="*/ 5817 w 131"/>
                <a:gd name="T29" fmla="*/ 5051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3" y="0"/>
                    <a:pt x="67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6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2" y="45"/>
                  </a:cubicBezTo>
                  <a:lnTo>
                    <a:pt x="16" y="14"/>
                  </a:lnTo>
                  <a:close/>
                  <a:moveTo>
                    <a:pt x="90" y="90"/>
                  </a:moveTo>
                  <a:cubicBezTo>
                    <a:pt x="59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200">
              <a:extLst>
                <a:ext uri="{FF2B5EF4-FFF2-40B4-BE49-F238E27FC236}">
                  <a16:creationId xmlns:a16="http://schemas.microsoft.com/office/drawing/2014/main" id="{361E7B61-BD52-674B-9882-D39DC7EDC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5688" y="4543425"/>
              <a:ext cx="46037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413 w 128"/>
                <a:gd name="T13" fmla="*/ 0 h 176"/>
                <a:gd name="T14" fmla="*/ 45677 w 128"/>
                <a:gd name="T15" fmla="*/ 23091 h 176"/>
                <a:gd name="T16" fmla="*/ 45677 w 128"/>
                <a:gd name="T17" fmla="*/ 63139 h 176"/>
                <a:gd name="T18" fmla="*/ 32370 w 128"/>
                <a:gd name="T19" fmla="*/ 63139 h 176"/>
                <a:gd name="T20" fmla="*/ 32370 w 128"/>
                <a:gd name="T21" fmla="*/ 25977 h 176"/>
                <a:gd name="T22" fmla="*/ 24817 w 128"/>
                <a:gd name="T23" fmla="*/ 12628 h 176"/>
                <a:gd name="T24" fmla="*/ 15106 w 128"/>
                <a:gd name="T25" fmla="*/ 26699 h 176"/>
                <a:gd name="T26" fmla="*/ 15106 w 128"/>
                <a:gd name="T27" fmla="*/ 63139 h 176"/>
                <a:gd name="T28" fmla="*/ 1798 w 128"/>
                <a:gd name="T29" fmla="*/ 63139 h 176"/>
                <a:gd name="T30" fmla="*/ 1798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90" y="175"/>
                  </a:lnTo>
                  <a:lnTo>
                    <a:pt x="90" y="72"/>
                  </a:lnTo>
                  <a:cubicBezTo>
                    <a:pt x="90" y="45"/>
                    <a:pt x="85" y="35"/>
                    <a:pt x="69" y="35"/>
                  </a:cubicBezTo>
                  <a:cubicBezTo>
                    <a:pt x="48" y="35"/>
                    <a:pt x="42" y="53"/>
                    <a:pt x="42" y="74"/>
                  </a:cubicBezTo>
                  <a:lnTo>
                    <a:pt x="42" y="175"/>
                  </a:lnTo>
                  <a:lnTo>
                    <a:pt x="5" y="175"/>
                  </a:lnTo>
                  <a:lnTo>
                    <a:pt x="5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201">
              <a:extLst>
                <a:ext uri="{FF2B5EF4-FFF2-40B4-BE49-F238E27FC236}">
                  <a16:creationId xmlns:a16="http://schemas.microsoft.com/office/drawing/2014/main" id="{C8BB7CC0-28EF-174F-B424-EFC477E36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9663" y="4543425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3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90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202">
              <a:extLst>
                <a:ext uri="{FF2B5EF4-FFF2-40B4-BE49-F238E27FC236}">
                  <a16:creationId xmlns:a16="http://schemas.microsoft.com/office/drawing/2014/main" id="{EB1B546E-DBD9-8949-BE3D-6D003EB0E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4543425"/>
              <a:ext cx="74612" cy="63500"/>
            </a:xfrm>
            <a:custGeom>
              <a:avLst/>
              <a:gdLst>
                <a:gd name="T0" fmla="*/ 1076 w 208"/>
                <a:gd name="T1" fmla="*/ 11545 h 176"/>
                <a:gd name="T2" fmla="*/ 1076 w 208"/>
                <a:gd name="T3" fmla="*/ 1082 h 176"/>
                <a:gd name="T4" fmla="*/ 14348 w 208"/>
                <a:gd name="T5" fmla="*/ 1082 h 176"/>
                <a:gd name="T6" fmla="*/ 14348 w 208"/>
                <a:gd name="T7" fmla="*/ 10463 h 176"/>
                <a:gd name="T8" fmla="*/ 14348 w 208"/>
                <a:gd name="T9" fmla="*/ 10463 h 176"/>
                <a:gd name="T10" fmla="*/ 28338 w 208"/>
                <a:gd name="T11" fmla="*/ 0 h 176"/>
                <a:gd name="T12" fmla="*/ 42687 w 208"/>
                <a:gd name="T13" fmla="*/ 9741 h 176"/>
                <a:gd name="T14" fmla="*/ 58111 w 208"/>
                <a:gd name="T15" fmla="*/ 0 h 176"/>
                <a:gd name="T16" fmla="*/ 74253 w 208"/>
                <a:gd name="T17" fmla="*/ 24895 h 176"/>
                <a:gd name="T18" fmla="*/ 74253 w 208"/>
                <a:gd name="T19" fmla="*/ 63139 h 176"/>
                <a:gd name="T20" fmla="*/ 60622 w 208"/>
                <a:gd name="T21" fmla="*/ 63139 h 176"/>
                <a:gd name="T22" fmla="*/ 60622 w 208"/>
                <a:gd name="T23" fmla="*/ 23813 h 176"/>
                <a:gd name="T24" fmla="*/ 53089 w 208"/>
                <a:gd name="T25" fmla="*/ 12628 h 176"/>
                <a:gd name="T26" fmla="*/ 43763 w 208"/>
                <a:gd name="T27" fmla="*/ 25977 h 176"/>
                <a:gd name="T28" fmla="*/ 43763 w 208"/>
                <a:gd name="T29" fmla="*/ 63139 h 176"/>
                <a:gd name="T30" fmla="*/ 30490 w 208"/>
                <a:gd name="T31" fmla="*/ 63139 h 176"/>
                <a:gd name="T32" fmla="*/ 30490 w 208"/>
                <a:gd name="T33" fmla="*/ 23813 h 176"/>
                <a:gd name="T34" fmla="*/ 22958 w 208"/>
                <a:gd name="T35" fmla="*/ 12628 h 176"/>
                <a:gd name="T36" fmla="*/ 13272 w 208"/>
                <a:gd name="T37" fmla="*/ 25977 h 176"/>
                <a:gd name="T38" fmla="*/ 13272 w 208"/>
                <a:gd name="T39" fmla="*/ 63139 h 176"/>
                <a:gd name="T40" fmla="*/ 0 w 208"/>
                <a:gd name="T41" fmla="*/ 63139 h 176"/>
                <a:gd name="T42" fmla="*/ 0 w 208"/>
                <a:gd name="T43" fmla="*/ 11545 h 176"/>
                <a:gd name="T44" fmla="*/ 1076 w 208"/>
                <a:gd name="T45" fmla="*/ 11545 h 1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8" h="176">
                  <a:moveTo>
                    <a:pt x="3" y="32"/>
                  </a:moveTo>
                  <a:cubicBezTo>
                    <a:pt x="3" y="19"/>
                    <a:pt x="3" y="11"/>
                    <a:pt x="3" y="3"/>
                  </a:cubicBezTo>
                  <a:lnTo>
                    <a:pt x="40" y="3"/>
                  </a:lnTo>
                  <a:cubicBezTo>
                    <a:pt x="40" y="11"/>
                    <a:pt x="40" y="21"/>
                    <a:pt x="40" y="29"/>
                  </a:cubicBezTo>
                  <a:cubicBezTo>
                    <a:pt x="45" y="16"/>
                    <a:pt x="58" y="0"/>
                    <a:pt x="79" y="0"/>
                  </a:cubicBezTo>
                  <a:cubicBezTo>
                    <a:pt x="106" y="0"/>
                    <a:pt x="114" y="19"/>
                    <a:pt x="119" y="27"/>
                  </a:cubicBezTo>
                  <a:cubicBezTo>
                    <a:pt x="127" y="14"/>
                    <a:pt x="138" y="0"/>
                    <a:pt x="162" y="0"/>
                  </a:cubicBezTo>
                  <a:cubicBezTo>
                    <a:pt x="196" y="0"/>
                    <a:pt x="207" y="27"/>
                    <a:pt x="207" y="69"/>
                  </a:cubicBezTo>
                  <a:lnTo>
                    <a:pt x="207" y="175"/>
                  </a:lnTo>
                  <a:lnTo>
                    <a:pt x="169" y="175"/>
                  </a:lnTo>
                  <a:lnTo>
                    <a:pt x="169" y="66"/>
                  </a:lnTo>
                  <a:cubicBezTo>
                    <a:pt x="169" y="45"/>
                    <a:pt x="164" y="35"/>
                    <a:pt x="148" y="35"/>
                  </a:cubicBezTo>
                  <a:cubicBezTo>
                    <a:pt x="132" y="35"/>
                    <a:pt x="122" y="53"/>
                    <a:pt x="122" y="72"/>
                  </a:cubicBezTo>
                  <a:lnTo>
                    <a:pt x="122" y="175"/>
                  </a:lnTo>
                  <a:lnTo>
                    <a:pt x="85" y="175"/>
                  </a:lnTo>
                  <a:lnTo>
                    <a:pt x="85" y="66"/>
                  </a:lnTo>
                  <a:cubicBezTo>
                    <a:pt x="85" y="45"/>
                    <a:pt x="79" y="35"/>
                    <a:pt x="64" y="35"/>
                  </a:cubicBezTo>
                  <a:cubicBezTo>
                    <a:pt x="48" y="35"/>
                    <a:pt x="37" y="53"/>
                    <a:pt x="37" y="72"/>
                  </a:cubicBezTo>
                  <a:lnTo>
                    <a:pt x="37" y="175"/>
                  </a:lnTo>
                  <a:lnTo>
                    <a:pt x="0" y="175"/>
                  </a:lnTo>
                  <a:lnTo>
                    <a:pt x="0" y="32"/>
                  </a:lnTo>
                  <a:lnTo>
                    <a:pt x="3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203">
              <a:extLst>
                <a:ext uri="{FF2B5EF4-FFF2-40B4-BE49-F238E27FC236}">
                  <a16:creationId xmlns:a16="http://schemas.microsoft.com/office/drawing/2014/main" id="{38C85E7A-48D2-374E-9117-473BC3933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2538" y="4543425"/>
              <a:ext cx="46037" cy="65088"/>
            </a:xfrm>
            <a:custGeom>
              <a:avLst/>
              <a:gdLst>
                <a:gd name="T0" fmla="*/ 42825 w 129"/>
                <a:gd name="T1" fmla="*/ 60725 h 179"/>
                <a:gd name="T2" fmla="*/ 26052 w 129"/>
                <a:gd name="T3" fmla="*/ 64724 h 179"/>
                <a:gd name="T4" fmla="*/ 0 w 129"/>
                <a:gd name="T5" fmla="*/ 32726 h 179"/>
                <a:gd name="T6" fmla="*/ 23197 w 129"/>
                <a:gd name="T7" fmla="*/ 0 h 179"/>
                <a:gd name="T8" fmla="*/ 45680 w 129"/>
                <a:gd name="T9" fmla="*/ 33817 h 179"/>
                <a:gd name="T10" fmla="*/ 45680 w 129"/>
                <a:gd name="T11" fmla="*/ 36726 h 179"/>
                <a:gd name="T12" fmla="*/ 13204 w 129"/>
                <a:gd name="T13" fmla="*/ 36726 h 179"/>
                <a:gd name="T14" fmla="*/ 26766 w 129"/>
                <a:gd name="T15" fmla="*/ 54179 h 179"/>
                <a:gd name="T16" fmla="*/ 42111 w 129"/>
                <a:gd name="T17" fmla="*/ 49089 h 179"/>
                <a:gd name="T18" fmla="*/ 42825 w 129"/>
                <a:gd name="T19" fmla="*/ 60725 h 179"/>
                <a:gd name="T20" fmla="*/ 32476 w 129"/>
                <a:gd name="T21" fmla="*/ 26908 h 179"/>
                <a:gd name="T22" fmla="*/ 23197 w 129"/>
                <a:gd name="T23" fmla="*/ 10545 h 179"/>
                <a:gd name="T24" fmla="*/ 13204 w 129"/>
                <a:gd name="T25" fmla="*/ 26908 h 179"/>
                <a:gd name="T26" fmla="*/ 32476 w 129"/>
                <a:gd name="T27" fmla="*/ 26908 h 17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9" h="179">
                  <a:moveTo>
                    <a:pt x="120" y="167"/>
                  </a:moveTo>
                  <a:cubicBezTo>
                    <a:pt x="113" y="170"/>
                    <a:pt x="97" y="178"/>
                    <a:pt x="73" y="178"/>
                  </a:cubicBezTo>
                  <a:cubicBezTo>
                    <a:pt x="24" y="178"/>
                    <a:pt x="0" y="138"/>
                    <a:pt x="0" y="90"/>
                  </a:cubicBezTo>
                  <a:cubicBezTo>
                    <a:pt x="0" y="40"/>
                    <a:pt x="24" y="0"/>
                    <a:pt x="65" y="0"/>
                  </a:cubicBezTo>
                  <a:cubicBezTo>
                    <a:pt x="99" y="0"/>
                    <a:pt x="128" y="21"/>
                    <a:pt x="128" y="93"/>
                  </a:cubicBezTo>
                  <a:lnTo>
                    <a:pt x="128" y="101"/>
                  </a:lnTo>
                  <a:lnTo>
                    <a:pt x="37" y="101"/>
                  </a:lnTo>
                  <a:cubicBezTo>
                    <a:pt x="37" y="130"/>
                    <a:pt x="47" y="149"/>
                    <a:pt x="75" y="149"/>
                  </a:cubicBezTo>
                  <a:cubicBezTo>
                    <a:pt x="99" y="149"/>
                    <a:pt x="110" y="141"/>
                    <a:pt x="118" y="135"/>
                  </a:cubicBezTo>
                  <a:lnTo>
                    <a:pt x="120" y="167"/>
                  </a:lnTo>
                  <a:close/>
                  <a:moveTo>
                    <a:pt x="91" y="74"/>
                  </a:moveTo>
                  <a:cubicBezTo>
                    <a:pt x="91" y="45"/>
                    <a:pt x="83" y="29"/>
                    <a:pt x="65" y="29"/>
                  </a:cubicBezTo>
                  <a:cubicBezTo>
                    <a:pt x="45" y="29"/>
                    <a:pt x="37" y="53"/>
                    <a:pt x="37" y="74"/>
                  </a:cubicBezTo>
                  <a:lnTo>
                    <a:pt x="91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204">
              <a:extLst>
                <a:ext uri="{FF2B5EF4-FFF2-40B4-BE49-F238E27FC236}">
                  <a16:creationId xmlns:a16="http://schemas.microsoft.com/office/drawing/2014/main" id="{F5C86B8F-BA12-A24E-A683-C519EFC5C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8100" y="4543425"/>
              <a:ext cx="28575" cy="63500"/>
            </a:xfrm>
            <a:custGeom>
              <a:avLst/>
              <a:gdLst>
                <a:gd name="T0" fmla="*/ 0 w 80"/>
                <a:gd name="T1" fmla="*/ 1082 h 176"/>
                <a:gd name="T2" fmla="*/ 12144 w 80"/>
                <a:gd name="T3" fmla="*/ 1082 h 176"/>
                <a:gd name="T4" fmla="*/ 12144 w 80"/>
                <a:gd name="T5" fmla="*/ 12628 h 176"/>
                <a:gd name="T6" fmla="*/ 26432 w 80"/>
                <a:gd name="T7" fmla="*/ 0 h 176"/>
                <a:gd name="T8" fmla="*/ 28218 w 80"/>
                <a:gd name="T9" fmla="*/ 0 h 176"/>
                <a:gd name="T10" fmla="*/ 28218 w 80"/>
                <a:gd name="T11" fmla="*/ 14432 h 176"/>
                <a:gd name="T12" fmla="*/ 24289 w 80"/>
                <a:gd name="T13" fmla="*/ 13349 h 176"/>
                <a:gd name="T14" fmla="*/ 13216 w 80"/>
                <a:gd name="T15" fmla="*/ 28864 h 176"/>
                <a:gd name="T16" fmla="*/ 13216 w 80"/>
                <a:gd name="T17" fmla="*/ 63139 h 176"/>
                <a:gd name="T18" fmla="*/ 0 w 80"/>
                <a:gd name="T19" fmla="*/ 63139 h 176"/>
                <a:gd name="T20" fmla="*/ 0 w 80"/>
                <a:gd name="T21" fmla="*/ 11545 h 176"/>
                <a:gd name="T22" fmla="*/ 0 w 80"/>
                <a:gd name="T23" fmla="*/ 1082 h 1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0" h="176">
                  <a:moveTo>
                    <a:pt x="0" y="3"/>
                  </a:moveTo>
                  <a:lnTo>
                    <a:pt x="34" y="3"/>
                  </a:lnTo>
                  <a:lnTo>
                    <a:pt x="34" y="35"/>
                  </a:lnTo>
                  <a:cubicBezTo>
                    <a:pt x="39" y="21"/>
                    <a:pt x="50" y="0"/>
                    <a:pt x="74" y="0"/>
                  </a:cubicBezTo>
                  <a:lnTo>
                    <a:pt x="79" y="0"/>
                  </a:lnTo>
                  <a:lnTo>
                    <a:pt x="79" y="40"/>
                  </a:lnTo>
                  <a:cubicBezTo>
                    <a:pt x="76" y="40"/>
                    <a:pt x="71" y="37"/>
                    <a:pt x="68" y="37"/>
                  </a:cubicBezTo>
                  <a:cubicBezTo>
                    <a:pt x="53" y="37"/>
                    <a:pt x="37" y="48"/>
                    <a:pt x="37" y="80"/>
                  </a:cubicBezTo>
                  <a:lnTo>
                    <a:pt x="37" y="175"/>
                  </a:lnTo>
                  <a:lnTo>
                    <a:pt x="0" y="175"/>
                  </a:lnTo>
                  <a:lnTo>
                    <a:pt x="0" y="32"/>
                  </a:lnTo>
                  <a:lnTo>
                    <a:pt x="0" y="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4" name="Freeform 205">
              <a:extLst>
                <a:ext uri="{FF2B5EF4-FFF2-40B4-BE49-F238E27FC236}">
                  <a16:creationId xmlns:a16="http://schemas.microsoft.com/office/drawing/2014/main" id="{3E483537-6207-9944-A2A2-C0CD68F91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7788" y="4519613"/>
              <a:ext cx="14287" cy="88900"/>
            </a:xfrm>
            <a:custGeom>
              <a:avLst/>
              <a:gdLst>
                <a:gd name="T0" fmla="*/ 0 w 41"/>
                <a:gd name="T1" fmla="*/ 0 h 245"/>
                <a:gd name="T2" fmla="*/ 13939 w 41"/>
                <a:gd name="T3" fmla="*/ 0 h 245"/>
                <a:gd name="T4" fmla="*/ 13939 w 41"/>
                <a:gd name="T5" fmla="*/ 14514 h 245"/>
                <a:gd name="T6" fmla="*/ 0 w 41"/>
                <a:gd name="T7" fmla="*/ 14514 h 245"/>
                <a:gd name="T8" fmla="*/ 0 w 41"/>
                <a:gd name="T9" fmla="*/ 0 h 245"/>
                <a:gd name="T10" fmla="*/ 0 w 41"/>
                <a:gd name="T11" fmla="*/ 26126 h 245"/>
                <a:gd name="T12" fmla="*/ 12893 w 41"/>
                <a:gd name="T13" fmla="*/ 26126 h 245"/>
                <a:gd name="T14" fmla="*/ 12893 w 41"/>
                <a:gd name="T15" fmla="*/ 88537 h 245"/>
                <a:gd name="T16" fmla="*/ 0 w 41"/>
                <a:gd name="T17" fmla="*/ 88537 h 245"/>
                <a:gd name="T18" fmla="*/ 0 w 41"/>
                <a:gd name="T19" fmla="*/ 26126 h 2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245">
                  <a:moveTo>
                    <a:pt x="0" y="0"/>
                  </a:moveTo>
                  <a:lnTo>
                    <a:pt x="40" y="0"/>
                  </a:lnTo>
                  <a:lnTo>
                    <a:pt x="40" y="40"/>
                  </a:lnTo>
                  <a:lnTo>
                    <a:pt x="0" y="40"/>
                  </a:lnTo>
                  <a:lnTo>
                    <a:pt x="0" y="0"/>
                  </a:lnTo>
                  <a:close/>
                  <a:moveTo>
                    <a:pt x="0" y="72"/>
                  </a:moveTo>
                  <a:lnTo>
                    <a:pt x="37" y="72"/>
                  </a:lnTo>
                  <a:lnTo>
                    <a:pt x="37" y="244"/>
                  </a:lnTo>
                  <a:lnTo>
                    <a:pt x="0" y="244"/>
                  </a:lnTo>
                  <a:lnTo>
                    <a:pt x="0" y="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5" name="Freeform 206">
              <a:extLst>
                <a:ext uri="{FF2B5EF4-FFF2-40B4-BE49-F238E27FC236}">
                  <a16:creationId xmlns:a16="http://schemas.microsoft.com/office/drawing/2014/main" id="{67AB732D-018A-DD43-BB02-A74C34C962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3188" y="4545013"/>
              <a:ext cx="39687" cy="63500"/>
            </a:xfrm>
            <a:custGeom>
              <a:avLst/>
              <a:gdLst>
                <a:gd name="T0" fmla="*/ 39333 w 112"/>
                <a:gd name="T1" fmla="*/ 60289 h 178"/>
                <a:gd name="T2" fmla="*/ 26222 w 112"/>
                <a:gd name="T3" fmla="*/ 63143 h 178"/>
                <a:gd name="T4" fmla="*/ 0 w 112"/>
                <a:gd name="T5" fmla="*/ 32107 h 178"/>
                <a:gd name="T6" fmla="*/ 26930 w 112"/>
                <a:gd name="T7" fmla="*/ 0 h 178"/>
                <a:gd name="T8" fmla="*/ 39333 w 112"/>
                <a:gd name="T9" fmla="*/ 2854 h 178"/>
                <a:gd name="T10" fmla="*/ 38270 w 112"/>
                <a:gd name="T11" fmla="*/ 13199 h 178"/>
                <a:gd name="T12" fmla="*/ 29057 w 112"/>
                <a:gd name="T13" fmla="*/ 10346 h 178"/>
                <a:gd name="T14" fmla="*/ 13820 w 112"/>
                <a:gd name="T15" fmla="*/ 31037 h 178"/>
                <a:gd name="T16" fmla="*/ 29057 w 112"/>
                <a:gd name="T17" fmla="*/ 51014 h 178"/>
                <a:gd name="T18" fmla="*/ 38270 w 112"/>
                <a:gd name="T19" fmla="*/ 48160 h 178"/>
                <a:gd name="T20" fmla="*/ 39333 w 112"/>
                <a:gd name="T21" fmla="*/ 60289 h 17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2" h="178">
                  <a:moveTo>
                    <a:pt x="111" y="169"/>
                  </a:moveTo>
                  <a:cubicBezTo>
                    <a:pt x="103" y="172"/>
                    <a:pt x="90" y="177"/>
                    <a:pt x="74" y="177"/>
                  </a:cubicBezTo>
                  <a:cubicBezTo>
                    <a:pt x="21" y="177"/>
                    <a:pt x="0" y="138"/>
                    <a:pt x="0" y="90"/>
                  </a:cubicBezTo>
                  <a:cubicBezTo>
                    <a:pt x="0" y="40"/>
                    <a:pt x="23" y="0"/>
                    <a:pt x="76" y="0"/>
                  </a:cubicBezTo>
                  <a:cubicBezTo>
                    <a:pt x="90" y="0"/>
                    <a:pt x="103" y="5"/>
                    <a:pt x="111" y="8"/>
                  </a:cubicBezTo>
                  <a:lnTo>
                    <a:pt x="108" y="37"/>
                  </a:lnTo>
                  <a:cubicBezTo>
                    <a:pt x="100" y="34"/>
                    <a:pt x="92" y="29"/>
                    <a:pt x="82" y="29"/>
                  </a:cubicBezTo>
                  <a:cubicBezTo>
                    <a:pt x="53" y="29"/>
                    <a:pt x="39" y="50"/>
                    <a:pt x="39" y="87"/>
                  </a:cubicBezTo>
                  <a:cubicBezTo>
                    <a:pt x="39" y="119"/>
                    <a:pt x="53" y="143"/>
                    <a:pt x="82" y="143"/>
                  </a:cubicBezTo>
                  <a:cubicBezTo>
                    <a:pt x="90" y="143"/>
                    <a:pt x="103" y="138"/>
                    <a:pt x="108" y="135"/>
                  </a:cubicBezTo>
                  <a:lnTo>
                    <a:pt x="111" y="16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" name="Freeform 207">
              <a:extLst>
                <a:ext uri="{FF2B5EF4-FFF2-40B4-BE49-F238E27FC236}">
                  <a16:creationId xmlns:a16="http://schemas.microsoft.com/office/drawing/2014/main" id="{DCEA8A10-D430-9C4E-8881-2D5A91660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38" y="4543425"/>
              <a:ext cx="47625" cy="63500"/>
            </a:xfrm>
            <a:custGeom>
              <a:avLst/>
              <a:gdLst>
                <a:gd name="T0" fmla="*/ 5817 w 131"/>
                <a:gd name="T1" fmla="*/ 5051 h 176"/>
                <a:gd name="T2" fmla="*/ 23994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537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2009 h 176"/>
                <a:gd name="T24" fmla="*/ 23267 w 131"/>
                <a:gd name="T25" fmla="*/ 10463 h 176"/>
                <a:gd name="T26" fmla="*/ 7635 w 131"/>
                <a:gd name="T27" fmla="*/ 16236 h 176"/>
                <a:gd name="T28" fmla="*/ 5817 w 131"/>
                <a:gd name="T29" fmla="*/ 5051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4"/>
                  </a:moveTo>
                  <a:cubicBezTo>
                    <a:pt x="27" y="8"/>
                    <a:pt x="42" y="0"/>
                    <a:pt x="66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30" y="172"/>
                  </a:cubicBezTo>
                  <a:lnTo>
                    <a:pt x="95" y="172"/>
                  </a:lnTo>
                  <a:cubicBezTo>
                    <a:pt x="93" y="164"/>
                    <a:pt x="93" y="157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7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1"/>
                  </a:lnTo>
                  <a:cubicBezTo>
                    <a:pt x="93" y="45"/>
                    <a:pt x="85" y="29"/>
                    <a:pt x="64" y="29"/>
                  </a:cubicBezTo>
                  <a:cubicBezTo>
                    <a:pt x="45" y="29"/>
                    <a:pt x="27" y="40"/>
                    <a:pt x="21" y="45"/>
                  </a:cubicBezTo>
                  <a:lnTo>
                    <a:pt x="16" y="14"/>
                  </a:lnTo>
                  <a:close/>
                  <a:moveTo>
                    <a:pt x="90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" name="Freeform 208">
              <a:extLst>
                <a:ext uri="{FF2B5EF4-FFF2-40B4-BE49-F238E27FC236}">
                  <a16:creationId xmlns:a16="http://schemas.microsoft.com/office/drawing/2014/main" id="{42737C36-E829-C948-B1ED-C9FD2BB8F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375" y="4543425"/>
              <a:ext cx="46038" cy="63500"/>
            </a:xfrm>
            <a:custGeom>
              <a:avLst/>
              <a:gdLst>
                <a:gd name="T0" fmla="*/ 0 w 128"/>
                <a:gd name="T1" fmla="*/ 11545 h 176"/>
                <a:gd name="T2" fmla="*/ 0 w 128"/>
                <a:gd name="T3" fmla="*/ 1082 h 176"/>
                <a:gd name="T4" fmla="*/ 13308 w 128"/>
                <a:gd name="T5" fmla="*/ 1082 h 176"/>
                <a:gd name="T6" fmla="*/ 13308 w 128"/>
                <a:gd name="T7" fmla="*/ 10463 h 176"/>
                <a:gd name="T8" fmla="*/ 13308 w 128"/>
                <a:gd name="T9" fmla="*/ 10463 h 176"/>
                <a:gd name="T10" fmla="*/ 13308 w 128"/>
                <a:gd name="T11" fmla="*/ 10463 h 176"/>
                <a:gd name="T12" fmla="*/ 28414 w 128"/>
                <a:gd name="T13" fmla="*/ 0 h 176"/>
                <a:gd name="T14" fmla="*/ 45678 w 128"/>
                <a:gd name="T15" fmla="*/ 23091 h 176"/>
                <a:gd name="T16" fmla="*/ 45678 w 128"/>
                <a:gd name="T17" fmla="*/ 63139 h 176"/>
                <a:gd name="T18" fmla="*/ 31291 w 128"/>
                <a:gd name="T19" fmla="*/ 63139 h 176"/>
                <a:gd name="T20" fmla="*/ 31291 w 128"/>
                <a:gd name="T21" fmla="*/ 25977 h 176"/>
                <a:gd name="T22" fmla="*/ 23738 w 128"/>
                <a:gd name="T23" fmla="*/ 12628 h 176"/>
                <a:gd name="T24" fmla="*/ 14027 w 128"/>
                <a:gd name="T25" fmla="*/ 26699 h 176"/>
                <a:gd name="T26" fmla="*/ 14027 w 128"/>
                <a:gd name="T27" fmla="*/ 63139 h 176"/>
                <a:gd name="T28" fmla="*/ 719 w 128"/>
                <a:gd name="T29" fmla="*/ 63139 h 176"/>
                <a:gd name="T30" fmla="*/ 719 w 128"/>
                <a:gd name="T31" fmla="*/ 11545 h 176"/>
                <a:gd name="T32" fmla="*/ 0 w 128"/>
                <a:gd name="T33" fmla="*/ 11545 h 1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176">
                  <a:moveTo>
                    <a:pt x="0" y="32"/>
                  </a:moveTo>
                  <a:cubicBezTo>
                    <a:pt x="0" y="21"/>
                    <a:pt x="0" y="11"/>
                    <a:pt x="0" y="3"/>
                  </a:cubicBezTo>
                  <a:lnTo>
                    <a:pt x="37" y="3"/>
                  </a:lnTo>
                  <a:cubicBezTo>
                    <a:pt x="37" y="11"/>
                    <a:pt x="37" y="21"/>
                    <a:pt x="37" y="29"/>
                  </a:cubicBezTo>
                  <a:cubicBezTo>
                    <a:pt x="42" y="19"/>
                    <a:pt x="53" y="0"/>
                    <a:pt x="79" y="0"/>
                  </a:cubicBezTo>
                  <a:cubicBezTo>
                    <a:pt x="116" y="0"/>
                    <a:pt x="127" y="29"/>
                    <a:pt x="127" y="64"/>
                  </a:cubicBezTo>
                  <a:lnTo>
                    <a:pt x="127" y="175"/>
                  </a:lnTo>
                  <a:lnTo>
                    <a:pt x="87" y="175"/>
                  </a:lnTo>
                  <a:lnTo>
                    <a:pt x="87" y="72"/>
                  </a:lnTo>
                  <a:cubicBezTo>
                    <a:pt x="87" y="45"/>
                    <a:pt x="82" y="35"/>
                    <a:pt x="66" y="35"/>
                  </a:cubicBezTo>
                  <a:cubicBezTo>
                    <a:pt x="45" y="35"/>
                    <a:pt x="39" y="53"/>
                    <a:pt x="39" y="74"/>
                  </a:cubicBezTo>
                  <a:lnTo>
                    <a:pt x="39" y="175"/>
                  </a:lnTo>
                  <a:lnTo>
                    <a:pt x="2" y="175"/>
                  </a:lnTo>
                  <a:lnTo>
                    <a:pt x="2" y="32"/>
                  </a:lnTo>
                  <a:lnTo>
                    <a:pt x="0" y="3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8" name="Freeform 209">
              <a:extLst>
                <a:ext uri="{FF2B5EF4-FFF2-40B4-BE49-F238E27FC236}">
                  <a16:creationId xmlns:a16="http://schemas.microsoft.com/office/drawing/2014/main" id="{4DE27051-E549-8F47-9426-008D50A9F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0350" y="4543425"/>
              <a:ext cx="46038" cy="63500"/>
            </a:xfrm>
            <a:custGeom>
              <a:avLst/>
              <a:gdLst>
                <a:gd name="T0" fmla="*/ 5312 w 130"/>
                <a:gd name="T1" fmla="*/ 5051 h 176"/>
                <a:gd name="T2" fmla="*/ 23373 w 130"/>
                <a:gd name="T3" fmla="*/ 0 h 176"/>
                <a:gd name="T4" fmla="*/ 44976 w 130"/>
                <a:gd name="T5" fmla="*/ 24895 h 176"/>
                <a:gd name="T6" fmla="*/ 44976 w 130"/>
                <a:gd name="T7" fmla="*/ 51594 h 176"/>
                <a:gd name="T8" fmla="*/ 45684 w 130"/>
                <a:gd name="T9" fmla="*/ 62057 h 176"/>
                <a:gd name="T10" fmla="*/ 33643 w 130"/>
                <a:gd name="T11" fmla="*/ 62057 h 176"/>
                <a:gd name="T12" fmla="*/ 32581 w 130"/>
                <a:gd name="T13" fmla="*/ 53759 h 176"/>
                <a:gd name="T14" fmla="*/ 16645 w 130"/>
                <a:gd name="T15" fmla="*/ 63139 h 176"/>
                <a:gd name="T16" fmla="*/ 0 w 130"/>
                <a:gd name="T17" fmla="*/ 45099 h 176"/>
                <a:gd name="T18" fmla="*/ 29748 w 130"/>
                <a:gd name="T19" fmla="*/ 23813 h 176"/>
                <a:gd name="T20" fmla="*/ 32581 w 130"/>
                <a:gd name="T21" fmla="*/ 23813 h 176"/>
                <a:gd name="T22" fmla="*/ 32581 w 130"/>
                <a:gd name="T23" fmla="*/ 22009 h 176"/>
                <a:gd name="T24" fmla="*/ 22311 w 130"/>
                <a:gd name="T25" fmla="*/ 10463 h 176"/>
                <a:gd name="T26" fmla="*/ 7437 w 130"/>
                <a:gd name="T27" fmla="*/ 16236 h 176"/>
                <a:gd name="T28" fmla="*/ 5312 w 130"/>
                <a:gd name="T29" fmla="*/ 5051 h 176"/>
                <a:gd name="T30" fmla="*/ 30810 w 130"/>
                <a:gd name="T31" fmla="*/ 32472 h 176"/>
                <a:gd name="T32" fmla="*/ 12041 w 130"/>
                <a:gd name="T33" fmla="*/ 44017 h 176"/>
                <a:gd name="T34" fmla="*/ 20540 w 130"/>
                <a:gd name="T35" fmla="*/ 53759 h 176"/>
                <a:gd name="T36" fmla="*/ 31872 w 130"/>
                <a:gd name="T37" fmla="*/ 35358 h 176"/>
                <a:gd name="T38" fmla="*/ 31872 w 130"/>
                <a:gd name="T39" fmla="*/ 32472 h 176"/>
                <a:gd name="T40" fmla="*/ 30810 w 130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0" h="176">
                  <a:moveTo>
                    <a:pt x="15" y="14"/>
                  </a:moveTo>
                  <a:cubicBezTo>
                    <a:pt x="26" y="8"/>
                    <a:pt x="42" y="0"/>
                    <a:pt x="66" y="0"/>
                  </a:cubicBezTo>
                  <a:cubicBezTo>
                    <a:pt x="116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7"/>
                    <a:pt x="127" y="167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7"/>
                    <a:pt x="92" y="149"/>
                  </a:cubicBezTo>
                  <a:cubicBezTo>
                    <a:pt x="82" y="162"/>
                    <a:pt x="71" y="175"/>
                    <a:pt x="47" y="175"/>
                  </a:cubicBezTo>
                  <a:cubicBezTo>
                    <a:pt x="23" y="175"/>
                    <a:pt x="0" y="157"/>
                    <a:pt x="0" y="125"/>
                  </a:cubicBezTo>
                  <a:cubicBezTo>
                    <a:pt x="0" y="77"/>
                    <a:pt x="34" y="66"/>
                    <a:pt x="84" y="66"/>
                  </a:cubicBezTo>
                  <a:lnTo>
                    <a:pt x="92" y="66"/>
                  </a:lnTo>
                  <a:lnTo>
                    <a:pt x="92" y="61"/>
                  </a:lnTo>
                  <a:cubicBezTo>
                    <a:pt x="92" y="45"/>
                    <a:pt x="84" y="29"/>
                    <a:pt x="63" y="29"/>
                  </a:cubicBezTo>
                  <a:cubicBezTo>
                    <a:pt x="45" y="29"/>
                    <a:pt x="26" y="40"/>
                    <a:pt x="21" y="45"/>
                  </a:cubicBezTo>
                  <a:lnTo>
                    <a:pt x="15" y="14"/>
                  </a:lnTo>
                  <a:close/>
                  <a:moveTo>
                    <a:pt x="87" y="90"/>
                  </a:moveTo>
                  <a:cubicBezTo>
                    <a:pt x="55" y="90"/>
                    <a:pt x="34" y="98"/>
                    <a:pt x="34" y="122"/>
                  </a:cubicBezTo>
                  <a:cubicBezTo>
                    <a:pt x="34" y="138"/>
                    <a:pt x="45" y="149"/>
                    <a:pt x="58" y="149"/>
                  </a:cubicBezTo>
                  <a:cubicBezTo>
                    <a:pt x="82" y="149"/>
                    <a:pt x="90" y="130"/>
                    <a:pt x="90" y="98"/>
                  </a:cubicBezTo>
                  <a:lnTo>
                    <a:pt x="90" y="90"/>
                  </a:lnTo>
                  <a:lnTo>
                    <a:pt x="87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9" name="Freeform 210">
              <a:extLst>
                <a:ext uri="{FF2B5EF4-FFF2-40B4-BE49-F238E27FC236}">
                  <a16:creationId xmlns:a16="http://schemas.microsoft.com/office/drawing/2014/main" id="{CD2ACB02-4084-D24D-B5A6-32B1185733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9325" y="4622800"/>
              <a:ext cx="49213" cy="92075"/>
            </a:xfrm>
            <a:custGeom>
              <a:avLst/>
              <a:gdLst>
                <a:gd name="T0" fmla="*/ 48851 w 136"/>
                <a:gd name="T1" fmla="*/ 80206 h 256"/>
                <a:gd name="T2" fmla="*/ 48851 w 136"/>
                <a:gd name="T3" fmla="*/ 90636 h 256"/>
                <a:gd name="T4" fmla="*/ 35462 w 136"/>
                <a:gd name="T5" fmla="*/ 90636 h 256"/>
                <a:gd name="T6" fmla="*/ 35462 w 136"/>
                <a:gd name="T7" fmla="*/ 81285 h 256"/>
                <a:gd name="T8" fmla="*/ 19902 w 136"/>
                <a:gd name="T9" fmla="*/ 91715 h 256"/>
                <a:gd name="T10" fmla="*/ 0 w 136"/>
                <a:gd name="T11" fmla="*/ 60065 h 256"/>
                <a:gd name="T12" fmla="*/ 19902 w 136"/>
                <a:gd name="T13" fmla="*/ 27694 h 256"/>
                <a:gd name="T14" fmla="*/ 35462 w 136"/>
                <a:gd name="T15" fmla="*/ 37405 h 256"/>
                <a:gd name="T16" fmla="*/ 35462 w 136"/>
                <a:gd name="T17" fmla="*/ 0 h 256"/>
                <a:gd name="T18" fmla="*/ 48851 w 136"/>
                <a:gd name="T19" fmla="*/ 0 h 256"/>
                <a:gd name="T20" fmla="*/ 48851 w 136"/>
                <a:gd name="T21" fmla="*/ 80206 h 256"/>
                <a:gd name="T22" fmla="*/ 23883 w 136"/>
                <a:gd name="T23" fmla="*/ 81285 h 256"/>
                <a:gd name="T24" fmla="*/ 34377 w 136"/>
                <a:gd name="T25" fmla="*/ 60065 h 256"/>
                <a:gd name="T26" fmla="*/ 23883 w 136"/>
                <a:gd name="T27" fmla="*/ 39204 h 256"/>
                <a:gd name="T28" fmla="*/ 13389 w 136"/>
                <a:gd name="T29" fmla="*/ 59345 h 256"/>
                <a:gd name="T30" fmla="*/ 23883 w 136"/>
                <a:gd name="T31" fmla="*/ 81285 h 2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6" h="256">
                  <a:moveTo>
                    <a:pt x="135" y="223"/>
                  </a:moveTo>
                  <a:lnTo>
                    <a:pt x="135" y="252"/>
                  </a:lnTo>
                  <a:lnTo>
                    <a:pt x="98" y="252"/>
                  </a:lnTo>
                  <a:lnTo>
                    <a:pt x="98" y="226"/>
                  </a:lnTo>
                  <a:cubicBezTo>
                    <a:pt x="92" y="241"/>
                    <a:pt x="79" y="255"/>
                    <a:pt x="55" y="255"/>
                  </a:cubicBezTo>
                  <a:cubicBezTo>
                    <a:pt x="16" y="255"/>
                    <a:pt x="0" y="215"/>
                    <a:pt x="0" y="167"/>
                  </a:cubicBezTo>
                  <a:cubicBezTo>
                    <a:pt x="0" y="112"/>
                    <a:pt x="21" y="77"/>
                    <a:pt x="55" y="77"/>
                  </a:cubicBezTo>
                  <a:cubicBezTo>
                    <a:pt x="79" y="77"/>
                    <a:pt x="90" y="90"/>
                    <a:pt x="98" y="104"/>
                  </a:cubicBezTo>
                  <a:lnTo>
                    <a:pt x="98" y="0"/>
                  </a:lnTo>
                  <a:lnTo>
                    <a:pt x="135" y="0"/>
                  </a:lnTo>
                  <a:lnTo>
                    <a:pt x="135" y="223"/>
                  </a:lnTo>
                  <a:close/>
                  <a:moveTo>
                    <a:pt x="66" y="226"/>
                  </a:moveTo>
                  <a:cubicBezTo>
                    <a:pt x="90" y="226"/>
                    <a:pt x="95" y="199"/>
                    <a:pt x="95" y="167"/>
                  </a:cubicBezTo>
                  <a:cubicBezTo>
                    <a:pt x="95" y="133"/>
                    <a:pt x="87" y="109"/>
                    <a:pt x="66" y="109"/>
                  </a:cubicBezTo>
                  <a:cubicBezTo>
                    <a:pt x="45" y="109"/>
                    <a:pt x="37" y="130"/>
                    <a:pt x="37" y="165"/>
                  </a:cubicBezTo>
                  <a:cubicBezTo>
                    <a:pt x="39" y="204"/>
                    <a:pt x="45" y="226"/>
                    <a:pt x="66" y="22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0" name="Freeform 211">
              <a:extLst>
                <a:ext uri="{FF2B5EF4-FFF2-40B4-BE49-F238E27FC236}">
                  <a16:creationId xmlns:a16="http://schemas.microsoft.com/office/drawing/2014/main" id="{36E23C8C-EF32-7148-937E-5FEF3EA0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63" y="4649788"/>
              <a:ext cx="47625" cy="65087"/>
            </a:xfrm>
            <a:custGeom>
              <a:avLst/>
              <a:gdLst>
                <a:gd name="T0" fmla="*/ 44353 w 131"/>
                <a:gd name="T1" fmla="*/ 60724 h 179"/>
                <a:gd name="T2" fmla="*/ 26903 w 131"/>
                <a:gd name="T3" fmla="*/ 64723 h 179"/>
                <a:gd name="T4" fmla="*/ 0 w 131"/>
                <a:gd name="T5" fmla="*/ 32725 h 179"/>
                <a:gd name="T6" fmla="*/ 23994 w 131"/>
                <a:gd name="T7" fmla="*/ 0 h 179"/>
                <a:gd name="T8" fmla="*/ 47261 w 131"/>
                <a:gd name="T9" fmla="*/ 33816 h 179"/>
                <a:gd name="T10" fmla="*/ 47261 w 131"/>
                <a:gd name="T11" fmla="*/ 36725 h 179"/>
                <a:gd name="T12" fmla="*/ 13451 w 131"/>
                <a:gd name="T13" fmla="*/ 36725 h 179"/>
                <a:gd name="T14" fmla="*/ 27993 w 131"/>
                <a:gd name="T15" fmla="*/ 54179 h 179"/>
                <a:gd name="T16" fmla="*/ 43262 w 131"/>
                <a:gd name="T17" fmla="*/ 49088 h 179"/>
                <a:gd name="T18" fmla="*/ 44353 w 131"/>
                <a:gd name="T19" fmla="*/ 60724 h 179"/>
                <a:gd name="T20" fmla="*/ 33447 w 131"/>
                <a:gd name="T21" fmla="*/ 26907 h 179"/>
                <a:gd name="T22" fmla="*/ 23994 w 131"/>
                <a:gd name="T23" fmla="*/ 10545 h 179"/>
                <a:gd name="T24" fmla="*/ 13451 w 131"/>
                <a:gd name="T25" fmla="*/ 26907 h 179"/>
                <a:gd name="T26" fmla="*/ 33447 w 131"/>
                <a:gd name="T27" fmla="*/ 26907 h 17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1" h="179">
                  <a:moveTo>
                    <a:pt x="122" y="167"/>
                  </a:moveTo>
                  <a:cubicBezTo>
                    <a:pt x="114" y="170"/>
                    <a:pt x="98" y="178"/>
                    <a:pt x="74" y="178"/>
                  </a:cubicBezTo>
                  <a:cubicBezTo>
                    <a:pt x="24" y="178"/>
                    <a:pt x="0" y="138"/>
                    <a:pt x="0" y="90"/>
                  </a:cubicBezTo>
                  <a:cubicBezTo>
                    <a:pt x="0" y="40"/>
                    <a:pt x="24" y="0"/>
                    <a:pt x="66" y="0"/>
                  </a:cubicBezTo>
                  <a:cubicBezTo>
                    <a:pt x="100" y="0"/>
                    <a:pt x="130" y="21"/>
                    <a:pt x="130" y="93"/>
                  </a:cubicBezTo>
                  <a:lnTo>
                    <a:pt x="130" y="101"/>
                  </a:lnTo>
                  <a:lnTo>
                    <a:pt x="37" y="101"/>
                  </a:lnTo>
                  <a:cubicBezTo>
                    <a:pt x="37" y="130"/>
                    <a:pt x="47" y="149"/>
                    <a:pt x="77" y="149"/>
                  </a:cubicBezTo>
                  <a:cubicBezTo>
                    <a:pt x="100" y="149"/>
                    <a:pt x="111" y="141"/>
                    <a:pt x="119" y="135"/>
                  </a:cubicBezTo>
                  <a:lnTo>
                    <a:pt x="122" y="167"/>
                  </a:lnTo>
                  <a:close/>
                  <a:moveTo>
                    <a:pt x="92" y="74"/>
                  </a:moveTo>
                  <a:cubicBezTo>
                    <a:pt x="92" y="45"/>
                    <a:pt x="85" y="29"/>
                    <a:pt x="66" y="29"/>
                  </a:cubicBezTo>
                  <a:cubicBezTo>
                    <a:pt x="45" y="29"/>
                    <a:pt x="37" y="53"/>
                    <a:pt x="37" y="74"/>
                  </a:cubicBezTo>
                  <a:lnTo>
                    <a:pt x="92" y="7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1" name="Freeform 212">
              <a:extLst>
                <a:ext uri="{FF2B5EF4-FFF2-40B4-BE49-F238E27FC236}">
                  <a16:creationId xmlns:a16="http://schemas.microsoft.com/office/drawing/2014/main" id="{8B047FCB-3B12-F242-AE7B-85272C958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3788" y="4622800"/>
              <a:ext cx="14287" cy="90488"/>
            </a:xfrm>
            <a:custGeom>
              <a:avLst/>
              <a:gdLst>
                <a:gd name="T0" fmla="*/ 0 w 38"/>
                <a:gd name="T1" fmla="*/ 0 h 253"/>
                <a:gd name="T2" fmla="*/ 13911 w 38"/>
                <a:gd name="T3" fmla="*/ 0 h 253"/>
                <a:gd name="T4" fmla="*/ 13911 w 38"/>
                <a:gd name="T5" fmla="*/ 90130 h 253"/>
                <a:gd name="T6" fmla="*/ 0 w 38"/>
                <a:gd name="T7" fmla="*/ 90130 h 253"/>
                <a:gd name="T8" fmla="*/ 0 w 38"/>
                <a:gd name="T9" fmla="*/ 0 h 2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253">
                  <a:moveTo>
                    <a:pt x="0" y="0"/>
                  </a:moveTo>
                  <a:lnTo>
                    <a:pt x="37" y="0"/>
                  </a:lnTo>
                  <a:lnTo>
                    <a:pt x="37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" name="Freeform 213">
              <a:extLst>
                <a:ext uri="{FF2B5EF4-FFF2-40B4-BE49-F238E27FC236}">
                  <a16:creationId xmlns:a16="http://schemas.microsoft.com/office/drawing/2014/main" id="{2B1D932D-56C0-7842-AE4D-77A1D56F8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7600" y="4649788"/>
              <a:ext cx="47625" cy="63500"/>
            </a:xfrm>
            <a:custGeom>
              <a:avLst/>
              <a:gdLst>
                <a:gd name="T0" fmla="*/ 5817 w 131"/>
                <a:gd name="T1" fmla="*/ 4690 h 176"/>
                <a:gd name="T2" fmla="*/ 24358 w 131"/>
                <a:gd name="T3" fmla="*/ 0 h 176"/>
                <a:gd name="T4" fmla="*/ 46171 w 131"/>
                <a:gd name="T5" fmla="*/ 24895 h 176"/>
                <a:gd name="T6" fmla="*/ 46171 w 131"/>
                <a:gd name="T7" fmla="*/ 51594 h 176"/>
                <a:gd name="T8" fmla="*/ 47261 w 131"/>
                <a:gd name="T9" fmla="*/ 62057 h 176"/>
                <a:gd name="T10" fmla="*/ 34901 w 131"/>
                <a:gd name="T11" fmla="*/ 62057 h 176"/>
                <a:gd name="T12" fmla="*/ 33810 w 131"/>
                <a:gd name="T13" fmla="*/ 53759 h 176"/>
                <a:gd name="T14" fmla="*/ 17450 w 131"/>
                <a:gd name="T15" fmla="*/ 63139 h 176"/>
                <a:gd name="T16" fmla="*/ 0 w 131"/>
                <a:gd name="T17" fmla="*/ 45099 h 176"/>
                <a:gd name="T18" fmla="*/ 30902 w 131"/>
                <a:gd name="T19" fmla="*/ 23813 h 176"/>
                <a:gd name="T20" fmla="*/ 33810 w 131"/>
                <a:gd name="T21" fmla="*/ 23813 h 176"/>
                <a:gd name="T22" fmla="*/ 33810 w 131"/>
                <a:gd name="T23" fmla="*/ 23091 h 176"/>
                <a:gd name="T24" fmla="*/ 23267 w 131"/>
                <a:gd name="T25" fmla="*/ 11545 h 176"/>
                <a:gd name="T26" fmla="*/ 7998 w 131"/>
                <a:gd name="T27" fmla="*/ 17318 h 176"/>
                <a:gd name="T28" fmla="*/ 5817 w 131"/>
                <a:gd name="T29" fmla="*/ 4690 h 176"/>
                <a:gd name="T30" fmla="*/ 32719 w 131"/>
                <a:gd name="T31" fmla="*/ 32472 h 176"/>
                <a:gd name="T32" fmla="*/ 13451 w 131"/>
                <a:gd name="T33" fmla="*/ 44017 h 176"/>
                <a:gd name="T34" fmla="*/ 22177 w 131"/>
                <a:gd name="T35" fmla="*/ 53759 h 176"/>
                <a:gd name="T36" fmla="*/ 33810 w 131"/>
                <a:gd name="T37" fmla="*/ 35358 h 176"/>
                <a:gd name="T38" fmla="*/ 33810 w 131"/>
                <a:gd name="T39" fmla="*/ 32472 h 176"/>
                <a:gd name="T40" fmla="*/ 32719 w 131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1" h="176">
                  <a:moveTo>
                    <a:pt x="16" y="13"/>
                  </a:moveTo>
                  <a:cubicBezTo>
                    <a:pt x="27" y="8"/>
                    <a:pt x="43" y="0"/>
                    <a:pt x="67" y="0"/>
                  </a:cubicBezTo>
                  <a:cubicBezTo>
                    <a:pt x="117" y="0"/>
                    <a:pt x="127" y="27"/>
                    <a:pt x="127" y="69"/>
                  </a:cubicBezTo>
                  <a:lnTo>
                    <a:pt x="127" y="143"/>
                  </a:lnTo>
                  <a:cubicBezTo>
                    <a:pt x="127" y="156"/>
                    <a:pt x="127" y="167"/>
                    <a:pt x="130" y="172"/>
                  </a:cubicBezTo>
                  <a:lnTo>
                    <a:pt x="96" y="172"/>
                  </a:lnTo>
                  <a:cubicBezTo>
                    <a:pt x="93" y="164"/>
                    <a:pt x="93" y="156"/>
                    <a:pt x="93" y="149"/>
                  </a:cubicBezTo>
                  <a:cubicBezTo>
                    <a:pt x="82" y="162"/>
                    <a:pt x="72" y="175"/>
                    <a:pt x="48" y="175"/>
                  </a:cubicBezTo>
                  <a:cubicBezTo>
                    <a:pt x="24" y="175"/>
                    <a:pt x="0" y="156"/>
                    <a:pt x="0" y="125"/>
                  </a:cubicBezTo>
                  <a:cubicBezTo>
                    <a:pt x="0" y="77"/>
                    <a:pt x="35" y="66"/>
                    <a:pt x="85" y="66"/>
                  </a:cubicBezTo>
                  <a:lnTo>
                    <a:pt x="93" y="66"/>
                  </a:lnTo>
                  <a:lnTo>
                    <a:pt x="93" y="64"/>
                  </a:lnTo>
                  <a:cubicBezTo>
                    <a:pt x="93" y="48"/>
                    <a:pt x="85" y="32"/>
                    <a:pt x="64" y="32"/>
                  </a:cubicBezTo>
                  <a:cubicBezTo>
                    <a:pt x="45" y="32"/>
                    <a:pt x="27" y="43"/>
                    <a:pt x="22" y="48"/>
                  </a:cubicBezTo>
                  <a:lnTo>
                    <a:pt x="16" y="13"/>
                  </a:lnTo>
                  <a:close/>
                  <a:moveTo>
                    <a:pt x="90" y="90"/>
                  </a:moveTo>
                  <a:cubicBezTo>
                    <a:pt x="59" y="90"/>
                    <a:pt x="37" y="98"/>
                    <a:pt x="37" y="122"/>
                  </a:cubicBezTo>
                  <a:cubicBezTo>
                    <a:pt x="37" y="138"/>
                    <a:pt x="48" y="149"/>
                    <a:pt x="61" y="149"/>
                  </a:cubicBezTo>
                  <a:cubicBezTo>
                    <a:pt x="85" y="149"/>
                    <a:pt x="93" y="130"/>
                    <a:pt x="93" y="98"/>
                  </a:cubicBezTo>
                  <a:lnTo>
                    <a:pt x="93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" name="Freeform 214">
              <a:extLst>
                <a:ext uri="{FF2B5EF4-FFF2-40B4-BE49-F238E27FC236}">
                  <a16:creationId xmlns:a16="http://schemas.microsoft.com/office/drawing/2014/main" id="{4845DD5B-ECBD-FC46-9213-A362E31DF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4627563"/>
              <a:ext cx="46037" cy="87312"/>
            </a:xfrm>
            <a:custGeom>
              <a:avLst/>
              <a:gdLst>
                <a:gd name="T0" fmla="*/ 2877 w 128"/>
                <a:gd name="T1" fmla="*/ 69633 h 242"/>
                <a:gd name="T2" fmla="*/ 19062 w 128"/>
                <a:gd name="T3" fmla="*/ 74323 h 242"/>
                <a:gd name="T4" fmla="*/ 30571 w 128"/>
                <a:gd name="T5" fmla="*/ 62056 h 242"/>
                <a:gd name="T6" fmla="*/ 20141 w 128"/>
                <a:gd name="T7" fmla="*/ 49429 h 242"/>
                <a:gd name="T8" fmla="*/ 12229 w 128"/>
                <a:gd name="T9" fmla="*/ 44738 h 242"/>
                <a:gd name="T10" fmla="*/ 0 w 128"/>
                <a:gd name="T11" fmla="*/ 22730 h 242"/>
                <a:gd name="T12" fmla="*/ 24817 w 128"/>
                <a:gd name="T13" fmla="*/ 0 h 242"/>
                <a:gd name="T14" fmla="*/ 41002 w 128"/>
                <a:gd name="T15" fmla="*/ 2886 h 242"/>
                <a:gd name="T16" fmla="*/ 39923 w 128"/>
                <a:gd name="T17" fmla="*/ 16236 h 242"/>
                <a:gd name="T18" fmla="*/ 25536 w 128"/>
                <a:gd name="T19" fmla="*/ 12267 h 242"/>
                <a:gd name="T20" fmla="*/ 15106 w 128"/>
                <a:gd name="T21" fmla="*/ 22008 h 242"/>
                <a:gd name="T22" fmla="*/ 23738 w 128"/>
                <a:gd name="T23" fmla="*/ 33193 h 242"/>
                <a:gd name="T24" fmla="*/ 32370 w 128"/>
                <a:gd name="T25" fmla="*/ 38244 h 242"/>
                <a:gd name="T26" fmla="*/ 45677 w 128"/>
                <a:gd name="T27" fmla="*/ 60974 h 242"/>
                <a:gd name="T28" fmla="*/ 20141 w 128"/>
                <a:gd name="T29" fmla="*/ 86951 h 242"/>
                <a:gd name="T30" fmla="*/ 1798 w 128"/>
                <a:gd name="T31" fmla="*/ 82982 h 242"/>
                <a:gd name="T32" fmla="*/ 2877 w 128"/>
                <a:gd name="T33" fmla="*/ 69633 h 24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8" h="242">
                  <a:moveTo>
                    <a:pt x="8" y="193"/>
                  </a:moveTo>
                  <a:cubicBezTo>
                    <a:pt x="16" y="198"/>
                    <a:pt x="32" y="206"/>
                    <a:pt x="53" y="206"/>
                  </a:cubicBezTo>
                  <a:cubicBezTo>
                    <a:pt x="71" y="206"/>
                    <a:pt x="85" y="196"/>
                    <a:pt x="85" y="172"/>
                  </a:cubicBezTo>
                  <a:cubicBezTo>
                    <a:pt x="85" y="156"/>
                    <a:pt x="77" y="148"/>
                    <a:pt x="56" y="137"/>
                  </a:cubicBezTo>
                  <a:lnTo>
                    <a:pt x="34" y="124"/>
                  </a:lnTo>
                  <a:cubicBezTo>
                    <a:pt x="13" y="111"/>
                    <a:pt x="0" y="92"/>
                    <a:pt x="0" y="63"/>
                  </a:cubicBezTo>
                  <a:cubicBezTo>
                    <a:pt x="0" y="21"/>
                    <a:pt x="32" y="0"/>
                    <a:pt x="69" y="0"/>
                  </a:cubicBezTo>
                  <a:cubicBezTo>
                    <a:pt x="93" y="0"/>
                    <a:pt x="109" y="5"/>
                    <a:pt x="114" y="8"/>
                  </a:cubicBezTo>
                  <a:lnTo>
                    <a:pt x="111" y="45"/>
                  </a:lnTo>
                  <a:cubicBezTo>
                    <a:pt x="101" y="39"/>
                    <a:pt x="89" y="34"/>
                    <a:pt x="71" y="34"/>
                  </a:cubicBezTo>
                  <a:cubicBezTo>
                    <a:pt x="52" y="34"/>
                    <a:pt x="42" y="45"/>
                    <a:pt x="42" y="61"/>
                  </a:cubicBezTo>
                  <a:cubicBezTo>
                    <a:pt x="42" y="79"/>
                    <a:pt x="53" y="84"/>
                    <a:pt x="66" y="92"/>
                  </a:cubicBezTo>
                  <a:lnTo>
                    <a:pt x="90" y="106"/>
                  </a:lnTo>
                  <a:cubicBezTo>
                    <a:pt x="117" y="121"/>
                    <a:pt x="127" y="135"/>
                    <a:pt x="127" y="169"/>
                  </a:cubicBezTo>
                  <a:cubicBezTo>
                    <a:pt x="127" y="217"/>
                    <a:pt x="95" y="241"/>
                    <a:pt x="56" y="241"/>
                  </a:cubicBezTo>
                  <a:cubicBezTo>
                    <a:pt x="34" y="241"/>
                    <a:pt x="19" y="238"/>
                    <a:pt x="5" y="230"/>
                  </a:cubicBezTo>
                  <a:lnTo>
                    <a:pt x="8" y="19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" name="Freeform 215">
              <a:extLst>
                <a:ext uri="{FF2B5EF4-FFF2-40B4-BE49-F238E27FC236}">
                  <a16:creationId xmlns:a16="http://schemas.microsoft.com/office/drawing/2014/main" id="{CF43AB1A-CAA1-664A-BE86-6F0545E4C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5713" y="4649788"/>
              <a:ext cx="46037" cy="63500"/>
            </a:xfrm>
            <a:custGeom>
              <a:avLst/>
              <a:gdLst>
                <a:gd name="T0" fmla="*/ 5666 w 130"/>
                <a:gd name="T1" fmla="*/ 4690 h 176"/>
                <a:gd name="T2" fmla="*/ 23019 w 130"/>
                <a:gd name="T3" fmla="*/ 0 h 176"/>
                <a:gd name="T4" fmla="*/ 44620 w 130"/>
                <a:gd name="T5" fmla="*/ 24895 h 176"/>
                <a:gd name="T6" fmla="*/ 44620 w 130"/>
                <a:gd name="T7" fmla="*/ 51594 h 176"/>
                <a:gd name="T8" fmla="*/ 45683 w 130"/>
                <a:gd name="T9" fmla="*/ 62057 h 176"/>
                <a:gd name="T10" fmla="*/ 33642 w 130"/>
                <a:gd name="T11" fmla="*/ 62057 h 176"/>
                <a:gd name="T12" fmla="*/ 32580 w 130"/>
                <a:gd name="T13" fmla="*/ 53759 h 176"/>
                <a:gd name="T14" fmla="*/ 16644 w 130"/>
                <a:gd name="T15" fmla="*/ 63139 h 176"/>
                <a:gd name="T16" fmla="*/ 0 w 130"/>
                <a:gd name="T17" fmla="*/ 45099 h 176"/>
                <a:gd name="T18" fmla="*/ 29747 w 130"/>
                <a:gd name="T19" fmla="*/ 23813 h 176"/>
                <a:gd name="T20" fmla="*/ 32580 w 130"/>
                <a:gd name="T21" fmla="*/ 23813 h 176"/>
                <a:gd name="T22" fmla="*/ 32580 w 130"/>
                <a:gd name="T23" fmla="*/ 23091 h 176"/>
                <a:gd name="T24" fmla="*/ 22310 w 130"/>
                <a:gd name="T25" fmla="*/ 11545 h 176"/>
                <a:gd name="T26" fmla="*/ 7437 w 130"/>
                <a:gd name="T27" fmla="*/ 17318 h 176"/>
                <a:gd name="T28" fmla="*/ 5666 w 130"/>
                <a:gd name="T29" fmla="*/ 4690 h 176"/>
                <a:gd name="T30" fmla="*/ 31518 w 130"/>
                <a:gd name="T31" fmla="*/ 32472 h 176"/>
                <a:gd name="T32" fmla="*/ 13103 w 130"/>
                <a:gd name="T33" fmla="*/ 44017 h 176"/>
                <a:gd name="T34" fmla="*/ 21248 w 130"/>
                <a:gd name="T35" fmla="*/ 53759 h 176"/>
                <a:gd name="T36" fmla="*/ 32580 w 130"/>
                <a:gd name="T37" fmla="*/ 35358 h 176"/>
                <a:gd name="T38" fmla="*/ 32580 w 130"/>
                <a:gd name="T39" fmla="*/ 32472 h 176"/>
                <a:gd name="T40" fmla="*/ 31518 w 130"/>
                <a:gd name="T41" fmla="*/ 32472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0" h="176">
                  <a:moveTo>
                    <a:pt x="16" y="13"/>
                  </a:moveTo>
                  <a:cubicBezTo>
                    <a:pt x="27" y="8"/>
                    <a:pt x="42" y="0"/>
                    <a:pt x="65" y="0"/>
                  </a:cubicBezTo>
                  <a:cubicBezTo>
                    <a:pt x="116" y="0"/>
                    <a:pt x="126" y="27"/>
                    <a:pt x="126" y="69"/>
                  </a:cubicBezTo>
                  <a:lnTo>
                    <a:pt x="126" y="143"/>
                  </a:lnTo>
                  <a:cubicBezTo>
                    <a:pt x="126" y="156"/>
                    <a:pt x="126" y="167"/>
                    <a:pt x="129" y="172"/>
                  </a:cubicBezTo>
                  <a:lnTo>
                    <a:pt x="95" y="172"/>
                  </a:lnTo>
                  <a:cubicBezTo>
                    <a:pt x="92" y="164"/>
                    <a:pt x="92" y="156"/>
                    <a:pt x="92" y="149"/>
                  </a:cubicBezTo>
                  <a:cubicBezTo>
                    <a:pt x="81" y="162"/>
                    <a:pt x="71" y="175"/>
                    <a:pt x="47" y="175"/>
                  </a:cubicBezTo>
                  <a:cubicBezTo>
                    <a:pt x="24" y="175"/>
                    <a:pt x="0" y="156"/>
                    <a:pt x="0" y="125"/>
                  </a:cubicBezTo>
                  <a:cubicBezTo>
                    <a:pt x="0" y="77"/>
                    <a:pt x="35" y="66"/>
                    <a:pt x="84" y="66"/>
                  </a:cubicBezTo>
                  <a:lnTo>
                    <a:pt x="92" y="66"/>
                  </a:lnTo>
                  <a:lnTo>
                    <a:pt x="92" y="64"/>
                  </a:lnTo>
                  <a:cubicBezTo>
                    <a:pt x="92" y="48"/>
                    <a:pt x="84" y="32"/>
                    <a:pt x="63" y="32"/>
                  </a:cubicBezTo>
                  <a:cubicBezTo>
                    <a:pt x="44" y="32"/>
                    <a:pt x="27" y="43"/>
                    <a:pt x="21" y="48"/>
                  </a:cubicBezTo>
                  <a:lnTo>
                    <a:pt x="16" y="13"/>
                  </a:lnTo>
                  <a:close/>
                  <a:moveTo>
                    <a:pt x="89" y="90"/>
                  </a:moveTo>
                  <a:cubicBezTo>
                    <a:pt x="58" y="90"/>
                    <a:pt x="37" y="98"/>
                    <a:pt x="37" y="122"/>
                  </a:cubicBezTo>
                  <a:cubicBezTo>
                    <a:pt x="37" y="138"/>
                    <a:pt x="47" y="149"/>
                    <a:pt x="60" y="149"/>
                  </a:cubicBezTo>
                  <a:cubicBezTo>
                    <a:pt x="84" y="149"/>
                    <a:pt x="92" y="130"/>
                    <a:pt x="92" y="98"/>
                  </a:cubicBezTo>
                  <a:lnTo>
                    <a:pt x="92" y="90"/>
                  </a:lnTo>
                  <a:lnTo>
                    <a:pt x="89" y="9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5" name="Freeform 216">
              <a:extLst>
                <a:ext uri="{FF2B5EF4-FFF2-40B4-BE49-F238E27FC236}">
                  <a16:creationId xmlns:a16="http://schemas.microsoft.com/office/drawing/2014/main" id="{2215DD60-D858-CF41-84A5-AB0480CBE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4450" y="4622800"/>
              <a:ext cx="14288" cy="90488"/>
            </a:xfrm>
            <a:custGeom>
              <a:avLst/>
              <a:gdLst>
                <a:gd name="T0" fmla="*/ 0 w 39"/>
                <a:gd name="T1" fmla="*/ 0 h 253"/>
                <a:gd name="T2" fmla="*/ 13922 w 39"/>
                <a:gd name="T3" fmla="*/ 0 h 253"/>
                <a:gd name="T4" fmla="*/ 13922 w 39"/>
                <a:gd name="T5" fmla="*/ 90130 h 253"/>
                <a:gd name="T6" fmla="*/ 0 w 39"/>
                <a:gd name="T7" fmla="*/ 90130 h 253"/>
                <a:gd name="T8" fmla="*/ 0 w 39"/>
                <a:gd name="T9" fmla="*/ 0 h 2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" h="253">
                  <a:moveTo>
                    <a:pt x="0" y="0"/>
                  </a:moveTo>
                  <a:lnTo>
                    <a:pt x="38" y="0"/>
                  </a:lnTo>
                  <a:lnTo>
                    <a:pt x="38" y="252"/>
                  </a:lnTo>
                  <a:lnTo>
                    <a:pt x="0" y="252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" name="Freeform 217">
              <a:extLst>
                <a:ext uri="{FF2B5EF4-FFF2-40B4-BE49-F238E27FC236}">
                  <a16:creationId xmlns:a16="http://schemas.microsoft.com/office/drawing/2014/main" id="{08E82AF0-8098-5745-AFB4-C1218CE35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1438" y="4651375"/>
              <a:ext cx="46037" cy="63500"/>
            </a:xfrm>
            <a:custGeom>
              <a:avLst/>
              <a:gdLst>
                <a:gd name="T0" fmla="*/ 45672 w 126"/>
                <a:gd name="T1" fmla="*/ 62057 h 176"/>
                <a:gd name="T2" fmla="*/ 32884 w 126"/>
                <a:gd name="T3" fmla="*/ 62057 h 176"/>
                <a:gd name="T4" fmla="*/ 32884 w 126"/>
                <a:gd name="T5" fmla="*/ 52676 h 176"/>
                <a:gd name="T6" fmla="*/ 17538 w 126"/>
                <a:gd name="T7" fmla="*/ 63139 h 176"/>
                <a:gd name="T8" fmla="*/ 0 w 126"/>
                <a:gd name="T9" fmla="*/ 40048 h 176"/>
                <a:gd name="T10" fmla="*/ 0 w 126"/>
                <a:gd name="T11" fmla="*/ 0 h 176"/>
                <a:gd name="T12" fmla="*/ 13519 w 126"/>
                <a:gd name="T13" fmla="*/ 0 h 176"/>
                <a:gd name="T14" fmla="*/ 13519 w 126"/>
                <a:gd name="T15" fmla="*/ 37162 h 176"/>
                <a:gd name="T16" fmla="*/ 22288 w 126"/>
                <a:gd name="T17" fmla="*/ 50511 h 176"/>
                <a:gd name="T18" fmla="*/ 32153 w 126"/>
                <a:gd name="T19" fmla="*/ 35358 h 176"/>
                <a:gd name="T20" fmla="*/ 32153 w 126"/>
                <a:gd name="T21" fmla="*/ 0 h 176"/>
                <a:gd name="T22" fmla="*/ 45672 w 126"/>
                <a:gd name="T23" fmla="*/ 0 h 176"/>
                <a:gd name="T24" fmla="*/ 45672 w 126"/>
                <a:gd name="T25" fmla="*/ 51594 h 176"/>
                <a:gd name="T26" fmla="*/ 45672 w 126"/>
                <a:gd name="T27" fmla="*/ 62057 h 1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6" h="176">
                  <a:moveTo>
                    <a:pt x="125" y="172"/>
                  </a:moveTo>
                  <a:lnTo>
                    <a:pt x="90" y="172"/>
                  </a:lnTo>
                  <a:lnTo>
                    <a:pt x="90" y="146"/>
                  </a:lnTo>
                  <a:cubicBezTo>
                    <a:pt x="82" y="159"/>
                    <a:pt x="72" y="175"/>
                    <a:pt x="48" y="175"/>
                  </a:cubicBezTo>
                  <a:cubicBezTo>
                    <a:pt x="11" y="175"/>
                    <a:pt x="0" y="146"/>
                    <a:pt x="0" y="111"/>
                  </a:cubicBezTo>
                  <a:lnTo>
                    <a:pt x="0" y="0"/>
                  </a:lnTo>
                  <a:lnTo>
                    <a:pt x="37" y="0"/>
                  </a:lnTo>
                  <a:lnTo>
                    <a:pt x="37" y="103"/>
                  </a:lnTo>
                  <a:cubicBezTo>
                    <a:pt x="37" y="130"/>
                    <a:pt x="45" y="140"/>
                    <a:pt x="61" y="140"/>
                  </a:cubicBezTo>
                  <a:cubicBezTo>
                    <a:pt x="82" y="140"/>
                    <a:pt x="88" y="119"/>
                    <a:pt x="88" y="98"/>
                  </a:cubicBezTo>
                  <a:lnTo>
                    <a:pt x="88" y="0"/>
                  </a:lnTo>
                  <a:lnTo>
                    <a:pt x="125" y="0"/>
                  </a:lnTo>
                  <a:lnTo>
                    <a:pt x="125" y="143"/>
                  </a:lnTo>
                  <a:lnTo>
                    <a:pt x="125" y="172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" name="Freeform 218">
              <a:extLst>
                <a:ext uri="{FF2B5EF4-FFF2-40B4-BE49-F238E27FC236}">
                  <a16:creationId xmlns:a16="http://schemas.microsoft.com/office/drawing/2014/main" id="{F0A1DC77-25BF-B242-98F3-E5D84E3F2F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7000" y="4622800"/>
              <a:ext cx="49213" cy="92075"/>
            </a:xfrm>
            <a:custGeom>
              <a:avLst/>
              <a:gdLst>
                <a:gd name="T0" fmla="*/ 48851 w 136"/>
                <a:gd name="T1" fmla="*/ 80206 h 256"/>
                <a:gd name="T2" fmla="*/ 48851 w 136"/>
                <a:gd name="T3" fmla="*/ 90636 h 256"/>
                <a:gd name="T4" fmla="*/ 35462 w 136"/>
                <a:gd name="T5" fmla="*/ 90636 h 256"/>
                <a:gd name="T6" fmla="*/ 35462 w 136"/>
                <a:gd name="T7" fmla="*/ 81285 h 256"/>
                <a:gd name="T8" fmla="*/ 20264 w 136"/>
                <a:gd name="T9" fmla="*/ 91715 h 256"/>
                <a:gd name="T10" fmla="*/ 0 w 136"/>
                <a:gd name="T11" fmla="*/ 60065 h 256"/>
                <a:gd name="T12" fmla="*/ 20264 w 136"/>
                <a:gd name="T13" fmla="*/ 27694 h 256"/>
                <a:gd name="T14" fmla="*/ 35462 w 136"/>
                <a:gd name="T15" fmla="*/ 37405 h 256"/>
                <a:gd name="T16" fmla="*/ 35462 w 136"/>
                <a:gd name="T17" fmla="*/ 0 h 256"/>
                <a:gd name="T18" fmla="*/ 48851 w 136"/>
                <a:gd name="T19" fmla="*/ 0 h 256"/>
                <a:gd name="T20" fmla="*/ 48851 w 136"/>
                <a:gd name="T21" fmla="*/ 80206 h 256"/>
                <a:gd name="T22" fmla="*/ 24968 w 136"/>
                <a:gd name="T23" fmla="*/ 81285 h 256"/>
                <a:gd name="T24" fmla="*/ 35462 w 136"/>
                <a:gd name="T25" fmla="*/ 60065 h 256"/>
                <a:gd name="T26" fmla="*/ 24968 w 136"/>
                <a:gd name="T27" fmla="*/ 39204 h 256"/>
                <a:gd name="T28" fmla="*/ 14474 w 136"/>
                <a:gd name="T29" fmla="*/ 59345 h 256"/>
                <a:gd name="T30" fmla="*/ 24968 w 136"/>
                <a:gd name="T31" fmla="*/ 81285 h 2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6" h="256">
                  <a:moveTo>
                    <a:pt x="135" y="223"/>
                  </a:moveTo>
                  <a:lnTo>
                    <a:pt x="135" y="252"/>
                  </a:lnTo>
                  <a:lnTo>
                    <a:pt x="98" y="252"/>
                  </a:lnTo>
                  <a:lnTo>
                    <a:pt x="98" y="226"/>
                  </a:lnTo>
                  <a:cubicBezTo>
                    <a:pt x="93" y="241"/>
                    <a:pt x="80" y="255"/>
                    <a:pt x="56" y="255"/>
                  </a:cubicBezTo>
                  <a:cubicBezTo>
                    <a:pt x="16" y="255"/>
                    <a:pt x="0" y="215"/>
                    <a:pt x="0" y="167"/>
                  </a:cubicBezTo>
                  <a:cubicBezTo>
                    <a:pt x="0" y="112"/>
                    <a:pt x="21" y="77"/>
                    <a:pt x="56" y="77"/>
                  </a:cubicBezTo>
                  <a:cubicBezTo>
                    <a:pt x="80" y="77"/>
                    <a:pt x="90" y="90"/>
                    <a:pt x="98" y="104"/>
                  </a:cubicBezTo>
                  <a:lnTo>
                    <a:pt x="98" y="0"/>
                  </a:lnTo>
                  <a:lnTo>
                    <a:pt x="135" y="0"/>
                  </a:lnTo>
                  <a:lnTo>
                    <a:pt x="135" y="223"/>
                  </a:lnTo>
                  <a:close/>
                  <a:moveTo>
                    <a:pt x="69" y="226"/>
                  </a:moveTo>
                  <a:cubicBezTo>
                    <a:pt x="93" y="226"/>
                    <a:pt x="98" y="199"/>
                    <a:pt x="98" y="167"/>
                  </a:cubicBezTo>
                  <a:cubicBezTo>
                    <a:pt x="98" y="133"/>
                    <a:pt x="90" y="109"/>
                    <a:pt x="69" y="109"/>
                  </a:cubicBezTo>
                  <a:cubicBezTo>
                    <a:pt x="48" y="109"/>
                    <a:pt x="40" y="130"/>
                    <a:pt x="40" y="165"/>
                  </a:cubicBezTo>
                  <a:cubicBezTo>
                    <a:pt x="40" y="204"/>
                    <a:pt x="45" y="226"/>
                    <a:pt x="69" y="22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" name="Freeform 219">
              <a:extLst>
                <a:ext uri="{FF2B5EF4-FFF2-40B4-BE49-F238E27FC236}">
                  <a16:creationId xmlns:a16="http://schemas.microsoft.com/office/drawing/2014/main" id="{DEC000D3-D645-514C-96C9-E648965BB4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888" y="4679950"/>
              <a:ext cx="784225" cy="4763"/>
            </a:xfrm>
            <a:custGeom>
              <a:avLst/>
              <a:gdLst>
                <a:gd name="T0" fmla="*/ 391932 w 2177"/>
                <a:gd name="T1" fmla="*/ 4366 h 12"/>
                <a:gd name="T2" fmla="*/ 0 w 2177"/>
                <a:gd name="T3" fmla="*/ 4366 h 12"/>
                <a:gd name="T4" fmla="*/ 0 w 2177"/>
                <a:gd name="T5" fmla="*/ 0 h 12"/>
                <a:gd name="T6" fmla="*/ 783865 w 2177"/>
                <a:gd name="T7" fmla="*/ 0 h 12"/>
                <a:gd name="T8" fmla="*/ 783865 w 2177"/>
                <a:gd name="T9" fmla="*/ 4366 h 12"/>
                <a:gd name="T10" fmla="*/ 391932 w 2177"/>
                <a:gd name="T11" fmla="*/ 436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77" h="12">
                  <a:moveTo>
                    <a:pt x="1088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2176" y="0"/>
                  </a:lnTo>
                  <a:lnTo>
                    <a:pt x="2176" y="11"/>
                  </a:lnTo>
                  <a:lnTo>
                    <a:pt x="1088" y="1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" name="Freeform 220">
              <a:extLst>
                <a:ext uri="{FF2B5EF4-FFF2-40B4-BE49-F238E27FC236}">
                  <a16:creationId xmlns:a16="http://schemas.microsoft.com/office/drawing/2014/main" id="{5663D9AA-4C7E-0740-A82A-35355B69B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9300" y="4448175"/>
              <a:ext cx="538163" cy="112713"/>
            </a:xfrm>
            <a:custGeom>
              <a:avLst/>
              <a:gdLst>
                <a:gd name="T0" fmla="*/ 154223 w 1497"/>
                <a:gd name="T1" fmla="*/ 30806 h 311"/>
                <a:gd name="T2" fmla="*/ 169322 w 1497"/>
                <a:gd name="T3" fmla="*/ 36242 h 311"/>
                <a:gd name="T4" fmla="*/ 176871 w 1497"/>
                <a:gd name="T5" fmla="*/ 48927 h 311"/>
                <a:gd name="T6" fmla="*/ 179747 w 1497"/>
                <a:gd name="T7" fmla="*/ 79733 h 311"/>
                <a:gd name="T8" fmla="*/ 193048 w 1497"/>
                <a:gd name="T9" fmla="*/ 85531 h 311"/>
                <a:gd name="T10" fmla="*/ 177950 w 1497"/>
                <a:gd name="T11" fmla="*/ 60524 h 311"/>
                <a:gd name="T12" fmla="*/ 176871 w 1497"/>
                <a:gd name="T13" fmla="*/ 57625 h 311"/>
                <a:gd name="T14" fmla="*/ 128339 w 1497"/>
                <a:gd name="T15" fmla="*/ 29719 h 311"/>
                <a:gd name="T16" fmla="*/ 95985 w 1497"/>
                <a:gd name="T17" fmla="*/ 56538 h 311"/>
                <a:gd name="T18" fmla="*/ 127620 w 1497"/>
                <a:gd name="T19" fmla="*/ 81545 h 311"/>
                <a:gd name="T20" fmla="*/ 98142 w 1497"/>
                <a:gd name="T21" fmla="*/ 94954 h 311"/>
                <a:gd name="T22" fmla="*/ 139124 w 1497"/>
                <a:gd name="T23" fmla="*/ 79733 h 311"/>
                <a:gd name="T24" fmla="*/ 138046 w 1497"/>
                <a:gd name="T25" fmla="*/ 25732 h 311"/>
                <a:gd name="T26" fmla="*/ 109286 w 1497"/>
                <a:gd name="T27" fmla="*/ 55450 h 311"/>
                <a:gd name="T28" fmla="*/ 127620 w 1497"/>
                <a:gd name="T29" fmla="*/ 55450 h 311"/>
                <a:gd name="T30" fmla="*/ 214259 w 1497"/>
                <a:gd name="T31" fmla="*/ 33705 h 311"/>
                <a:gd name="T32" fmla="*/ 201676 w 1497"/>
                <a:gd name="T33" fmla="*/ 25732 h 311"/>
                <a:gd name="T34" fmla="*/ 201676 w 1497"/>
                <a:gd name="T35" fmla="*/ 86256 h 311"/>
                <a:gd name="T36" fmla="*/ 223605 w 1497"/>
                <a:gd name="T37" fmla="*/ 37329 h 311"/>
                <a:gd name="T38" fmla="*/ 243737 w 1497"/>
                <a:gd name="T39" fmla="*/ 86256 h 311"/>
                <a:gd name="T40" fmla="*/ 214259 w 1497"/>
                <a:gd name="T41" fmla="*/ 33705 h 311"/>
                <a:gd name="T42" fmla="*/ 456917 w 1497"/>
                <a:gd name="T43" fmla="*/ 19933 h 311"/>
                <a:gd name="T44" fmla="*/ 0 w 1497"/>
                <a:gd name="T45" fmla="*/ 46027 h 311"/>
                <a:gd name="T46" fmla="*/ 28400 w 1497"/>
                <a:gd name="T47" fmla="*/ 3624 h 311"/>
                <a:gd name="T48" fmla="*/ 28400 w 1497"/>
                <a:gd name="T49" fmla="*/ 15222 h 311"/>
                <a:gd name="T50" fmla="*/ 14380 w 1497"/>
                <a:gd name="T51" fmla="*/ 44940 h 311"/>
                <a:gd name="T52" fmla="*/ 76932 w 1497"/>
                <a:gd name="T53" fmla="*/ 30806 h 311"/>
                <a:gd name="T54" fmla="*/ 65787 w 1497"/>
                <a:gd name="T55" fmla="*/ 26819 h 311"/>
                <a:gd name="T56" fmla="*/ 79089 w 1497"/>
                <a:gd name="T57" fmla="*/ 86256 h 311"/>
                <a:gd name="T58" fmla="*/ 93109 w 1497"/>
                <a:gd name="T59" fmla="*/ 40229 h 311"/>
                <a:gd name="T60" fmla="*/ 93109 w 1497"/>
                <a:gd name="T61" fmla="*/ 25007 h 311"/>
                <a:gd name="T62" fmla="*/ 429236 w 1497"/>
                <a:gd name="T63" fmla="*/ 15222 h 311"/>
                <a:gd name="T64" fmla="*/ 415935 w 1497"/>
                <a:gd name="T65" fmla="*/ 15222 h 311"/>
                <a:gd name="T66" fmla="*/ 384659 w 1497"/>
                <a:gd name="T67" fmla="*/ 56538 h 311"/>
                <a:gd name="T68" fmla="*/ 407307 w 1497"/>
                <a:gd name="T69" fmla="*/ 40229 h 311"/>
                <a:gd name="T70" fmla="*/ 372077 w 1497"/>
                <a:gd name="T71" fmla="*/ 56538 h 311"/>
                <a:gd name="T72" fmla="*/ 406588 w 1497"/>
                <a:gd name="T73" fmla="*/ 72847 h 311"/>
                <a:gd name="T74" fmla="*/ 429236 w 1497"/>
                <a:gd name="T75" fmla="*/ 25732 h 311"/>
                <a:gd name="T76" fmla="*/ 439662 w 1497"/>
                <a:gd name="T77" fmla="*/ 55450 h 311"/>
                <a:gd name="T78" fmla="*/ 462669 w 1497"/>
                <a:gd name="T79" fmla="*/ 25007 h 311"/>
                <a:gd name="T80" fmla="*/ 462669 w 1497"/>
                <a:gd name="T81" fmla="*/ 35517 h 311"/>
                <a:gd name="T82" fmla="*/ 452963 w 1497"/>
                <a:gd name="T83" fmla="*/ 55450 h 311"/>
                <a:gd name="T84" fmla="*/ 268542 w 1497"/>
                <a:gd name="T85" fmla="*/ 25732 h 311"/>
                <a:gd name="T86" fmla="*/ 255241 w 1497"/>
                <a:gd name="T87" fmla="*/ 15222 h 311"/>
                <a:gd name="T88" fmla="*/ 255241 w 1497"/>
                <a:gd name="T89" fmla="*/ 0 h 311"/>
                <a:gd name="T90" fmla="*/ 340801 w 1497"/>
                <a:gd name="T91" fmla="*/ 25732 h 311"/>
                <a:gd name="T92" fmla="*/ 326421 w 1497"/>
                <a:gd name="T93" fmla="*/ 42041 h 311"/>
                <a:gd name="T94" fmla="*/ 349428 w 1497"/>
                <a:gd name="T95" fmla="*/ 48927 h 311"/>
                <a:gd name="T96" fmla="*/ 336127 w 1497"/>
                <a:gd name="T97" fmla="*/ 88068 h 311"/>
                <a:gd name="T98" fmla="*/ 363449 w 1497"/>
                <a:gd name="T99" fmla="*/ 86256 h 311"/>
                <a:gd name="T100" fmla="*/ 360932 w 1497"/>
                <a:gd name="T101" fmla="*/ 50014 h 311"/>
                <a:gd name="T102" fmla="*/ 331094 w 1497"/>
                <a:gd name="T103" fmla="*/ 68135 h 311"/>
                <a:gd name="T104" fmla="*/ 348350 w 1497"/>
                <a:gd name="T105" fmla="*/ 60524 h 311"/>
                <a:gd name="T106" fmla="*/ 278968 w 1497"/>
                <a:gd name="T107" fmla="*/ 37329 h 311"/>
                <a:gd name="T108" fmla="*/ 277889 w 1497"/>
                <a:gd name="T109" fmla="*/ 86256 h 311"/>
                <a:gd name="T110" fmla="*/ 292269 w 1497"/>
                <a:gd name="T111" fmla="*/ 74659 h 311"/>
                <a:gd name="T112" fmla="*/ 508325 w 1497"/>
                <a:gd name="T113" fmla="*/ 33705 h 311"/>
                <a:gd name="T114" fmla="*/ 496102 w 1497"/>
                <a:gd name="T115" fmla="*/ 25732 h 311"/>
                <a:gd name="T116" fmla="*/ 496102 w 1497"/>
                <a:gd name="T117" fmla="*/ 86256 h 311"/>
                <a:gd name="T118" fmla="*/ 517672 w 1497"/>
                <a:gd name="T119" fmla="*/ 37329 h 311"/>
                <a:gd name="T120" fmla="*/ 537804 w 1497"/>
                <a:gd name="T121" fmla="*/ 86256 h 311"/>
                <a:gd name="T122" fmla="*/ 508325 w 1497"/>
                <a:gd name="T123" fmla="*/ 33705 h 3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97" h="311">
                  <a:moveTo>
                    <a:pt x="530" y="138"/>
                  </a:moveTo>
                  <a:cubicBezTo>
                    <a:pt x="530" y="98"/>
                    <a:pt x="519" y="71"/>
                    <a:pt x="474" y="71"/>
                  </a:cubicBezTo>
                  <a:cubicBezTo>
                    <a:pt x="453" y="71"/>
                    <a:pt x="437" y="79"/>
                    <a:pt x="429" y="85"/>
                  </a:cubicBezTo>
                  <a:lnTo>
                    <a:pt x="432" y="119"/>
                  </a:lnTo>
                  <a:lnTo>
                    <a:pt x="434" y="116"/>
                  </a:lnTo>
                  <a:cubicBezTo>
                    <a:pt x="440" y="111"/>
                    <a:pt x="455" y="100"/>
                    <a:pt x="471" y="100"/>
                  </a:cubicBezTo>
                  <a:cubicBezTo>
                    <a:pt x="495" y="100"/>
                    <a:pt x="498" y="122"/>
                    <a:pt x="498" y="130"/>
                  </a:cubicBezTo>
                  <a:lnTo>
                    <a:pt x="498" y="135"/>
                  </a:lnTo>
                  <a:lnTo>
                    <a:pt x="492" y="135"/>
                  </a:lnTo>
                  <a:cubicBezTo>
                    <a:pt x="458" y="135"/>
                    <a:pt x="416" y="140"/>
                    <a:pt x="416" y="193"/>
                  </a:cubicBezTo>
                  <a:cubicBezTo>
                    <a:pt x="416" y="225"/>
                    <a:pt x="437" y="243"/>
                    <a:pt x="461" y="243"/>
                  </a:cubicBezTo>
                  <a:cubicBezTo>
                    <a:pt x="482" y="243"/>
                    <a:pt x="492" y="233"/>
                    <a:pt x="500" y="220"/>
                  </a:cubicBezTo>
                  <a:cubicBezTo>
                    <a:pt x="500" y="228"/>
                    <a:pt x="500" y="233"/>
                    <a:pt x="503" y="238"/>
                  </a:cubicBezTo>
                  <a:lnTo>
                    <a:pt x="537" y="238"/>
                  </a:lnTo>
                  <a:lnTo>
                    <a:pt x="537" y="236"/>
                  </a:lnTo>
                  <a:cubicBezTo>
                    <a:pt x="532" y="230"/>
                    <a:pt x="530" y="220"/>
                    <a:pt x="530" y="209"/>
                  </a:cubicBezTo>
                  <a:lnTo>
                    <a:pt x="530" y="138"/>
                  </a:lnTo>
                  <a:close/>
                  <a:moveTo>
                    <a:pt x="495" y="167"/>
                  </a:moveTo>
                  <a:cubicBezTo>
                    <a:pt x="495" y="198"/>
                    <a:pt x="487" y="212"/>
                    <a:pt x="469" y="212"/>
                  </a:cubicBezTo>
                  <a:cubicBezTo>
                    <a:pt x="455" y="212"/>
                    <a:pt x="447" y="201"/>
                    <a:pt x="447" y="188"/>
                  </a:cubicBezTo>
                  <a:cubicBezTo>
                    <a:pt x="447" y="167"/>
                    <a:pt x="461" y="159"/>
                    <a:pt x="492" y="159"/>
                  </a:cubicBezTo>
                  <a:lnTo>
                    <a:pt x="495" y="159"/>
                  </a:lnTo>
                  <a:lnTo>
                    <a:pt x="495" y="167"/>
                  </a:lnTo>
                  <a:close/>
                  <a:moveTo>
                    <a:pt x="357" y="82"/>
                  </a:moveTo>
                  <a:lnTo>
                    <a:pt x="357" y="95"/>
                  </a:lnTo>
                  <a:cubicBezTo>
                    <a:pt x="349" y="82"/>
                    <a:pt x="339" y="69"/>
                    <a:pt x="320" y="69"/>
                  </a:cubicBezTo>
                  <a:cubicBezTo>
                    <a:pt x="286" y="69"/>
                    <a:pt x="267" y="100"/>
                    <a:pt x="267" y="156"/>
                  </a:cubicBezTo>
                  <a:cubicBezTo>
                    <a:pt x="267" y="233"/>
                    <a:pt x="307" y="238"/>
                    <a:pt x="318" y="238"/>
                  </a:cubicBezTo>
                  <a:cubicBezTo>
                    <a:pt x="339" y="238"/>
                    <a:pt x="349" y="225"/>
                    <a:pt x="355" y="214"/>
                  </a:cubicBezTo>
                  <a:lnTo>
                    <a:pt x="355" y="225"/>
                  </a:lnTo>
                  <a:cubicBezTo>
                    <a:pt x="355" y="249"/>
                    <a:pt x="349" y="275"/>
                    <a:pt x="318" y="275"/>
                  </a:cubicBezTo>
                  <a:cubicBezTo>
                    <a:pt x="304" y="275"/>
                    <a:pt x="291" y="270"/>
                    <a:pt x="275" y="262"/>
                  </a:cubicBezTo>
                  <a:lnTo>
                    <a:pt x="273" y="262"/>
                  </a:lnTo>
                  <a:lnTo>
                    <a:pt x="270" y="299"/>
                  </a:lnTo>
                  <a:cubicBezTo>
                    <a:pt x="286" y="307"/>
                    <a:pt x="302" y="310"/>
                    <a:pt x="320" y="310"/>
                  </a:cubicBezTo>
                  <a:cubicBezTo>
                    <a:pt x="379" y="310"/>
                    <a:pt x="387" y="262"/>
                    <a:pt x="387" y="220"/>
                  </a:cubicBezTo>
                  <a:lnTo>
                    <a:pt x="387" y="98"/>
                  </a:lnTo>
                  <a:lnTo>
                    <a:pt x="387" y="71"/>
                  </a:lnTo>
                  <a:lnTo>
                    <a:pt x="384" y="71"/>
                  </a:lnTo>
                  <a:lnTo>
                    <a:pt x="357" y="71"/>
                  </a:lnTo>
                  <a:lnTo>
                    <a:pt x="357" y="82"/>
                  </a:lnTo>
                  <a:close/>
                  <a:moveTo>
                    <a:pt x="304" y="153"/>
                  </a:moveTo>
                  <a:cubicBezTo>
                    <a:pt x="304" y="119"/>
                    <a:pt x="312" y="103"/>
                    <a:pt x="328" y="103"/>
                  </a:cubicBezTo>
                  <a:cubicBezTo>
                    <a:pt x="334" y="103"/>
                    <a:pt x="339" y="106"/>
                    <a:pt x="342" y="108"/>
                  </a:cubicBezTo>
                  <a:cubicBezTo>
                    <a:pt x="349" y="116"/>
                    <a:pt x="355" y="132"/>
                    <a:pt x="355" y="153"/>
                  </a:cubicBezTo>
                  <a:cubicBezTo>
                    <a:pt x="355" y="191"/>
                    <a:pt x="347" y="206"/>
                    <a:pt x="326" y="206"/>
                  </a:cubicBezTo>
                  <a:cubicBezTo>
                    <a:pt x="315" y="206"/>
                    <a:pt x="304" y="193"/>
                    <a:pt x="304" y="153"/>
                  </a:cubicBezTo>
                  <a:close/>
                  <a:moveTo>
                    <a:pt x="596" y="93"/>
                  </a:moveTo>
                  <a:lnTo>
                    <a:pt x="596" y="82"/>
                  </a:lnTo>
                  <a:lnTo>
                    <a:pt x="596" y="71"/>
                  </a:lnTo>
                  <a:lnTo>
                    <a:pt x="561" y="71"/>
                  </a:lnTo>
                  <a:lnTo>
                    <a:pt x="561" y="74"/>
                  </a:lnTo>
                  <a:lnTo>
                    <a:pt x="561" y="100"/>
                  </a:lnTo>
                  <a:lnTo>
                    <a:pt x="561" y="238"/>
                  </a:lnTo>
                  <a:lnTo>
                    <a:pt x="598" y="238"/>
                  </a:lnTo>
                  <a:lnTo>
                    <a:pt x="598" y="140"/>
                  </a:lnTo>
                  <a:cubicBezTo>
                    <a:pt x="598" y="127"/>
                    <a:pt x="601" y="103"/>
                    <a:pt x="622" y="103"/>
                  </a:cubicBezTo>
                  <a:cubicBezTo>
                    <a:pt x="635" y="103"/>
                    <a:pt x="641" y="114"/>
                    <a:pt x="641" y="138"/>
                  </a:cubicBezTo>
                  <a:lnTo>
                    <a:pt x="641" y="238"/>
                  </a:lnTo>
                  <a:lnTo>
                    <a:pt x="678" y="238"/>
                  </a:lnTo>
                  <a:lnTo>
                    <a:pt x="678" y="132"/>
                  </a:lnTo>
                  <a:cubicBezTo>
                    <a:pt x="678" y="90"/>
                    <a:pt x="662" y="69"/>
                    <a:pt x="633" y="69"/>
                  </a:cubicBezTo>
                  <a:cubicBezTo>
                    <a:pt x="612" y="69"/>
                    <a:pt x="601" y="85"/>
                    <a:pt x="596" y="93"/>
                  </a:cubicBezTo>
                  <a:close/>
                  <a:moveTo>
                    <a:pt x="1324" y="8"/>
                  </a:moveTo>
                  <a:lnTo>
                    <a:pt x="1290" y="8"/>
                  </a:lnTo>
                  <a:lnTo>
                    <a:pt x="1271" y="55"/>
                  </a:lnTo>
                  <a:lnTo>
                    <a:pt x="1295" y="55"/>
                  </a:lnTo>
                  <a:lnTo>
                    <a:pt x="1324" y="8"/>
                  </a:lnTo>
                  <a:close/>
                  <a:moveTo>
                    <a:pt x="0" y="127"/>
                  </a:moveTo>
                  <a:cubicBezTo>
                    <a:pt x="0" y="212"/>
                    <a:pt x="40" y="243"/>
                    <a:pt x="79" y="243"/>
                  </a:cubicBezTo>
                  <a:cubicBezTo>
                    <a:pt x="116" y="243"/>
                    <a:pt x="159" y="214"/>
                    <a:pt x="159" y="127"/>
                  </a:cubicBezTo>
                  <a:cubicBezTo>
                    <a:pt x="156" y="40"/>
                    <a:pt x="116" y="10"/>
                    <a:pt x="79" y="10"/>
                  </a:cubicBezTo>
                  <a:cubicBezTo>
                    <a:pt x="42" y="10"/>
                    <a:pt x="0" y="40"/>
                    <a:pt x="0" y="127"/>
                  </a:cubicBezTo>
                  <a:close/>
                  <a:moveTo>
                    <a:pt x="40" y="124"/>
                  </a:moveTo>
                  <a:cubicBezTo>
                    <a:pt x="40" y="71"/>
                    <a:pt x="53" y="42"/>
                    <a:pt x="79" y="42"/>
                  </a:cubicBezTo>
                  <a:cubicBezTo>
                    <a:pt x="106" y="42"/>
                    <a:pt x="119" y="71"/>
                    <a:pt x="119" y="124"/>
                  </a:cubicBezTo>
                  <a:cubicBezTo>
                    <a:pt x="119" y="177"/>
                    <a:pt x="103" y="206"/>
                    <a:pt x="79" y="206"/>
                  </a:cubicBezTo>
                  <a:cubicBezTo>
                    <a:pt x="53" y="206"/>
                    <a:pt x="40" y="177"/>
                    <a:pt x="40" y="124"/>
                  </a:cubicBezTo>
                  <a:close/>
                  <a:moveTo>
                    <a:pt x="249" y="69"/>
                  </a:moveTo>
                  <a:cubicBezTo>
                    <a:pt x="228" y="69"/>
                    <a:pt x="217" y="87"/>
                    <a:pt x="214" y="98"/>
                  </a:cubicBezTo>
                  <a:lnTo>
                    <a:pt x="214" y="85"/>
                  </a:lnTo>
                  <a:lnTo>
                    <a:pt x="214" y="71"/>
                  </a:lnTo>
                  <a:lnTo>
                    <a:pt x="183" y="71"/>
                  </a:lnTo>
                  <a:lnTo>
                    <a:pt x="183" y="74"/>
                  </a:lnTo>
                  <a:lnTo>
                    <a:pt x="183" y="100"/>
                  </a:lnTo>
                  <a:lnTo>
                    <a:pt x="183" y="238"/>
                  </a:lnTo>
                  <a:lnTo>
                    <a:pt x="220" y="238"/>
                  </a:lnTo>
                  <a:lnTo>
                    <a:pt x="220" y="148"/>
                  </a:lnTo>
                  <a:cubicBezTo>
                    <a:pt x="220" y="111"/>
                    <a:pt x="241" y="108"/>
                    <a:pt x="249" y="108"/>
                  </a:cubicBezTo>
                  <a:cubicBezTo>
                    <a:pt x="252" y="108"/>
                    <a:pt x="254" y="108"/>
                    <a:pt x="259" y="111"/>
                  </a:cubicBezTo>
                  <a:lnTo>
                    <a:pt x="262" y="111"/>
                  </a:lnTo>
                  <a:lnTo>
                    <a:pt x="262" y="69"/>
                  </a:lnTo>
                  <a:lnTo>
                    <a:pt x="259" y="69"/>
                  </a:lnTo>
                  <a:lnTo>
                    <a:pt x="249" y="69"/>
                  </a:lnTo>
                  <a:close/>
                  <a:moveTo>
                    <a:pt x="1157" y="42"/>
                  </a:moveTo>
                  <a:lnTo>
                    <a:pt x="1194" y="42"/>
                  </a:lnTo>
                  <a:lnTo>
                    <a:pt x="1194" y="0"/>
                  </a:lnTo>
                  <a:lnTo>
                    <a:pt x="1157" y="0"/>
                  </a:lnTo>
                  <a:lnTo>
                    <a:pt x="1157" y="42"/>
                  </a:lnTo>
                  <a:close/>
                  <a:moveTo>
                    <a:pt x="1131" y="201"/>
                  </a:moveTo>
                  <a:cubicBezTo>
                    <a:pt x="1125" y="204"/>
                    <a:pt x="1115" y="209"/>
                    <a:pt x="1107" y="209"/>
                  </a:cubicBezTo>
                  <a:cubicBezTo>
                    <a:pt x="1083" y="209"/>
                    <a:pt x="1070" y="191"/>
                    <a:pt x="1070" y="156"/>
                  </a:cubicBezTo>
                  <a:cubicBezTo>
                    <a:pt x="1070" y="119"/>
                    <a:pt x="1080" y="103"/>
                    <a:pt x="1107" y="103"/>
                  </a:cubicBezTo>
                  <a:cubicBezTo>
                    <a:pt x="1115" y="103"/>
                    <a:pt x="1123" y="106"/>
                    <a:pt x="1131" y="111"/>
                  </a:cubicBezTo>
                  <a:lnTo>
                    <a:pt x="1133" y="111"/>
                  </a:lnTo>
                  <a:lnTo>
                    <a:pt x="1136" y="77"/>
                  </a:lnTo>
                  <a:cubicBezTo>
                    <a:pt x="1131" y="74"/>
                    <a:pt x="1117" y="69"/>
                    <a:pt x="1107" y="69"/>
                  </a:cubicBezTo>
                  <a:cubicBezTo>
                    <a:pt x="1062" y="69"/>
                    <a:pt x="1035" y="100"/>
                    <a:pt x="1035" y="156"/>
                  </a:cubicBezTo>
                  <a:cubicBezTo>
                    <a:pt x="1035" y="209"/>
                    <a:pt x="1062" y="241"/>
                    <a:pt x="1104" y="241"/>
                  </a:cubicBezTo>
                  <a:cubicBezTo>
                    <a:pt x="1120" y="241"/>
                    <a:pt x="1133" y="236"/>
                    <a:pt x="1139" y="233"/>
                  </a:cubicBezTo>
                  <a:lnTo>
                    <a:pt x="1131" y="201"/>
                  </a:lnTo>
                  <a:close/>
                  <a:moveTo>
                    <a:pt x="1157" y="238"/>
                  </a:moveTo>
                  <a:lnTo>
                    <a:pt x="1194" y="238"/>
                  </a:lnTo>
                  <a:lnTo>
                    <a:pt x="1194" y="71"/>
                  </a:lnTo>
                  <a:lnTo>
                    <a:pt x="1157" y="71"/>
                  </a:lnTo>
                  <a:lnTo>
                    <a:pt x="1157" y="238"/>
                  </a:lnTo>
                  <a:close/>
                  <a:moveTo>
                    <a:pt x="1223" y="153"/>
                  </a:moveTo>
                  <a:cubicBezTo>
                    <a:pt x="1223" y="228"/>
                    <a:pt x="1263" y="241"/>
                    <a:pt x="1287" y="241"/>
                  </a:cubicBezTo>
                  <a:cubicBezTo>
                    <a:pt x="1311" y="241"/>
                    <a:pt x="1350" y="230"/>
                    <a:pt x="1350" y="153"/>
                  </a:cubicBezTo>
                  <a:cubicBezTo>
                    <a:pt x="1353" y="77"/>
                    <a:pt x="1308" y="69"/>
                    <a:pt x="1287" y="69"/>
                  </a:cubicBezTo>
                  <a:cubicBezTo>
                    <a:pt x="1268" y="69"/>
                    <a:pt x="1223" y="77"/>
                    <a:pt x="1223" y="153"/>
                  </a:cubicBezTo>
                  <a:close/>
                  <a:moveTo>
                    <a:pt x="1260" y="153"/>
                  </a:moveTo>
                  <a:cubicBezTo>
                    <a:pt x="1260" y="130"/>
                    <a:pt x="1266" y="98"/>
                    <a:pt x="1287" y="98"/>
                  </a:cubicBezTo>
                  <a:cubicBezTo>
                    <a:pt x="1303" y="98"/>
                    <a:pt x="1313" y="116"/>
                    <a:pt x="1313" y="153"/>
                  </a:cubicBezTo>
                  <a:cubicBezTo>
                    <a:pt x="1313" y="191"/>
                    <a:pt x="1305" y="209"/>
                    <a:pt x="1287" y="209"/>
                  </a:cubicBezTo>
                  <a:cubicBezTo>
                    <a:pt x="1266" y="209"/>
                    <a:pt x="1260" y="180"/>
                    <a:pt x="1260" y="153"/>
                  </a:cubicBezTo>
                  <a:close/>
                  <a:moveTo>
                    <a:pt x="710" y="238"/>
                  </a:moveTo>
                  <a:lnTo>
                    <a:pt x="747" y="238"/>
                  </a:lnTo>
                  <a:lnTo>
                    <a:pt x="747" y="71"/>
                  </a:lnTo>
                  <a:lnTo>
                    <a:pt x="710" y="71"/>
                  </a:lnTo>
                  <a:lnTo>
                    <a:pt x="710" y="238"/>
                  </a:lnTo>
                  <a:close/>
                  <a:moveTo>
                    <a:pt x="710" y="42"/>
                  </a:moveTo>
                  <a:lnTo>
                    <a:pt x="747" y="42"/>
                  </a:lnTo>
                  <a:lnTo>
                    <a:pt x="747" y="0"/>
                  </a:lnTo>
                  <a:lnTo>
                    <a:pt x="710" y="0"/>
                  </a:lnTo>
                  <a:lnTo>
                    <a:pt x="710" y="42"/>
                  </a:lnTo>
                  <a:close/>
                  <a:moveTo>
                    <a:pt x="1004" y="138"/>
                  </a:moveTo>
                  <a:cubicBezTo>
                    <a:pt x="1004" y="98"/>
                    <a:pt x="993" y="71"/>
                    <a:pt x="948" y="71"/>
                  </a:cubicBezTo>
                  <a:cubicBezTo>
                    <a:pt x="927" y="71"/>
                    <a:pt x="911" y="79"/>
                    <a:pt x="903" y="85"/>
                  </a:cubicBezTo>
                  <a:lnTo>
                    <a:pt x="906" y="119"/>
                  </a:lnTo>
                  <a:lnTo>
                    <a:pt x="908" y="116"/>
                  </a:lnTo>
                  <a:cubicBezTo>
                    <a:pt x="913" y="111"/>
                    <a:pt x="929" y="100"/>
                    <a:pt x="945" y="100"/>
                  </a:cubicBezTo>
                  <a:cubicBezTo>
                    <a:pt x="969" y="100"/>
                    <a:pt x="972" y="122"/>
                    <a:pt x="972" y="130"/>
                  </a:cubicBezTo>
                  <a:lnTo>
                    <a:pt x="972" y="135"/>
                  </a:lnTo>
                  <a:lnTo>
                    <a:pt x="966" y="135"/>
                  </a:lnTo>
                  <a:cubicBezTo>
                    <a:pt x="932" y="135"/>
                    <a:pt x="890" y="140"/>
                    <a:pt x="890" y="193"/>
                  </a:cubicBezTo>
                  <a:cubicBezTo>
                    <a:pt x="890" y="225"/>
                    <a:pt x="911" y="243"/>
                    <a:pt x="935" y="243"/>
                  </a:cubicBezTo>
                  <a:cubicBezTo>
                    <a:pt x="956" y="243"/>
                    <a:pt x="966" y="233"/>
                    <a:pt x="974" y="220"/>
                  </a:cubicBezTo>
                  <a:cubicBezTo>
                    <a:pt x="974" y="225"/>
                    <a:pt x="974" y="233"/>
                    <a:pt x="977" y="238"/>
                  </a:cubicBezTo>
                  <a:lnTo>
                    <a:pt x="1011" y="238"/>
                  </a:lnTo>
                  <a:lnTo>
                    <a:pt x="1011" y="236"/>
                  </a:lnTo>
                  <a:cubicBezTo>
                    <a:pt x="1006" y="230"/>
                    <a:pt x="1004" y="220"/>
                    <a:pt x="1004" y="209"/>
                  </a:cubicBezTo>
                  <a:lnTo>
                    <a:pt x="1004" y="138"/>
                  </a:lnTo>
                  <a:close/>
                  <a:moveTo>
                    <a:pt x="969" y="167"/>
                  </a:moveTo>
                  <a:cubicBezTo>
                    <a:pt x="969" y="198"/>
                    <a:pt x="961" y="212"/>
                    <a:pt x="943" y="212"/>
                  </a:cubicBezTo>
                  <a:cubicBezTo>
                    <a:pt x="929" y="212"/>
                    <a:pt x="921" y="201"/>
                    <a:pt x="921" y="188"/>
                  </a:cubicBezTo>
                  <a:cubicBezTo>
                    <a:pt x="921" y="167"/>
                    <a:pt x="935" y="159"/>
                    <a:pt x="966" y="159"/>
                  </a:cubicBezTo>
                  <a:lnTo>
                    <a:pt x="969" y="159"/>
                  </a:lnTo>
                  <a:lnTo>
                    <a:pt x="969" y="167"/>
                  </a:lnTo>
                  <a:close/>
                  <a:moveTo>
                    <a:pt x="871" y="71"/>
                  </a:moveTo>
                  <a:lnTo>
                    <a:pt x="776" y="71"/>
                  </a:lnTo>
                  <a:lnTo>
                    <a:pt x="776" y="103"/>
                  </a:lnTo>
                  <a:lnTo>
                    <a:pt x="834" y="103"/>
                  </a:lnTo>
                  <a:cubicBezTo>
                    <a:pt x="831" y="106"/>
                    <a:pt x="773" y="201"/>
                    <a:pt x="773" y="201"/>
                  </a:cubicBezTo>
                  <a:lnTo>
                    <a:pt x="773" y="238"/>
                  </a:lnTo>
                  <a:lnTo>
                    <a:pt x="874" y="238"/>
                  </a:lnTo>
                  <a:lnTo>
                    <a:pt x="874" y="206"/>
                  </a:lnTo>
                  <a:lnTo>
                    <a:pt x="813" y="206"/>
                  </a:lnTo>
                  <a:cubicBezTo>
                    <a:pt x="813" y="201"/>
                    <a:pt x="871" y="106"/>
                    <a:pt x="871" y="106"/>
                  </a:cubicBezTo>
                  <a:lnTo>
                    <a:pt x="871" y="71"/>
                  </a:lnTo>
                  <a:close/>
                  <a:moveTo>
                    <a:pt x="1414" y="93"/>
                  </a:moveTo>
                  <a:lnTo>
                    <a:pt x="1414" y="82"/>
                  </a:lnTo>
                  <a:lnTo>
                    <a:pt x="1414" y="71"/>
                  </a:lnTo>
                  <a:lnTo>
                    <a:pt x="1380" y="71"/>
                  </a:lnTo>
                  <a:lnTo>
                    <a:pt x="1380" y="74"/>
                  </a:lnTo>
                  <a:lnTo>
                    <a:pt x="1380" y="100"/>
                  </a:lnTo>
                  <a:lnTo>
                    <a:pt x="1380" y="238"/>
                  </a:lnTo>
                  <a:lnTo>
                    <a:pt x="1417" y="238"/>
                  </a:lnTo>
                  <a:lnTo>
                    <a:pt x="1417" y="140"/>
                  </a:lnTo>
                  <a:cubicBezTo>
                    <a:pt x="1417" y="127"/>
                    <a:pt x="1419" y="103"/>
                    <a:pt x="1440" y="103"/>
                  </a:cubicBezTo>
                  <a:cubicBezTo>
                    <a:pt x="1454" y="103"/>
                    <a:pt x="1459" y="114"/>
                    <a:pt x="1459" y="138"/>
                  </a:cubicBezTo>
                  <a:lnTo>
                    <a:pt x="1459" y="238"/>
                  </a:lnTo>
                  <a:lnTo>
                    <a:pt x="1496" y="238"/>
                  </a:lnTo>
                  <a:lnTo>
                    <a:pt x="1496" y="132"/>
                  </a:lnTo>
                  <a:cubicBezTo>
                    <a:pt x="1493" y="90"/>
                    <a:pt x="1478" y="69"/>
                    <a:pt x="1451" y="69"/>
                  </a:cubicBezTo>
                  <a:cubicBezTo>
                    <a:pt x="1430" y="69"/>
                    <a:pt x="1419" y="85"/>
                    <a:pt x="1414" y="9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" name="Freeform 221">
              <a:extLst>
                <a:ext uri="{FF2B5EF4-FFF2-40B4-BE49-F238E27FC236}">
                  <a16:creationId xmlns:a16="http://schemas.microsoft.com/office/drawing/2014/main" id="{F49FEE01-6265-4B42-ABFE-46F000399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564063"/>
              <a:ext cx="781050" cy="85725"/>
            </a:xfrm>
            <a:custGeom>
              <a:avLst/>
              <a:gdLst>
                <a:gd name="T0" fmla="*/ 252428 w 2169"/>
                <a:gd name="T1" fmla="*/ 41958 h 237"/>
                <a:gd name="T2" fmla="*/ 275474 w 2169"/>
                <a:gd name="T3" fmla="*/ 47746 h 237"/>
                <a:gd name="T4" fmla="*/ 276194 w 2169"/>
                <a:gd name="T5" fmla="*/ 76682 h 237"/>
                <a:gd name="T6" fmla="*/ 285917 w 2169"/>
                <a:gd name="T7" fmla="*/ 73789 h 237"/>
                <a:gd name="T8" fmla="*/ 273674 w 2169"/>
                <a:gd name="T9" fmla="*/ 55341 h 237"/>
                <a:gd name="T10" fmla="*/ 135396 w 2169"/>
                <a:gd name="T11" fmla="*/ 34362 h 237"/>
                <a:gd name="T12" fmla="*/ 122793 w 2169"/>
                <a:gd name="T13" fmla="*/ 27852 h 237"/>
                <a:gd name="T14" fmla="*/ 135396 w 2169"/>
                <a:gd name="T15" fmla="*/ 51724 h 237"/>
                <a:gd name="T16" fmla="*/ 162044 w 2169"/>
                <a:gd name="T17" fmla="*/ 85363 h 237"/>
                <a:gd name="T18" fmla="*/ 18725 w 2169"/>
                <a:gd name="T19" fmla="*/ 7596 h 237"/>
                <a:gd name="T20" fmla="*/ 11163 w 2169"/>
                <a:gd name="T21" fmla="*/ 22788 h 237"/>
                <a:gd name="T22" fmla="*/ 52214 w 2169"/>
                <a:gd name="T23" fmla="*/ 84278 h 237"/>
                <a:gd name="T24" fmla="*/ 32409 w 2169"/>
                <a:gd name="T25" fmla="*/ 63299 h 237"/>
                <a:gd name="T26" fmla="*/ 100107 w 2169"/>
                <a:gd name="T27" fmla="*/ 59320 h 237"/>
                <a:gd name="T28" fmla="*/ 73100 w 2169"/>
                <a:gd name="T29" fmla="*/ 26766 h 237"/>
                <a:gd name="T30" fmla="*/ 100827 w 2169"/>
                <a:gd name="T31" fmla="*/ 79576 h 237"/>
                <a:gd name="T32" fmla="*/ 112350 w 2169"/>
                <a:gd name="T33" fmla="*/ 74512 h 237"/>
                <a:gd name="T34" fmla="*/ 238384 w 2169"/>
                <a:gd name="T35" fmla="*/ 2894 h 237"/>
                <a:gd name="T36" fmla="*/ 200934 w 2169"/>
                <a:gd name="T37" fmla="*/ 1085 h 237"/>
                <a:gd name="T38" fmla="*/ 188691 w 2169"/>
                <a:gd name="T39" fmla="*/ 85363 h 237"/>
                <a:gd name="T40" fmla="*/ 212457 w 2169"/>
                <a:gd name="T41" fmla="*/ 83193 h 237"/>
                <a:gd name="T42" fmla="*/ 191572 w 2169"/>
                <a:gd name="T43" fmla="*/ 37256 h 237"/>
                <a:gd name="T44" fmla="*/ 297440 w 2169"/>
                <a:gd name="T45" fmla="*/ 84278 h 237"/>
                <a:gd name="T46" fmla="*/ 297440 w 2169"/>
                <a:gd name="T47" fmla="*/ 84278 h 237"/>
                <a:gd name="T48" fmla="*/ 224700 w 2169"/>
                <a:gd name="T49" fmla="*/ 26766 h 237"/>
                <a:gd name="T50" fmla="*/ 619727 w 2169"/>
                <a:gd name="T51" fmla="*/ 29660 h 237"/>
                <a:gd name="T52" fmla="*/ 643493 w 2169"/>
                <a:gd name="T53" fmla="*/ 45937 h 237"/>
                <a:gd name="T54" fmla="*/ 630890 w 2169"/>
                <a:gd name="T55" fmla="*/ 84278 h 237"/>
                <a:gd name="T56" fmla="*/ 656817 w 2169"/>
                <a:gd name="T57" fmla="*/ 82470 h 237"/>
                <a:gd name="T58" fmla="*/ 626208 w 2169"/>
                <a:gd name="T59" fmla="*/ 66193 h 237"/>
                <a:gd name="T60" fmla="*/ 633050 w 2169"/>
                <a:gd name="T61" fmla="*/ 74512 h 237"/>
                <a:gd name="T62" fmla="*/ 709391 w 2169"/>
                <a:gd name="T63" fmla="*/ 72703 h 237"/>
                <a:gd name="T64" fmla="*/ 690306 w 2169"/>
                <a:gd name="T65" fmla="*/ 63299 h 237"/>
                <a:gd name="T66" fmla="*/ 717673 w 2169"/>
                <a:gd name="T67" fmla="*/ 83193 h 237"/>
                <a:gd name="T68" fmla="*/ 729196 w 2169"/>
                <a:gd name="T69" fmla="*/ 26766 h 237"/>
                <a:gd name="T70" fmla="*/ 665459 w 2169"/>
                <a:gd name="T71" fmla="*/ 1809 h 237"/>
                <a:gd name="T72" fmla="*/ 780690 w 2169"/>
                <a:gd name="T73" fmla="*/ 1085 h 237"/>
                <a:gd name="T74" fmla="*/ 738919 w 2169"/>
                <a:gd name="T75" fmla="*/ 55341 h 237"/>
                <a:gd name="T76" fmla="*/ 780690 w 2169"/>
                <a:gd name="T77" fmla="*/ 83193 h 237"/>
                <a:gd name="T78" fmla="*/ 758724 w 2169"/>
                <a:gd name="T79" fmla="*/ 74512 h 237"/>
                <a:gd name="T80" fmla="*/ 434637 w 2169"/>
                <a:gd name="T81" fmla="*/ 81384 h 237"/>
                <a:gd name="T82" fmla="*/ 409070 w 2169"/>
                <a:gd name="T83" fmla="*/ 60405 h 237"/>
                <a:gd name="T84" fmla="*/ 397547 w 2169"/>
                <a:gd name="T85" fmla="*/ 56427 h 237"/>
                <a:gd name="T86" fmla="*/ 409070 w 2169"/>
                <a:gd name="T87" fmla="*/ 50639 h 237"/>
                <a:gd name="T88" fmla="*/ 471727 w 2169"/>
                <a:gd name="T89" fmla="*/ 0 h 237"/>
                <a:gd name="T90" fmla="*/ 375581 w 2169"/>
                <a:gd name="T91" fmla="*/ 33639 h 237"/>
                <a:gd name="T92" fmla="*/ 375581 w 2169"/>
                <a:gd name="T93" fmla="*/ 76682 h 237"/>
                <a:gd name="T94" fmla="*/ 387824 w 2169"/>
                <a:gd name="T95" fmla="*/ 73789 h 237"/>
                <a:gd name="T96" fmla="*/ 374501 w 2169"/>
                <a:gd name="T97" fmla="*/ 55341 h 237"/>
                <a:gd name="T98" fmla="*/ 582277 w 2169"/>
                <a:gd name="T99" fmla="*/ 26766 h 237"/>
                <a:gd name="T100" fmla="*/ 604242 w 2169"/>
                <a:gd name="T101" fmla="*/ 9404 h 237"/>
                <a:gd name="T102" fmla="*/ 579396 w 2169"/>
                <a:gd name="T103" fmla="*/ 47746 h 237"/>
                <a:gd name="T104" fmla="*/ 571114 w 2169"/>
                <a:gd name="T105" fmla="*/ 69086 h 237"/>
                <a:gd name="T106" fmla="*/ 607123 w 2169"/>
                <a:gd name="T107" fmla="*/ 62214 h 237"/>
                <a:gd name="T108" fmla="*/ 514578 w 2169"/>
                <a:gd name="T109" fmla="*/ 25681 h 237"/>
                <a:gd name="T110" fmla="*/ 514578 w 2169"/>
                <a:gd name="T111" fmla="*/ 35447 h 237"/>
                <a:gd name="T112" fmla="*/ 495493 w 2169"/>
                <a:gd name="T113" fmla="*/ 66916 h 237"/>
                <a:gd name="T114" fmla="*/ 536544 w 2169"/>
                <a:gd name="T115" fmla="*/ 83193 h 237"/>
                <a:gd name="T116" fmla="*/ 511698 w 2169"/>
                <a:gd name="T117" fmla="*/ 74512 h 237"/>
                <a:gd name="T118" fmla="*/ 521420 w 2169"/>
                <a:gd name="T119" fmla="*/ 59320 h 2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169" h="237">
                  <a:moveTo>
                    <a:pt x="794" y="135"/>
                  </a:moveTo>
                  <a:cubicBezTo>
                    <a:pt x="794" y="98"/>
                    <a:pt x="786" y="71"/>
                    <a:pt x="741" y="71"/>
                  </a:cubicBezTo>
                  <a:cubicBezTo>
                    <a:pt x="720" y="71"/>
                    <a:pt x="707" y="79"/>
                    <a:pt x="699" y="82"/>
                  </a:cubicBezTo>
                  <a:lnTo>
                    <a:pt x="701" y="116"/>
                  </a:lnTo>
                  <a:lnTo>
                    <a:pt x="704" y="114"/>
                  </a:lnTo>
                  <a:cubicBezTo>
                    <a:pt x="709" y="108"/>
                    <a:pt x="722" y="98"/>
                    <a:pt x="741" y="98"/>
                  </a:cubicBezTo>
                  <a:cubicBezTo>
                    <a:pt x="762" y="98"/>
                    <a:pt x="765" y="116"/>
                    <a:pt x="765" y="127"/>
                  </a:cubicBezTo>
                  <a:lnTo>
                    <a:pt x="765" y="132"/>
                  </a:lnTo>
                  <a:lnTo>
                    <a:pt x="760" y="132"/>
                  </a:lnTo>
                  <a:cubicBezTo>
                    <a:pt x="725" y="132"/>
                    <a:pt x="688" y="138"/>
                    <a:pt x="688" y="185"/>
                  </a:cubicBezTo>
                  <a:cubicBezTo>
                    <a:pt x="688" y="217"/>
                    <a:pt x="709" y="233"/>
                    <a:pt x="730" y="233"/>
                  </a:cubicBezTo>
                  <a:cubicBezTo>
                    <a:pt x="749" y="233"/>
                    <a:pt x="760" y="222"/>
                    <a:pt x="767" y="212"/>
                  </a:cubicBezTo>
                  <a:cubicBezTo>
                    <a:pt x="767" y="217"/>
                    <a:pt x="767" y="225"/>
                    <a:pt x="770" y="230"/>
                  </a:cubicBezTo>
                  <a:lnTo>
                    <a:pt x="802" y="230"/>
                  </a:lnTo>
                  <a:lnTo>
                    <a:pt x="802" y="228"/>
                  </a:lnTo>
                  <a:cubicBezTo>
                    <a:pt x="797" y="225"/>
                    <a:pt x="794" y="217"/>
                    <a:pt x="794" y="204"/>
                  </a:cubicBezTo>
                  <a:lnTo>
                    <a:pt x="794" y="135"/>
                  </a:lnTo>
                  <a:close/>
                  <a:moveTo>
                    <a:pt x="736" y="206"/>
                  </a:moveTo>
                  <a:cubicBezTo>
                    <a:pt x="725" y="206"/>
                    <a:pt x="717" y="199"/>
                    <a:pt x="717" y="183"/>
                  </a:cubicBezTo>
                  <a:cubicBezTo>
                    <a:pt x="717" y="161"/>
                    <a:pt x="730" y="153"/>
                    <a:pt x="760" y="153"/>
                  </a:cubicBezTo>
                  <a:lnTo>
                    <a:pt x="762" y="153"/>
                  </a:lnTo>
                  <a:lnTo>
                    <a:pt x="762" y="164"/>
                  </a:lnTo>
                  <a:cubicBezTo>
                    <a:pt x="762" y="193"/>
                    <a:pt x="754" y="206"/>
                    <a:pt x="736" y="206"/>
                  </a:cubicBezTo>
                  <a:close/>
                  <a:moveTo>
                    <a:pt x="376" y="95"/>
                  </a:moveTo>
                  <a:lnTo>
                    <a:pt x="376" y="85"/>
                  </a:lnTo>
                  <a:lnTo>
                    <a:pt x="376" y="74"/>
                  </a:lnTo>
                  <a:lnTo>
                    <a:pt x="341" y="74"/>
                  </a:lnTo>
                  <a:lnTo>
                    <a:pt x="341" y="77"/>
                  </a:lnTo>
                  <a:lnTo>
                    <a:pt x="341" y="103"/>
                  </a:lnTo>
                  <a:lnTo>
                    <a:pt x="341" y="236"/>
                  </a:lnTo>
                  <a:lnTo>
                    <a:pt x="376" y="236"/>
                  </a:lnTo>
                  <a:lnTo>
                    <a:pt x="376" y="143"/>
                  </a:lnTo>
                  <a:cubicBezTo>
                    <a:pt x="376" y="130"/>
                    <a:pt x="378" y="108"/>
                    <a:pt x="397" y="108"/>
                  </a:cubicBezTo>
                  <a:cubicBezTo>
                    <a:pt x="410" y="108"/>
                    <a:pt x="415" y="116"/>
                    <a:pt x="415" y="140"/>
                  </a:cubicBezTo>
                  <a:lnTo>
                    <a:pt x="415" y="236"/>
                  </a:lnTo>
                  <a:lnTo>
                    <a:pt x="450" y="236"/>
                  </a:lnTo>
                  <a:lnTo>
                    <a:pt x="450" y="135"/>
                  </a:lnTo>
                  <a:cubicBezTo>
                    <a:pt x="450" y="93"/>
                    <a:pt x="436" y="71"/>
                    <a:pt x="410" y="71"/>
                  </a:cubicBezTo>
                  <a:cubicBezTo>
                    <a:pt x="389" y="71"/>
                    <a:pt x="378" y="87"/>
                    <a:pt x="376" y="95"/>
                  </a:cubicBezTo>
                  <a:close/>
                  <a:moveTo>
                    <a:pt x="52" y="21"/>
                  </a:moveTo>
                  <a:lnTo>
                    <a:pt x="0" y="21"/>
                  </a:lnTo>
                  <a:lnTo>
                    <a:pt x="0" y="236"/>
                  </a:lnTo>
                  <a:lnTo>
                    <a:pt x="31" y="236"/>
                  </a:lnTo>
                  <a:lnTo>
                    <a:pt x="31" y="63"/>
                  </a:lnTo>
                  <a:cubicBezTo>
                    <a:pt x="34" y="79"/>
                    <a:pt x="74" y="233"/>
                    <a:pt x="74" y="233"/>
                  </a:cubicBezTo>
                  <a:lnTo>
                    <a:pt x="100" y="233"/>
                  </a:lnTo>
                  <a:cubicBezTo>
                    <a:pt x="100" y="233"/>
                    <a:pt x="140" y="77"/>
                    <a:pt x="145" y="63"/>
                  </a:cubicBezTo>
                  <a:lnTo>
                    <a:pt x="145" y="233"/>
                  </a:lnTo>
                  <a:lnTo>
                    <a:pt x="177" y="233"/>
                  </a:lnTo>
                  <a:lnTo>
                    <a:pt x="177" y="18"/>
                  </a:lnTo>
                  <a:lnTo>
                    <a:pt x="127" y="18"/>
                  </a:lnTo>
                  <a:cubicBezTo>
                    <a:pt x="127" y="18"/>
                    <a:pt x="90" y="167"/>
                    <a:pt x="90" y="175"/>
                  </a:cubicBezTo>
                  <a:cubicBezTo>
                    <a:pt x="87" y="167"/>
                    <a:pt x="52" y="21"/>
                    <a:pt x="52" y="21"/>
                  </a:cubicBezTo>
                  <a:close/>
                  <a:moveTo>
                    <a:pt x="312" y="74"/>
                  </a:moveTo>
                  <a:lnTo>
                    <a:pt x="278" y="74"/>
                  </a:lnTo>
                  <a:lnTo>
                    <a:pt x="278" y="164"/>
                  </a:lnTo>
                  <a:cubicBezTo>
                    <a:pt x="278" y="180"/>
                    <a:pt x="275" y="201"/>
                    <a:pt x="256" y="201"/>
                  </a:cubicBezTo>
                  <a:cubicBezTo>
                    <a:pt x="243" y="201"/>
                    <a:pt x="238" y="191"/>
                    <a:pt x="238" y="169"/>
                  </a:cubicBezTo>
                  <a:lnTo>
                    <a:pt x="238" y="74"/>
                  </a:lnTo>
                  <a:lnTo>
                    <a:pt x="203" y="74"/>
                  </a:lnTo>
                  <a:lnTo>
                    <a:pt x="203" y="175"/>
                  </a:lnTo>
                  <a:cubicBezTo>
                    <a:pt x="203" y="214"/>
                    <a:pt x="217" y="233"/>
                    <a:pt x="246" y="233"/>
                  </a:cubicBezTo>
                  <a:cubicBezTo>
                    <a:pt x="267" y="233"/>
                    <a:pt x="275" y="220"/>
                    <a:pt x="280" y="209"/>
                  </a:cubicBezTo>
                  <a:lnTo>
                    <a:pt x="280" y="220"/>
                  </a:lnTo>
                  <a:lnTo>
                    <a:pt x="280" y="230"/>
                  </a:lnTo>
                  <a:lnTo>
                    <a:pt x="312" y="230"/>
                  </a:lnTo>
                  <a:lnTo>
                    <a:pt x="312" y="228"/>
                  </a:lnTo>
                  <a:cubicBezTo>
                    <a:pt x="315" y="225"/>
                    <a:pt x="312" y="217"/>
                    <a:pt x="312" y="206"/>
                  </a:cubicBezTo>
                  <a:lnTo>
                    <a:pt x="312" y="74"/>
                  </a:lnTo>
                  <a:close/>
                  <a:moveTo>
                    <a:pt x="624" y="48"/>
                  </a:moveTo>
                  <a:lnTo>
                    <a:pt x="662" y="48"/>
                  </a:lnTo>
                  <a:lnTo>
                    <a:pt x="662" y="8"/>
                  </a:lnTo>
                  <a:lnTo>
                    <a:pt x="624" y="8"/>
                  </a:lnTo>
                  <a:lnTo>
                    <a:pt x="624" y="48"/>
                  </a:lnTo>
                  <a:close/>
                  <a:moveTo>
                    <a:pt x="593" y="3"/>
                  </a:moveTo>
                  <a:lnTo>
                    <a:pt x="558" y="3"/>
                  </a:lnTo>
                  <a:lnTo>
                    <a:pt x="558" y="93"/>
                  </a:lnTo>
                  <a:cubicBezTo>
                    <a:pt x="553" y="85"/>
                    <a:pt x="545" y="71"/>
                    <a:pt x="524" y="71"/>
                  </a:cubicBezTo>
                  <a:cubicBezTo>
                    <a:pt x="495" y="71"/>
                    <a:pt x="476" y="103"/>
                    <a:pt x="476" y="153"/>
                  </a:cubicBezTo>
                  <a:cubicBezTo>
                    <a:pt x="476" y="204"/>
                    <a:pt x="495" y="236"/>
                    <a:pt x="524" y="236"/>
                  </a:cubicBezTo>
                  <a:cubicBezTo>
                    <a:pt x="540" y="236"/>
                    <a:pt x="553" y="228"/>
                    <a:pt x="558" y="212"/>
                  </a:cubicBezTo>
                  <a:lnTo>
                    <a:pt x="558" y="233"/>
                  </a:lnTo>
                  <a:lnTo>
                    <a:pt x="590" y="233"/>
                  </a:lnTo>
                  <a:lnTo>
                    <a:pt x="590" y="230"/>
                  </a:lnTo>
                  <a:cubicBezTo>
                    <a:pt x="593" y="228"/>
                    <a:pt x="593" y="217"/>
                    <a:pt x="593" y="204"/>
                  </a:cubicBezTo>
                  <a:lnTo>
                    <a:pt x="593" y="3"/>
                  </a:lnTo>
                  <a:close/>
                  <a:moveTo>
                    <a:pt x="508" y="153"/>
                  </a:moveTo>
                  <a:cubicBezTo>
                    <a:pt x="508" y="119"/>
                    <a:pt x="516" y="103"/>
                    <a:pt x="532" y="103"/>
                  </a:cubicBezTo>
                  <a:cubicBezTo>
                    <a:pt x="553" y="103"/>
                    <a:pt x="556" y="135"/>
                    <a:pt x="556" y="153"/>
                  </a:cubicBezTo>
                  <a:cubicBezTo>
                    <a:pt x="558" y="177"/>
                    <a:pt x="553" y="206"/>
                    <a:pt x="532" y="206"/>
                  </a:cubicBezTo>
                  <a:cubicBezTo>
                    <a:pt x="516" y="206"/>
                    <a:pt x="508" y="193"/>
                    <a:pt x="508" y="153"/>
                  </a:cubicBezTo>
                  <a:close/>
                  <a:moveTo>
                    <a:pt x="826" y="233"/>
                  </a:moveTo>
                  <a:lnTo>
                    <a:pt x="860" y="233"/>
                  </a:lnTo>
                  <a:lnTo>
                    <a:pt x="860" y="5"/>
                  </a:lnTo>
                  <a:lnTo>
                    <a:pt x="826" y="5"/>
                  </a:lnTo>
                  <a:lnTo>
                    <a:pt x="826" y="233"/>
                  </a:lnTo>
                  <a:close/>
                  <a:moveTo>
                    <a:pt x="624" y="233"/>
                  </a:moveTo>
                  <a:lnTo>
                    <a:pt x="659" y="233"/>
                  </a:lnTo>
                  <a:lnTo>
                    <a:pt x="659" y="74"/>
                  </a:lnTo>
                  <a:lnTo>
                    <a:pt x="624" y="74"/>
                  </a:lnTo>
                  <a:lnTo>
                    <a:pt x="624" y="233"/>
                  </a:lnTo>
                  <a:close/>
                  <a:moveTo>
                    <a:pt x="1816" y="135"/>
                  </a:moveTo>
                  <a:cubicBezTo>
                    <a:pt x="1816" y="98"/>
                    <a:pt x="1808" y="71"/>
                    <a:pt x="1763" y="71"/>
                  </a:cubicBezTo>
                  <a:cubicBezTo>
                    <a:pt x="1742" y="71"/>
                    <a:pt x="1729" y="79"/>
                    <a:pt x="1721" y="82"/>
                  </a:cubicBezTo>
                  <a:lnTo>
                    <a:pt x="1723" y="116"/>
                  </a:lnTo>
                  <a:lnTo>
                    <a:pt x="1726" y="114"/>
                  </a:lnTo>
                  <a:cubicBezTo>
                    <a:pt x="1731" y="108"/>
                    <a:pt x="1745" y="98"/>
                    <a:pt x="1763" y="98"/>
                  </a:cubicBezTo>
                  <a:cubicBezTo>
                    <a:pt x="1784" y="98"/>
                    <a:pt x="1787" y="116"/>
                    <a:pt x="1787" y="127"/>
                  </a:cubicBezTo>
                  <a:lnTo>
                    <a:pt x="1787" y="132"/>
                  </a:lnTo>
                  <a:lnTo>
                    <a:pt x="1782" y="132"/>
                  </a:lnTo>
                  <a:cubicBezTo>
                    <a:pt x="1747" y="132"/>
                    <a:pt x="1710" y="138"/>
                    <a:pt x="1710" y="185"/>
                  </a:cubicBezTo>
                  <a:cubicBezTo>
                    <a:pt x="1710" y="217"/>
                    <a:pt x="1731" y="233"/>
                    <a:pt x="1752" y="233"/>
                  </a:cubicBezTo>
                  <a:cubicBezTo>
                    <a:pt x="1771" y="233"/>
                    <a:pt x="1782" y="222"/>
                    <a:pt x="1790" y="212"/>
                  </a:cubicBezTo>
                  <a:cubicBezTo>
                    <a:pt x="1790" y="217"/>
                    <a:pt x="1790" y="225"/>
                    <a:pt x="1792" y="230"/>
                  </a:cubicBezTo>
                  <a:lnTo>
                    <a:pt x="1824" y="230"/>
                  </a:lnTo>
                  <a:lnTo>
                    <a:pt x="1824" y="228"/>
                  </a:lnTo>
                  <a:cubicBezTo>
                    <a:pt x="1816" y="225"/>
                    <a:pt x="1816" y="214"/>
                    <a:pt x="1816" y="204"/>
                  </a:cubicBezTo>
                  <a:lnTo>
                    <a:pt x="1816" y="135"/>
                  </a:lnTo>
                  <a:close/>
                  <a:moveTo>
                    <a:pt x="1758" y="206"/>
                  </a:moveTo>
                  <a:cubicBezTo>
                    <a:pt x="1747" y="206"/>
                    <a:pt x="1739" y="199"/>
                    <a:pt x="1739" y="183"/>
                  </a:cubicBezTo>
                  <a:cubicBezTo>
                    <a:pt x="1739" y="161"/>
                    <a:pt x="1752" y="153"/>
                    <a:pt x="1782" y="153"/>
                  </a:cubicBezTo>
                  <a:lnTo>
                    <a:pt x="1784" y="153"/>
                  </a:lnTo>
                  <a:lnTo>
                    <a:pt x="1784" y="164"/>
                  </a:lnTo>
                  <a:cubicBezTo>
                    <a:pt x="1784" y="193"/>
                    <a:pt x="1776" y="206"/>
                    <a:pt x="1758" y="206"/>
                  </a:cubicBezTo>
                  <a:close/>
                  <a:moveTo>
                    <a:pt x="2025" y="74"/>
                  </a:moveTo>
                  <a:lnTo>
                    <a:pt x="1991" y="74"/>
                  </a:lnTo>
                  <a:lnTo>
                    <a:pt x="1991" y="164"/>
                  </a:lnTo>
                  <a:cubicBezTo>
                    <a:pt x="1991" y="180"/>
                    <a:pt x="1988" y="201"/>
                    <a:pt x="1970" y="201"/>
                  </a:cubicBezTo>
                  <a:cubicBezTo>
                    <a:pt x="1956" y="201"/>
                    <a:pt x="1951" y="191"/>
                    <a:pt x="1951" y="169"/>
                  </a:cubicBezTo>
                  <a:lnTo>
                    <a:pt x="1951" y="74"/>
                  </a:lnTo>
                  <a:lnTo>
                    <a:pt x="1917" y="74"/>
                  </a:lnTo>
                  <a:lnTo>
                    <a:pt x="1917" y="175"/>
                  </a:lnTo>
                  <a:cubicBezTo>
                    <a:pt x="1917" y="214"/>
                    <a:pt x="1930" y="233"/>
                    <a:pt x="1959" y="233"/>
                  </a:cubicBezTo>
                  <a:cubicBezTo>
                    <a:pt x="1980" y="233"/>
                    <a:pt x="1988" y="220"/>
                    <a:pt x="1993" y="209"/>
                  </a:cubicBezTo>
                  <a:lnTo>
                    <a:pt x="1993" y="220"/>
                  </a:lnTo>
                  <a:lnTo>
                    <a:pt x="1993" y="230"/>
                  </a:lnTo>
                  <a:lnTo>
                    <a:pt x="2025" y="230"/>
                  </a:lnTo>
                  <a:lnTo>
                    <a:pt x="2025" y="228"/>
                  </a:lnTo>
                  <a:lnTo>
                    <a:pt x="2025" y="206"/>
                  </a:lnTo>
                  <a:lnTo>
                    <a:pt x="2025" y="74"/>
                  </a:lnTo>
                  <a:close/>
                  <a:moveTo>
                    <a:pt x="1848" y="233"/>
                  </a:moveTo>
                  <a:lnTo>
                    <a:pt x="1882" y="233"/>
                  </a:lnTo>
                  <a:lnTo>
                    <a:pt x="1882" y="5"/>
                  </a:lnTo>
                  <a:lnTo>
                    <a:pt x="1848" y="5"/>
                  </a:lnTo>
                  <a:lnTo>
                    <a:pt x="1848" y="233"/>
                  </a:lnTo>
                  <a:close/>
                  <a:moveTo>
                    <a:pt x="2168" y="230"/>
                  </a:moveTo>
                  <a:lnTo>
                    <a:pt x="2168" y="204"/>
                  </a:lnTo>
                  <a:lnTo>
                    <a:pt x="2168" y="3"/>
                  </a:lnTo>
                  <a:lnTo>
                    <a:pt x="2134" y="3"/>
                  </a:lnTo>
                  <a:lnTo>
                    <a:pt x="2134" y="93"/>
                  </a:lnTo>
                  <a:cubicBezTo>
                    <a:pt x="2128" y="85"/>
                    <a:pt x="2121" y="71"/>
                    <a:pt x="2099" y="71"/>
                  </a:cubicBezTo>
                  <a:cubicBezTo>
                    <a:pt x="2070" y="71"/>
                    <a:pt x="2052" y="103"/>
                    <a:pt x="2052" y="153"/>
                  </a:cubicBezTo>
                  <a:cubicBezTo>
                    <a:pt x="2052" y="204"/>
                    <a:pt x="2070" y="236"/>
                    <a:pt x="2099" y="236"/>
                  </a:cubicBezTo>
                  <a:cubicBezTo>
                    <a:pt x="2115" y="236"/>
                    <a:pt x="2128" y="228"/>
                    <a:pt x="2134" y="212"/>
                  </a:cubicBezTo>
                  <a:lnTo>
                    <a:pt x="2134" y="233"/>
                  </a:lnTo>
                  <a:lnTo>
                    <a:pt x="2168" y="230"/>
                  </a:lnTo>
                  <a:close/>
                  <a:moveTo>
                    <a:pt x="2083" y="153"/>
                  </a:moveTo>
                  <a:cubicBezTo>
                    <a:pt x="2083" y="119"/>
                    <a:pt x="2091" y="103"/>
                    <a:pt x="2107" y="103"/>
                  </a:cubicBezTo>
                  <a:cubicBezTo>
                    <a:pt x="2128" y="103"/>
                    <a:pt x="2131" y="135"/>
                    <a:pt x="2131" y="153"/>
                  </a:cubicBezTo>
                  <a:cubicBezTo>
                    <a:pt x="2131" y="177"/>
                    <a:pt x="2126" y="206"/>
                    <a:pt x="2107" y="206"/>
                  </a:cubicBezTo>
                  <a:cubicBezTo>
                    <a:pt x="2091" y="206"/>
                    <a:pt x="2083" y="193"/>
                    <a:pt x="2083" y="153"/>
                  </a:cubicBezTo>
                  <a:close/>
                  <a:moveTo>
                    <a:pt x="1104" y="156"/>
                  </a:moveTo>
                  <a:cubicBezTo>
                    <a:pt x="1104" y="193"/>
                    <a:pt x="1120" y="236"/>
                    <a:pt x="1167" y="236"/>
                  </a:cubicBezTo>
                  <a:cubicBezTo>
                    <a:pt x="1188" y="236"/>
                    <a:pt x="1202" y="228"/>
                    <a:pt x="1207" y="225"/>
                  </a:cubicBezTo>
                  <a:lnTo>
                    <a:pt x="1204" y="193"/>
                  </a:lnTo>
                  <a:lnTo>
                    <a:pt x="1202" y="196"/>
                  </a:lnTo>
                  <a:cubicBezTo>
                    <a:pt x="1194" y="201"/>
                    <a:pt x="1186" y="206"/>
                    <a:pt x="1167" y="206"/>
                  </a:cubicBezTo>
                  <a:cubicBezTo>
                    <a:pt x="1146" y="206"/>
                    <a:pt x="1136" y="193"/>
                    <a:pt x="1136" y="167"/>
                  </a:cubicBezTo>
                  <a:lnTo>
                    <a:pt x="1212" y="167"/>
                  </a:lnTo>
                  <a:lnTo>
                    <a:pt x="1212" y="159"/>
                  </a:lnTo>
                  <a:cubicBezTo>
                    <a:pt x="1215" y="87"/>
                    <a:pt x="1183" y="71"/>
                    <a:pt x="1159" y="71"/>
                  </a:cubicBezTo>
                  <a:cubicBezTo>
                    <a:pt x="1125" y="71"/>
                    <a:pt x="1104" y="106"/>
                    <a:pt x="1104" y="156"/>
                  </a:cubicBezTo>
                  <a:close/>
                  <a:moveTo>
                    <a:pt x="1136" y="140"/>
                  </a:moveTo>
                  <a:cubicBezTo>
                    <a:pt x="1136" y="122"/>
                    <a:pt x="1141" y="101"/>
                    <a:pt x="1159" y="101"/>
                  </a:cubicBezTo>
                  <a:cubicBezTo>
                    <a:pt x="1175" y="101"/>
                    <a:pt x="1181" y="122"/>
                    <a:pt x="1181" y="140"/>
                  </a:cubicBezTo>
                  <a:lnTo>
                    <a:pt x="1136" y="140"/>
                  </a:lnTo>
                  <a:close/>
                  <a:moveTo>
                    <a:pt x="1310" y="233"/>
                  </a:moveTo>
                  <a:lnTo>
                    <a:pt x="1345" y="233"/>
                  </a:lnTo>
                  <a:lnTo>
                    <a:pt x="1345" y="0"/>
                  </a:lnTo>
                  <a:lnTo>
                    <a:pt x="1310" y="0"/>
                  </a:lnTo>
                  <a:lnTo>
                    <a:pt x="1310" y="233"/>
                  </a:lnTo>
                  <a:close/>
                  <a:moveTo>
                    <a:pt x="1077" y="3"/>
                  </a:moveTo>
                  <a:lnTo>
                    <a:pt x="1043" y="3"/>
                  </a:lnTo>
                  <a:lnTo>
                    <a:pt x="1043" y="93"/>
                  </a:lnTo>
                  <a:cubicBezTo>
                    <a:pt x="1038" y="85"/>
                    <a:pt x="1030" y="71"/>
                    <a:pt x="1008" y="71"/>
                  </a:cubicBezTo>
                  <a:cubicBezTo>
                    <a:pt x="979" y="71"/>
                    <a:pt x="961" y="103"/>
                    <a:pt x="961" y="153"/>
                  </a:cubicBezTo>
                  <a:cubicBezTo>
                    <a:pt x="961" y="204"/>
                    <a:pt x="979" y="236"/>
                    <a:pt x="1008" y="236"/>
                  </a:cubicBezTo>
                  <a:cubicBezTo>
                    <a:pt x="1024" y="236"/>
                    <a:pt x="1038" y="228"/>
                    <a:pt x="1043" y="212"/>
                  </a:cubicBezTo>
                  <a:lnTo>
                    <a:pt x="1043" y="233"/>
                  </a:lnTo>
                  <a:lnTo>
                    <a:pt x="1075" y="233"/>
                  </a:lnTo>
                  <a:lnTo>
                    <a:pt x="1075" y="230"/>
                  </a:lnTo>
                  <a:cubicBezTo>
                    <a:pt x="1077" y="228"/>
                    <a:pt x="1077" y="217"/>
                    <a:pt x="1077" y="204"/>
                  </a:cubicBezTo>
                  <a:lnTo>
                    <a:pt x="1077" y="3"/>
                  </a:lnTo>
                  <a:close/>
                  <a:moveTo>
                    <a:pt x="993" y="153"/>
                  </a:moveTo>
                  <a:cubicBezTo>
                    <a:pt x="993" y="119"/>
                    <a:pt x="1000" y="103"/>
                    <a:pt x="1016" y="103"/>
                  </a:cubicBezTo>
                  <a:cubicBezTo>
                    <a:pt x="1038" y="103"/>
                    <a:pt x="1040" y="135"/>
                    <a:pt x="1040" y="153"/>
                  </a:cubicBezTo>
                  <a:cubicBezTo>
                    <a:pt x="1043" y="177"/>
                    <a:pt x="1038" y="206"/>
                    <a:pt x="1016" y="206"/>
                  </a:cubicBezTo>
                  <a:cubicBezTo>
                    <a:pt x="1000" y="206"/>
                    <a:pt x="993" y="193"/>
                    <a:pt x="993" y="153"/>
                  </a:cubicBezTo>
                  <a:close/>
                  <a:moveTo>
                    <a:pt x="1636" y="101"/>
                  </a:moveTo>
                  <a:cubicBezTo>
                    <a:pt x="1625" y="95"/>
                    <a:pt x="1617" y="87"/>
                    <a:pt x="1617" y="74"/>
                  </a:cubicBezTo>
                  <a:cubicBezTo>
                    <a:pt x="1617" y="58"/>
                    <a:pt x="1625" y="50"/>
                    <a:pt x="1641" y="50"/>
                  </a:cubicBezTo>
                  <a:cubicBezTo>
                    <a:pt x="1655" y="50"/>
                    <a:pt x="1665" y="56"/>
                    <a:pt x="1673" y="58"/>
                  </a:cubicBezTo>
                  <a:lnTo>
                    <a:pt x="1676" y="61"/>
                  </a:lnTo>
                  <a:lnTo>
                    <a:pt x="1678" y="26"/>
                  </a:lnTo>
                  <a:lnTo>
                    <a:pt x="1676" y="26"/>
                  </a:lnTo>
                  <a:cubicBezTo>
                    <a:pt x="1670" y="24"/>
                    <a:pt x="1657" y="18"/>
                    <a:pt x="1639" y="18"/>
                  </a:cubicBezTo>
                  <a:cubicBezTo>
                    <a:pt x="1609" y="18"/>
                    <a:pt x="1580" y="37"/>
                    <a:pt x="1580" y="77"/>
                  </a:cubicBezTo>
                  <a:cubicBezTo>
                    <a:pt x="1580" y="103"/>
                    <a:pt x="1591" y="119"/>
                    <a:pt x="1609" y="132"/>
                  </a:cubicBezTo>
                  <a:lnTo>
                    <a:pt x="1625" y="143"/>
                  </a:lnTo>
                  <a:cubicBezTo>
                    <a:pt x="1641" y="153"/>
                    <a:pt x="1649" y="159"/>
                    <a:pt x="1649" y="175"/>
                  </a:cubicBezTo>
                  <a:cubicBezTo>
                    <a:pt x="1649" y="196"/>
                    <a:pt x="1636" y="204"/>
                    <a:pt x="1623" y="204"/>
                  </a:cubicBezTo>
                  <a:cubicBezTo>
                    <a:pt x="1604" y="204"/>
                    <a:pt x="1588" y="193"/>
                    <a:pt x="1586" y="191"/>
                  </a:cubicBezTo>
                  <a:lnTo>
                    <a:pt x="1583" y="188"/>
                  </a:lnTo>
                  <a:lnTo>
                    <a:pt x="1580" y="225"/>
                  </a:lnTo>
                  <a:cubicBezTo>
                    <a:pt x="1588" y="230"/>
                    <a:pt x="1604" y="236"/>
                    <a:pt x="1623" y="236"/>
                  </a:cubicBezTo>
                  <a:cubicBezTo>
                    <a:pt x="1662" y="236"/>
                    <a:pt x="1686" y="212"/>
                    <a:pt x="1686" y="172"/>
                  </a:cubicBezTo>
                  <a:cubicBezTo>
                    <a:pt x="1686" y="140"/>
                    <a:pt x="1676" y="127"/>
                    <a:pt x="1655" y="114"/>
                  </a:cubicBezTo>
                  <a:lnTo>
                    <a:pt x="1636" y="101"/>
                  </a:lnTo>
                  <a:close/>
                  <a:moveTo>
                    <a:pt x="1482" y="135"/>
                  </a:moveTo>
                  <a:cubicBezTo>
                    <a:pt x="1482" y="98"/>
                    <a:pt x="1474" y="71"/>
                    <a:pt x="1429" y="71"/>
                  </a:cubicBezTo>
                  <a:cubicBezTo>
                    <a:pt x="1408" y="71"/>
                    <a:pt x="1395" y="79"/>
                    <a:pt x="1387" y="82"/>
                  </a:cubicBezTo>
                  <a:lnTo>
                    <a:pt x="1390" y="116"/>
                  </a:lnTo>
                  <a:lnTo>
                    <a:pt x="1392" y="114"/>
                  </a:lnTo>
                  <a:cubicBezTo>
                    <a:pt x="1398" y="108"/>
                    <a:pt x="1411" y="98"/>
                    <a:pt x="1429" y="98"/>
                  </a:cubicBezTo>
                  <a:cubicBezTo>
                    <a:pt x="1451" y="98"/>
                    <a:pt x="1453" y="116"/>
                    <a:pt x="1453" y="127"/>
                  </a:cubicBezTo>
                  <a:lnTo>
                    <a:pt x="1453" y="132"/>
                  </a:lnTo>
                  <a:lnTo>
                    <a:pt x="1448" y="132"/>
                  </a:lnTo>
                  <a:cubicBezTo>
                    <a:pt x="1414" y="132"/>
                    <a:pt x="1376" y="138"/>
                    <a:pt x="1376" y="185"/>
                  </a:cubicBezTo>
                  <a:cubicBezTo>
                    <a:pt x="1376" y="217"/>
                    <a:pt x="1398" y="233"/>
                    <a:pt x="1419" y="233"/>
                  </a:cubicBezTo>
                  <a:cubicBezTo>
                    <a:pt x="1437" y="233"/>
                    <a:pt x="1448" y="222"/>
                    <a:pt x="1456" y="212"/>
                  </a:cubicBezTo>
                  <a:cubicBezTo>
                    <a:pt x="1456" y="217"/>
                    <a:pt x="1456" y="225"/>
                    <a:pt x="1459" y="230"/>
                  </a:cubicBezTo>
                  <a:lnTo>
                    <a:pt x="1490" y="230"/>
                  </a:lnTo>
                  <a:lnTo>
                    <a:pt x="1490" y="228"/>
                  </a:lnTo>
                  <a:cubicBezTo>
                    <a:pt x="1482" y="225"/>
                    <a:pt x="1482" y="217"/>
                    <a:pt x="1482" y="204"/>
                  </a:cubicBezTo>
                  <a:lnTo>
                    <a:pt x="1482" y="135"/>
                  </a:lnTo>
                  <a:close/>
                  <a:moveTo>
                    <a:pt x="1421" y="206"/>
                  </a:moveTo>
                  <a:cubicBezTo>
                    <a:pt x="1411" y="206"/>
                    <a:pt x="1403" y="199"/>
                    <a:pt x="1403" y="183"/>
                  </a:cubicBezTo>
                  <a:cubicBezTo>
                    <a:pt x="1403" y="161"/>
                    <a:pt x="1416" y="153"/>
                    <a:pt x="1445" y="153"/>
                  </a:cubicBezTo>
                  <a:lnTo>
                    <a:pt x="1448" y="153"/>
                  </a:lnTo>
                  <a:lnTo>
                    <a:pt x="1448" y="164"/>
                  </a:lnTo>
                  <a:cubicBezTo>
                    <a:pt x="1448" y="193"/>
                    <a:pt x="1440" y="206"/>
                    <a:pt x="1421" y="20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1" name="Freeform 222">
              <a:extLst>
                <a:ext uri="{FF2B5EF4-FFF2-40B4-BE49-F238E27FC236}">
                  <a16:creationId xmlns:a16="http://schemas.microsoft.com/office/drawing/2014/main" id="{FAEE200F-BC1E-7A4E-AF95-E20296DB51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938" y="4752975"/>
              <a:ext cx="19050" cy="33338"/>
            </a:xfrm>
            <a:custGeom>
              <a:avLst/>
              <a:gdLst>
                <a:gd name="T0" fmla="*/ 18697 w 54"/>
                <a:gd name="T1" fmla="*/ 16486 h 91"/>
                <a:gd name="T2" fmla="*/ 9172 w 54"/>
                <a:gd name="T3" fmla="*/ 32972 h 91"/>
                <a:gd name="T4" fmla="*/ 0 w 54"/>
                <a:gd name="T5" fmla="*/ 16486 h 91"/>
                <a:gd name="T6" fmla="*/ 9172 w 54"/>
                <a:gd name="T7" fmla="*/ 0 h 91"/>
                <a:gd name="T8" fmla="*/ 18697 w 54"/>
                <a:gd name="T9" fmla="*/ 16486 h 91"/>
                <a:gd name="T10" fmla="*/ 14111 w 54"/>
                <a:gd name="T11" fmla="*/ 15753 h 91"/>
                <a:gd name="T12" fmla="*/ 9172 w 54"/>
                <a:gd name="T13" fmla="*/ 4030 h 91"/>
                <a:gd name="T14" fmla="*/ 4586 w 54"/>
                <a:gd name="T15" fmla="*/ 15753 h 91"/>
                <a:gd name="T16" fmla="*/ 9172 w 54"/>
                <a:gd name="T17" fmla="*/ 27110 h 91"/>
                <a:gd name="T18" fmla="*/ 14111 w 54"/>
                <a:gd name="T19" fmla="*/ 15753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4" h="91">
                  <a:moveTo>
                    <a:pt x="53" y="45"/>
                  </a:moveTo>
                  <a:cubicBezTo>
                    <a:pt x="53" y="77"/>
                    <a:pt x="40" y="90"/>
                    <a:pt x="26" y="90"/>
                  </a:cubicBezTo>
                  <a:cubicBezTo>
                    <a:pt x="13" y="90"/>
                    <a:pt x="0" y="77"/>
                    <a:pt x="0" y="45"/>
                  </a:cubicBezTo>
                  <a:cubicBezTo>
                    <a:pt x="0" y="13"/>
                    <a:pt x="13" y="0"/>
                    <a:pt x="26" y="0"/>
                  </a:cubicBezTo>
                  <a:cubicBezTo>
                    <a:pt x="40" y="0"/>
                    <a:pt x="53" y="13"/>
                    <a:pt x="53" y="45"/>
                  </a:cubicBezTo>
                  <a:close/>
                  <a:moveTo>
                    <a:pt x="40" y="43"/>
                  </a:moveTo>
                  <a:cubicBezTo>
                    <a:pt x="40" y="20"/>
                    <a:pt x="34" y="11"/>
                    <a:pt x="26" y="11"/>
                  </a:cubicBezTo>
                  <a:cubicBezTo>
                    <a:pt x="19" y="11"/>
                    <a:pt x="13" y="20"/>
                    <a:pt x="13" y="43"/>
                  </a:cubicBezTo>
                  <a:cubicBezTo>
                    <a:pt x="13" y="67"/>
                    <a:pt x="19" y="74"/>
                    <a:pt x="26" y="74"/>
                  </a:cubicBezTo>
                  <a:cubicBezTo>
                    <a:pt x="34" y="74"/>
                    <a:pt x="40" y="67"/>
                    <a:pt x="40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" name="Freeform 223">
              <a:extLst>
                <a:ext uri="{FF2B5EF4-FFF2-40B4-BE49-F238E27FC236}">
                  <a16:creationId xmlns:a16="http://schemas.microsoft.com/office/drawing/2014/main" id="{2B0BF525-FD61-6D42-B200-9BB246290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2750" y="475297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12337 w 35"/>
                <a:gd name="T3" fmla="*/ 0 h 86"/>
                <a:gd name="T4" fmla="*/ 12337 w 35"/>
                <a:gd name="T5" fmla="*/ 4799 h 86"/>
                <a:gd name="T6" fmla="*/ 4717 w 35"/>
                <a:gd name="T7" fmla="*/ 4799 h 86"/>
                <a:gd name="T8" fmla="*/ 4717 w 35"/>
                <a:gd name="T9" fmla="*/ 13660 h 86"/>
                <a:gd name="T10" fmla="*/ 12337 w 35"/>
                <a:gd name="T11" fmla="*/ 13660 h 86"/>
                <a:gd name="T12" fmla="*/ 12337 w 35"/>
                <a:gd name="T13" fmla="*/ 17721 h 86"/>
                <a:gd name="T14" fmla="*/ 4717 w 35"/>
                <a:gd name="T15" fmla="*/ 17721 h 86"/>
                <a:gd name="T16" fmla="*/ 4717 w 35"/>
                <a:gd name="T17" fmla="*/ 31381 h 86"/>
                <a:gd name="T18" fmla="*/ 0 w 35"/>
                <a:gd name="T19" fmla="*/ 31381 h 86"/>
                <a:gd name="T20" fmla="*/ 0 w 35"/>
                <a:gd name="T21" fmla="*/ 0 h 8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34" y="0"/>
                  </a:lnTo>
                  <a:lnTo>
                    <a:pt x="34" y="13"/>
                  </a:lnTo>
                  <a:lnTo>
                    <a:pt x="13" y="13"/>
                  </a:lnTo>
                  <a:lnTo>
                    <a:pt x="13" y="37"/>
                  </a:lnTo>
                  <a:lnTo>
                    <a:pt x="34" y="37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" name="Freeform 224">
              <a:extLst>
                <a:ext uri="{FF2B5EF4-FFF2-40B4-BE49-F238E27FC236}">
                  <a16:creationId xmlns:a16="http://schemas.microsoft.com/office/drawing/2014/main" id="{FB7E5D64-E8ED-5742-9814-693DA2BFD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7038" y="4752975"/>
              <a:ext cx="4762" cy="31750"/>
            </a:xfrm>
            <a:custGeom>
              <a:avLst/>
              <a:gdLst>
                <a:gd name="T0" fmla="*/ 2381 w 14"/>
                <a:gd name="T1" fmla="*/ 31381 h 86"/>
                <a:gd name="T2" fmla="*/ 0 w 14"/>
                <a:gd name="T3" fmla="*/ 31381 h 86"/>
                <a:gd name="T4" fmla="*/ 0 w 14"/>
                <a:gd name="T5" fmla="*/ 0 h 86"/>
                <a:gd name="T6" fmla="*/ 4422 w 14"/>
                <a:gd name="T7" fmla="*/ 0 h 86"/>
                <a:gd name="T8" fmla="*/ 4422 w 14"/>
                <a:gd name="T9" fmla="*/ 31381 h 86"/>
                <a:gd name="T10" fmla="*/ 2381 w 14"/>
                <a:gd name="T11" fmla="*/ 3138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86">
                  <a:moveTo>
                    <a:pt x="7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7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" name="Freeform 225">
              <a:extLst>
                <a:ext uri="{FF2B5EF4-FFF2-40B4-BE49-F238E27FC236}">
                  <a16:creationId xmlns:a16="http://schemas.microsoft.com/office/drawing/2014/main" id="{E23B20C6-D76C-C84E-8B6E-E46663FF2D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4975" y="4751388"/>
              <a:ext cx="17463" cy="33337"/>
            </a:xfrm>
            <a:custGeom>
              <a:avLst/>
              <a:gdLst>
                <a:gd name="T0" fmla="*/ 17107 w 49"/>
                <a:gd name="T1" fmla="*/ 31872 h 91"/>
                <a:gd name="T2" fmla="*/ 11404 w 49"/>
                <a:gd name="T3" fmla="*/ 32971 h 91"/>
                <a:gd name="T4" fmla="*/ 0 w 49"/>
                <a:gd name="T5" fmla="*/ 16485 h 91"/>
                <a:gd name="T6" fmla="*/ 11404 w 49"/>
                <a:gd name="T7" fmla="*/ 0 h 91"/>
                <a:gd name="T8" fmla="*/ 17107 w 49"/>
                <a:gd name="T9" fmla="*/ 733 h 91"/>
                <a:gd name="T10" fmla="*/ 17107 w 49"/>
                <a:gd name="T11" fmla="*/ 5495 h 91"/>
                <a:gd name="T12" fmla="*/ 12474 w 49"/>
                <a:gd name="T13" fmla="*/ 3663 h 91"/>
                <a:gd name="T14" fmla="*/ 5702 w 49"/>
                <a:gd name="T15" fmla="*/ 15386 h 91"/>
                <a:gd name="T16" fmla="*/ 12474 w 49"/>
                <a:gd name="T17" fmla="*/ 27109 h 91"/>
                <a:gd name="T18" fmla="*/ 17107 w 49"/>
                <a:gd name="T19" fmla="*/ 24911 h 91"/>
                <a:gd name="T20" fmla="*/ 17107 w 49"/>
                <a:gd name="T21" fmla="*/ 31872 h 9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9" h="91">
                  <a:moveTo>
                    <a:pt x="48" y="87"/>
                  </a:moveTo>
                  <a:cubicBezTo>
                    <a:pt x="45" y="90"/>
                    <a:pt x="40" y="90"/>
                    <a:pt x="32" y="90"/>
                  </a:cubicBezTo>
                  <a:cubicBezTo>
                    <a:pt x="11" y="90"/>
                    <a:pt x="0" y="71"/>
                    <a:pt x="0" y="45"/>
                  </a:cubicBezTo>
                  <a:cubicBezTo>
                    <a:pt x="0" y="21"/>
                    <a:pt x="11" y="0"/>
                    <a:pt x="32" y="0"/>
                  </a:cubicBezTo>
                  <a:cubicBezTo>
                    <a:pt x="40" y="0"/>
                    <a:pt x="45" y="2"/>
                    <a:pt x="48" y="2"/>
                  </a:cubicBezTo>
                  <a:lnTo>
                    <a:pt x="48" y="15"/>
                  </a:lnTo>
                  <a:cubicBezTo>
                    <a:pt x="45" y="13"/>
                    <a:pt x="42" y="10"/>
                    <a:pt x="35" y="10"/>
                  </a:cubicBezTo>
                  <a:cubicBezTo>
                    <a:pt x="24" y="10"/>
                    <a:pt x="16" y="18"/>
                    <a:pt x="16" y="42"/>
                  </a:cubicBezTo>
                  <a:cubicBezTo>
                    <a:pt x="16" y="63"/>
                    <a:pt x="24" y="74"/>
                    <a:pt x="35" y="74"/>
                  </a:cubicBezTo>
                  <a:cubicBezTo>
                    <a:pt x="40" y="74"/>
                    <a:pt x="45" y="71"/>
                    <a:pt x="48" y="68"/>
                  </a:cubicBezTo>
                  <a:lnTo>
                    <a:pt x="48" y="8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" name="Freeform 226">
              <a:extLst>
                <a:ext uri="{FF2B5EF4-FFF2-40B4-BE49-F238E27FC236}">
                  <a16:creationId xmlns:a16="http://schemas.microsoft.com/office/drawing/2014/main" id="{F8F228A3-2152-A94F-86BC-22B51A5E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5613" y="4752975"/>
              <a:ext cx="4762" cy="31750"/>
            </a:xfrm>
            <a:custGeom>
              <a:avLst/>
              <a:gdLst>
                <a:gd name="T0" fmla="*/ 2222 w 15"/>
                <a:gd name="T1" fmla="*/ 31381 h 86"/>
                <a:gd name="T2" fmla="*/ 0 w 15"/>
                <a:gd name="T3" fmla="*/ 31381 h 86"/>
                <a:gd name="T4" fmla="*/ 0 w 15"/>
                <a:gd name="T5" fmla="*/ 0 h 86"/>
                <a:gd name="T6" fmla="*/ 4445 w 15"/>
                <a:gd name="T7" fmla="*/ 0 h 86"/>
                <a:gd name="T8" fmla="*/ 4445 w 15"/>
                <a:gd name="T9" fmla="*/ 31381 h 86"/>
                <a:gd name="T10" fmla="*/ 2222 w 15"/>
                <a:gd name="T11" fmla="*/ 3138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86">
                  <a:moveTo>
                    <a:pt x="7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85"/>
                  </a:lnTo>
                  <a:lnTo>
                    <a:pt x="7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" name="Freeform 227">
              <a:extLst>
                <a:ext uri="{FF2B5EF4-FFF2-40B4-BE49-F238E27FC236}">
                  <a16:creationId xmlns:a16="http://schemas.microsoft.com/office/drawing/2014/main" id="{3260C9BA-C8CD-4D40-8F44-E81B9EBB9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138" y="4752975"/>
              <a:ext cx="17462" cy="31750"/>
            </a:xfrm>
            <a:custGeom>
              <a:avLst/>
              <a:gdLst>
                <a:gd name="T0" fmla="*/ 0 w 49"/>
                <a:gd name="T1" fmla="*/ 0 h 86"/>
                <a:gd name="T2" fmla="*/ 4633 w 49"/>
                <a:gd name="T3" fmla="*/ 0 h 86"/>
                <a:gd name="T4" fmla="*/ 13186 w 49"/>
                <a:gd name="T5" fmla="*/ 24366 h 86"/>
                <a:gd name="T6" fmla="*/ 13186 w 49"/>
                <a:gd name="T7" fmla="*/ 24366 h 86"/>
                <a:gd name="T8" fmla="*/ 13186 w 49"/>
                <a:gd name="T9" fmla="*/ 0 h 86"/>
                <a:gd name="T10" fmla="*/ 17106 w 49"/>
                <a:gd name="T11" fmla="*/ 0 h 86"/>
                <a:gd name="T12" fmla="*/ 17106 w 49"/>
                <a:gd name="T13" fmla="*/ 31381 h 86"/>
                <a:gd name="T14" fmla="*/ 12473 w 49"/>
                <a:gd name="T15" fmla="*/ 31381 h 86"/>
                <a:gd name="T16" fmla="*/ 3920 w 49"/>
                <a:gd name="T17" fmla="*/ 7015 h 86"/>
                <a:gd name="T18" fmla="*/ 3920 w 49"/>
                <a:gd name="T19" fmla="*/ 7015 h 86"/>
                <a:gd name="T20" fmla="*/ 3920 w 49"/>
                <a:gd name="T21" fmla="*/ 31381 h 86"/>
                <a:gd name="T22" fmla="*/ 0 w 49"/>
                <a:gd name="T23" fmla="*/ 31381 h 86"/>
                <a:gd name="T24" fmla="*/ 0 w 49"/>
                <a:gd name="T25" fmla="*/ 0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9" h="86">
                  <a:moveTo>
                    <a:pt x="0" y="0"/>
                  </a:moveTo>
                  <a:lnTo>
                    <a:pt x="13" y="0"/>
                  </a:lnTo>
                  <a:lnTo>
                    <a:pt x="37" y="66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48" y="85"/>
                  </a:lnTo>
                  <a:lnTo>
                    <a:pt x="35" y="85"/>
                  </a:lnTo>
                  <a:lnTo>
                    <a:pt x="11" y="19"/>
                  </a:lnTo>
                  <a:lnTo>
                    <a:pt x="11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" name="Freeform 228">
              <a:extLst>
                <a:ext uri="{FF2B5EF4-FFF2-40B4-BE49-F238E27FC236}">
                  <a16:creationId xmlns:a16="http://schemas.microsoft.com/office/drawing/2014/main" id="{A16F6450-716B-4E42-926D-4170ABF90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4188" y="4754563"/>
              <a:ext cx="20637" cy="31750"/>
            </a:xfrm>
            <a:custGeom>
              <a:avLst/>
              <a:gdLst>
                <a:gd name="T0" fmla="*/ 15041 w 59"/>
                <a:gd name="T1" fmla="*/ 23259 h 86"/>
                <a:gd name="T2" fmla="*/ 664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7 w 59"/>
                <a:gd name="T13" fmla="*/ 31381 h 86"/>
                <a:gd name="T14" fmla="*/ 15740 w 59"/>
                <a:gd name="T15" fmla="*/ 31381 h 86"/>
                <a:gd name="T16" fmla="*/ 15041 w 59"/>
                <a:gd name="T17" fmla="*/ 23259 h 86"/>
                <a:gd name="T18" fmla="*/ 13991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5 w 59"/>
                <a:gd name="T25" fmla="*/ 18459 h 86"/>
                <a:gd name="T26" fmla="*/ 13991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3" y="63"/>
                  </a:moveTo>
                  <a:lnTo>
                    <a:pt x="19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3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8" name="Freeform 229">
              <a:extLst>
                <a:ext uri="{FF2B5EF4-FFF2-40B4-BE49-F238E27FC236}">
                  <a16:creationId xmlns:a16="http://schemas.microsoft.com/office/drawing/2014/main" id="{1F5CB686-DE3D-E640-808A-EFE6141A1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752975"/>
              <a:ext cx="17463" cy="31750"/>
            </a:xfrm>
            <a:custGeom>
              <a:avLst/>
              <a:gdLst>
                <a:gd name="T0" fmla="*/ 1069 w 49"/>
                <a:gd name="T1" fmla="*/ 0 h 89"/>
                <a:gd name="T2" fmla="*/ 8553 w 49"/>
                <a:gd name="T3" fmla="*/ 0 h 89"/>
                <a:gd name="T4" fmla="*/ 16037 w 49"/>
                <a:gd name="T5" fmla="*/ 8562 h 89"/>
                <a:gd name="T6" fmla="*/ 11404 w 49"/>
                <a:gd name="T7" fmla="*/ 16053 h 89"/>
                <a:gd name="T8" fmla="*/ 11404 w 49"/>
                <a:gd name="T9" fmla="*/ 16053 h 89"/>
                <a:gd name="T10" fmla="*/ 14256 w 49"/>
                <a:gd name="T11" fmla="*/ 19978 h 89"/>
                <a:gd name="T12" fmla="*/ 17107 w 49"/>
                <a:gd name="T13" fmla="*/ 31393 h 89"/>
                <a:gd name="T14" fmla="*/ 12117 w 49"/>
                <a:gd name="T15" fmla="*/ 31393 h 89"/>
                <a:gd name="T16" fmla="*/ 9266 w 49"/>
                <a:gd name="T17" fmla="*/ 20691 h 89"/>
                <a:gd name="T18" fmla="*/ 5702 w 49"/>
                <a:gd name="T19" fmla="*/ 18194 h 89"/>
                <a:gd name="T20" fmla="*/ 4633 w 49"/>
                <a:gd name="T21" fmla="*/ 18194 h 89"/>
                <a:gd name="T22" fmla="*/ 4633 w 49"/>
                <a:gd name="T23" fmla="*/ 31393 h 89"/>
                <a:gd name="T24" fmla="*/ 0 w 49"/>
                <a:gd name="T25" fmla="*/ 31393 h 89"/>
                <a:gd name="T26" fmla="*/ 0 w 49"/>
                <a:gd name="T27" fmla="*/ 0 h 89"/>
                <a:gd name="T28" fmla="*/ 1069 w 49"/>
                <a:gd name="T29" fmla="*/ 0 h 89"/>
                <a:gd name="T30" fmla="*/ 7484 w 49"/>
                <a:gd name="T31" fmla="*/ 13199 h 89"/>
                <a:gd name="T32" fmla="*/ 11404 w 49"/>
                <a:gd name="T33" fmla="*/ 8562 h 89"/>
                <a:gd name="T34" fmla="*/ 7484 w 49"/>
                <a:gd name="T35" fmla="*/ 3924 h 89"/>
                <a:gd name="T36" fmla="*/ 5702 w 49"/>
                <a:gd name="T37" fmla="*/ 3924 h 89"/>
                <a:gd name="T38" fmla="*/ 5702 w 49"/>
                <a:gd name="T39" fmla="*/ 13199 h 89"/>
                <a:gd name="T40" fmla="*/ 7484 w 49"/>
                <a:gd name="T41" fmla="*/ 13199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9" h="89">
                  <a:moveTo>
                    <a:pt x="3" y="0"/>
                  </a:moveTo>
                  <a:lnTo>
                    <a:pt x="24" y="0"/>
                  </a:lnTo>
                  <a:cubicBezTo>
                    <a:pt x="37" y="0"/>
                    <a:pt x="45" y="8"/>
                    <a:pt x="45" y="24"/>
                  </a:cubicBezTo>
                  <a:cubicBezTo>
                    <a:pt x="45" y="35"/>
                    <a:pt x="40" y="43"/>
                    <a:pt x="32" y="45"/>
                  </a:cubicBezTo>
                  <a:cubicBezTo>
                    <a:pt x="34" y="45"/>
                    <a:pt x="37" y="48"/>
                    <a:pt x="40" y="56"/>
                  </a:cubicBezTo>
                  <a:lnTo>
                    <a:pt x="48" y="88"/>
                  </a:lnTo>
                  <a:lnTo>
                    <a:pt x="34" y="88"/>
                  </a:lnTo>
                  <a:lnTo>
                    <a:pt x="26" y="58"/>
                  </a:lnTo>
                  <a:cubicBezTo>
                    <a:pt x="24" y="51"/>
                    <a:pt x="21" y="51"/>
                    <a:pt x="16" y="51"/>
                  </a:cubicBezTo>
                  <a:lnTo>
                    <a:pt x="13" y="51"/>
                  </a:lnTo>
                  <a:lnTo>
                    <a:pt x="13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21" y="37"/>
                  </a:moveTo>
                  <a:cubicBezTo>
                    <a:pt x="29" y="37"/>
                    <a:pt x="32" y="32"/>
                    <a:pt x="32" y="24"/>
                  </a:cubicBezTo>
                  <a:cubicBezTo>
                    <a:pt x="32" y="13"/>
                    <a:pt x="26" y="11"/>
                    <a:pt x="21" y="11"/>
                  </a:cubicBezTo>
                  <a:lnTo>
                    <a:pt x="16" y="11"/>
                  </a:lnTo>
                  <a:lnTo>
                    <a:pt x="16" y="37"/>
                  </a:lnTo>
                  <a:lnTo>
                    <a:pt x="21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9" name="Freeform 230">
              <a:extLst>
                <a:ext uri="{FF2B5EF4-FFF2-40B4-BE49-F238E27FC236}">
                  <a16:creationId xmlns:a16="http://schemas.microsoft.com/office/drawing/2014/main" id="{5FF7CDB3-2DBD-384A-BE2A-7884183AAE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4988" y="4752975"/>
              <a:ext cx="14287" cy="31750"/>
            </a:xfrm>
            <a:custGeom>
              <a:avLst/>
              <a:gdLst>
                <a:gd name="T0" fmla="*/ 0 w 38"/>
                <a:gd name="T1" fmla="*/ 0 h 86"/>
                <a:gd name="T2" fmla="*/ 13911 w 38"/>
                <a:gd name="T3" fmla="*/ 0 h 86"/>
                <a:gd name="T4" fmla="*/ 13911 w 38"/>
                <a:gd name="T5" fmla="*/ 4799 h 86"/>
                <a:gd name="T6" fmla="*/ 4888 w 38"/>
                <a:gd name="T7" fmla="*/ 4799 h 86"/>
                <a:gd name="T8" fmla="*/ 4888 w 38"/>
                <a:gd name="T9" fmla="*/ 12922 h 86"/>
                <a:gd name="T10" fmla="*/ 12783 w 38"/>
                <a:gd name="T11" fmla="*/ 12922 h 86"/>
                <a:gd name="T12" fmla="*/ 12783 w 38"/>
                <a:gd name="T13" fmla="*/ 17721 h 86"/>
                <a:gd name="T14" fmla="*/ 4888 w 38"/>
                <a:gd name="T15" fmla="*/ 17721 h 86"/>
                <a:gd name="T16" fmla="*/ 4888 w 38"/>
                <a:gd name="T17" fmla="*/ 27320 h 86"/>
                <a:gd name="T18" fmla="*/ 13911 w 38"/>
                <a:gd name="T19" fmla="*/ 27320 h 86"/>
                <a:gd name="T20" fmla="*/ 13911 w 38"/>
                <a:gd name="T21" fmla="*/ 31381 h 86"/>
                <a:gd name="T22" fmla="*/ 0 w 38"/>
                <a:gd name="T23" fmla="*/ 31381 h 86"/>
                <a:gd name="T24" fmla="*/ 0 w 38"/>
                <a:gd name="T25" fmla="*/ 0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" h="86">
                  <a:moveTo>
                    <a:pt x="0" y="0"/>
                  </a:moveTo>
                  <a:lnTo>
                    <a:pt x="37" y="0"/>
                  </a:lnTo>
                  <a:lnTo>
                    <a:pt x="37" y="13"/>
                  </a:lnTo>
                  <a:lnTo>
                    <a:pt x="13" y="13"/>
                  </a:lnTo>
                  <a:lnTo>
                    <a:pt x="13" y="35"/>
                  </a:lnTo>
                  <a:lnTo>
                    <a:pt x="34" y="35"/>
                  </a:lnTo>
                  <a:lnTo>
                    <a:pt x="34" y="48"/>
                  </a:lnTo>
                  <a:lnTo>
                    <a:pt x="13" y="48"/>
                  </a:lnTo>
                  <a:lnTo>
                    <a:pt x="13" y="74"/>
                  </a:lnTo>
                  <a:lnTo>
                    <a:pt x="37" y="74"/>
                  </a:lnTo>
                  <a:lnTo>
                    <a:pt x="37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0" name="Freeform 231">
              <a:extLst>
                <a:ext uri="{FF2B5EF4-FFF2-40B4-BE49-F238E27FC236}">
                  <a16:creationId xmlns:a16="http://schemas.microsoft.com/office/drawing/2014/main" id="{D00D9456-9305-2649-9936-D0197E1355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9275" y="4751388"/>
              <a:ext cx="19050" cy="33337"/>
            </a:xfrm>
            <a:custGeom>
              <a:avLst/>
              <a:gdLst>
                <a:gd name="T0" fmla="*/ 11289 w 54"/>
                <a:gd name="T1" fmla="*/ 14287 h 91"/>
                <a:gd name="T2" fmla="*/ 18697 w 54"/>
                <a:gd name="T3" fmla="*/ 14287 h 91"/>
                <a:gd name="T4" fmla="*/ 18697 w 54"/>
                <a:gd name="T5" fmla="*/ 30773 h 91"/>
                <a:gd name="T6" fmla="*/ 11994 w 54"/>
                <a:gd name="T7" fmla="*/ 32971 h 91"/>
                <a:gd name="T8" fmla="*/ 0 w 54"/>
                <a:gd name="T9" fmla="*/ 16485 h 91"/>
                <a:gd name="T10" fmla="*/ 11994 w 54"/>
                <a:gd name="T11" fmla="*/ 0 h 91"/>
                <a:gd name="T12" fmla="*/ 17639 w 54"/>
                <a:gd name="T13" fmla="*/ 733 h 91"/>
                <a:gd name="T14" fmla="*/ 17639 w 54"/>
                <a:gd name="T15" fmla="*/ 5495 h 91"/>
                <a:gd name="T16" fmla="*/ 11994 w 54"/>
                <a:gd name="T17" fmla="*/ 3663 h 91"/>
                <a:gd name="T18" fmla="*/ 4586 w 54"/>
                <a:gd name="T19" fmla="*/ 15386 h 91"/>
                <a:gd name="T20" fmla="*/ 11289 w 54"/>
                <a:gd name="T21" fmla="*/ 27109 h 91"/>
                <a:gd name="T22" fmla="*/ 14111 w 54"/>
                <a:gd name="T23" fmla="*/ 26010 h 91"/>
                <a:gd name="T24" fmla="*/ 14111 w 54"/>
                <a:gd name="T25" fmla="*/ 17218 h 91"/>
                <a:gd name="T26" fmla="*/ 10231 w 54"/>
                <a:gd name="T27" fmla="*/ 17218 h 91"/>
                <a:gd name="T28" fmla="*/ 10231 w 54"/>
                <a:gd name="T29" fmla="*/ 14287 h 91"/>
                <a:gd name="T30" fmla="*/ 11289 w 54"/>
                <a:gd name="T31" fmla="*/ 14287 h 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4" h="91">
                  <a:moveTo>
                    <a:pt x="32" y="39"/>
                  </a:moveTo>
                  <a:lnTo>
                    <a:pt x="53" y="39"/>
                  </a:lnTo>
                  <a:lnTo>
                    <a:pt x="53" y="84"/>
                  </a:lnTo>
                  <a:cubicBezTo>
                    <a:pt x="50" y="87"/>
                    <a:pt x="42" y="90"/>
                    <a:pt x="34" y="90"/>
                  </a:cubicBezTo>
                  <a:cubicBezTo>
                    <a:pt x="13" y="90"/>
                    <a:pt x="0" y="72"/>
                    <a:pt x="0" y="45"/>
                  </a:cubicBezTo>
                  <a:cubicBezTo>
                    <a:pt x="0" y="19"/>
                    <a:pt x="10" y="0"/>
                    <a:pt x="34" y="0"/>
                  </a:cubicBezTo>
                  <a:cubicBezTo>
                    <a:pt x="42" y="0"/>
                    <a:pt x="48" y="2"/>
                    <a:pt x="50" y="2"/>
                  </a:cubicBezTo>
                  <a:lnTo>
                    <a:pt x="50" y="15"/>
                  </a:lnTo>
                  <a:cubicBezTo>
                    <a:pt x="45" y="13"/>
                    <a:pt x="40" y="10"/>
                    <a:pt x="34" y="10"/>
                  </a:cubicBezTo>
                  <a:cubicBezTo>
                    <a:pt x="21" y="10"/>
                    <a:pt x="13" y="24"/>
                    <a:pt x="13" y="42"/>
                  </a:cubicBezTo>
                  <a:cubicBezTo>
                    <a:pt x="13" y="61"/>
                    <a:pt x="21" y="74"/>
                    <a:pt x="32" y="74"/>
                  </a:cubicBezTo>
                  <a:cubicBezTo>
                    <a:pt x="34" y="74"/>
                    <a:pt x="37" y="74"/>
                    <a:pt x="40" y="71"/>
                  </a:cubicBezTo>
                  <a:lnTo>
                    <a:pt x="40" y="47"/>
                  </a:lnTo>
                  <a:lnTo>
                    <a:pt x="29" y="47"/>
                  </a:lnTo>
                  <a:lnTo>
                    <a:pt x="29" y="39"/>
                  </a:lnTo>
                  <a:lnTo>
                    <a:pt x="32" y="39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1" name="Freeform 232">
              <a:extLst>
                <a:ext uri="{FF2B5EF4-FFF2-40B4-BE49-F238E27FC236}">
                  <a16:creationId xmlns:a16="http://schemas.microsoft.com/office/drawing/2014/main" id="{F7F99B10-6CD3-E342-B332-A343F80EE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4752975"/>
              <a:ext cx="4762" cy="31750"/>
            </a:xfrm>
            <a:custGeom>
              <a:avLst/>
              <a:gdLst>
                <a:gd name="T0" fmla="*/ 2381 w 14"/>
                <a:gd name="T1" fmla="*/ 31381 h 86"/>
                <a:gd name="T2" fmla="*/ 0 w 14"/>
                <a:gd name="T3" fmla="*/ 31381 h 86"/>
                <a:gd name="T4" fmla="*/ 0 w 14"/>
                <a:gd name="T5" fmla="*/ 0 h 86"/>
                <a:gd name="T6" fmla="*/ 4422 w 14"/>
                <a:gd name="T7" fmla="*/ 0 h 86"/>
                <a:gd name="T8" fmla="*/ 4422 w 14"/>
                <a:gd name="T9" fmla="*/ 31381 h 86"/>
                <a:gd name="T10" fmla="*/ 2381 w 14"/>
                <a:gd name="T11" fmla="*/ 3138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86">
                  <a:moveTo>
                    <a:pt x="7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3" y="0"/>
                  </a:lnTo>
                  <a:lnTo>
                    <a:pt x="13" y="85"/>
                  </a:lnTo>
                  <a:lnTo>
                    <a:pt x="7" y="8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2" name="Freeform 233">
              <a:extLst>
                <a:ext uri="{FF2B5EF4-FFF2-40B4-BE49-F238E27FC236}">
                  <a16:creationId xmlns:a16="http://schemas.microsoft.com/office/drawing/2014/main" id="{D335E79F-F01B-F34F-9744-89429E4F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4752975"/>
              <a:ext cx="20638" cy="33338"/>
            </a:xfrm>
            <a:custGeom>
              <a:avLst/>
              <a:gdLst>
                <a:gd name="T0" fmla="*/ 20276 w 57"/>
                <a:gd name="T1" fmla="*/ 16486 h 91"/>
                <a:gd name="T2" fmla="*/ 10500 w 57"/>
                <a:gd name="T3" fmla="*/ 32972 h 91"/>
                <a:gd name="T4" fmla="*/ 1086 w 57"/>
                <a:gd name="T5" fmla="*/ 16486 h 91"/>
                <a:gd name="T6" fmla="*/ 10500 w 57"/>
                <a:gd name="T7" fmla="*/ 0 h 91"/>
                <a:gd name="T8" fmla="*/ 20276 w 57"/>
                <a:gd name="T9" fmla="*/ 16486 h 91"/>
                <a:gd name="T10" fmla="*/ 15569 w 57"/>
                <a:gd name="T11" fmla="*/ 15753 h 91"/>
                <a:gd name="T12" fmla="*/ 10500 w 57"/>
                <a:gd name="T13" fmla="*/ 4030 h 91"/>
                <a:gd name="T14" fmla="*/ 5793 w 57"/>
                <a:gd name="T15" fmla="*/ 15753 h 91"/>
                <a:gd name="T16" fmla="*/ 10500 w 57"/>
                <a:gd name="T17" fmla="*/ 27110 h 91"/>
                <a:gd name="T18" fmla="*/ 15569 w 57"/>
                <a:gd name="T19" fmla="*/ 15753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7" h="91">
                  <a:moveTo>
                    <a:pt x="56" y="45"/>
                  </a:moveTo>
                  <a:cubicBezTo>
                    <a:pt x="56" y="77"/>
                    <a:pt x="43" y="90"/>
                    <a:pt x="29" y="90"/>
                  </a:cubicBezTo>
                  <a:cubicBezTo>
                    <a:pt x="16" y="90"/>
                    <a:pt x="3" y="77"/>
                    <a:pt x="3" y="45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3" y="0"/>
                    <a:pt x="56" y="13"/>
                    <a:pt x="56" y="45"/>
                  </a:cubicBezTo>
                  <a:close/>
                  <a:moveTo>
                    <a:pt x="43" y="43"/>
                  </a:moveTo>
                  <a:cubicBezTo>
                    <a:pt x="43" y="20"/>
                    <a:pt x="37" y="11"/>
                    <a:pt x="29" y="11"/>
                  </a:cubicBezTo>
                  <a:cubicBezTo>
                    <a:pt x="21" y="11"/>
                    <a:pt x="16" y="19"/>
                    <a:pt x="16" y="43"/>
                  </a:cubicBezTo>
                  <a:cubicBezTo>
                    <a:pt x="13" y="66"/>
                    <a:pt x="21" y="74"/>
                    <a:pt x="29" y="74"/>
                  </a:cubicBezTo>
                  <a:cubicBezTo>
                    <a:pt x="37" y="74"/>
                    <a:pt x="43" y="67"/>
                    <a:pt x="43" y="4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3" name="Freeform 234">
              <a:extLst>
                <a:ext uri="{FF2B5EF4-FFF2-40B4-BE49-F238E27FC236}">
                  <a16:creationId xmlns:a16="http://schemas.microsoft.com/office/drawing/2014/main" id="{77D261B4-1EE8-A349-8ACC-BDBEF757B1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0" y="4752975"/>
              <a:ext cx="19050" cy="31750"/>
            </a:xfrm>
            <a:custGeom>
              <a:avLst/>
              <a:gdLst>
                <a:gd name="T0" fmla="*/ 0 w 51"/>
                <a:gd name="T1" fmla="*/ 0 h 86"/>
                <a:gd name="T2" fmla="*/ 5976 w 51"/>
                <a:gd name="T3" fmla="*/ 0 h 86"/>
                <a:gd name="T4" fmla="*/ 14941 w 51"/>
                <a:gd name="T5" fmla="*/ 24366 h 86"/>
                <a:gd name="T6" fmla="*/ 14941 w 51"/>
                <a:gd name="T7" fmla="*/ 24366 h 86"/>
                <a:gd name="T8" fmla="*/ 14941 w 51"/>
                <a:gd name="T9" fmla="*/ 0 h 86"/>
                <a:gd name="T10" fmla="*/ 18676 w 51"/>
                <a:gd name="T11" fmla="*/ 0 h 86"/>
                <a:gd name="T12" fmla="*/ 18676 w 51"/>
                <a:gd name="T13" fmla="*/ 31381 h 86"/>
                <a:gd name="T14" fmla="*/ 12700 w 51"/>
                <a:gd name="T15" fmla="*/ 31381 h 86"/>
                <a:gd name="T16" fmla="*/ 4856 w 51"/>
                <a:gd name="T17" fmla="*/ 7015 h 86"/>
                <a:gd name="T18" fmla="*/ 4856 w 51"/>
                <a:gd name="T19" fmla="*/ 7015 h 86"/>
                <a:gd name="T20" fmla="*/ 4856 w 51"/>
                <a:gd name="T21" fmla="*/ 31381 h 86"/>
                <a:gd name="T22" fmla="*/ 0 w 51"/>
                <a:gd name="T23" fmla="*/ 31381 h 86"/>
                <a:gd name="T24" fmla="*/ 0 w 51"/>
                <a:gd name="T25" fmla="*/ 0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1" h="86">
                  <a:moveTo>
                    <a:pt x="0" y="0"/>
                  </a:moveTo>
                  <a:lnTo>
                    <a:pt x="16" y="0"/>
                  </a:lnTo>
                  <a:lnTo>
                    <a:pt x="40" y="66"/>
                  </a:lnTo>
                  <a:lnTo>
                    <a:pt x="40" y="0"/>
                  </a:lnTo>
                  <a:lnTo>
                    <a:pt x="50" y="0"/>
                  </a:lnTo>
                  <a:lnTo>
                    <a:pt x="50" y="85"/>
                  </a:lnTo>
                  <a:lnTo>
                    <a:pt x="34" y="85"/>
                  </a:lnTo>
                  <a:lnTo>
                    <a:pt x="13" y="19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4" name="Freeform 235">
              <a:extLst>
                <a:ext uri="{FF2B5EF4-FFF2-40B4-BE49-F238E27FC236}">
                  <a16:creationId xmlns:a16="http://schemas.microsoft.com/office/drawing/2014/main" id="{DF081B46-1036-4A4D-B24E-F004022BE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3888" y="4754563"/>
              <a:ext cx="22225" cy="31750"/>
            </a:xfrm>
            <a:custGeom>
              <a:avLst/>
              <a:gdLst>
                <a:gd name="T0" fmla="*/ 15928 w 60"/>
                <a:gd name="T1" fmla="*/ 23259 h 86"/>
                <a:gd name="T2" fmla="*/ 7038 w 60"/>
                <a:gd name="T3" fmla="*/ 23259 h 86"/>
                <a:gd name="T4" fmla="*/ 5186 w 60"/>
                <a:gd name="T5" fmla="*/ 31381 h 86"/>
                <a:gd name="T6" fmla="*/ 0 w 60"/>
                <a:gd name="T7" fmla="*/ 31381 h 86"/>
                <a:gd name="T8" fmla="*/ 8890 w 60"/>
                <a:gd name="T9" fmla="*/ 0 h 86"/>
                <a:gd name="T10" fmla="*/ 13705 w 60"/>
                <a:gd name="T11" fmla="*/ 0 h 86"/>
                <a:gd name="T12" fmla="*/ 21855 w 60"/>
                <a:gd name="T13" fmla="*/ 31381 h 86"/>
                <a:gd name="T14" fmla="*/ 16669 w 60"/>
                <a:gd name="T15" fmla="*/ 31381 h 86"/>
                <a:gd name="T16" fmla="*/ 15928 w 60"/>
                <a:gd name="T17" fmla="*/ 23259 h 86"/>
                <a:gd name="T18" fmla="*/ 14817 w 60"/>
                <a:gd name="T19" fmla="*/ 18459 h 86"/>
                <a:gd name="T20" fmla="*/ 11853 w 60"/>
                <a:gd name="T21" fmla="*/ 3692 h 86"/>
                <a:gd name="T22" fmla="*/ 11853 w 60"/>
                <a:gd name="T23" fmla="*/ 3692 h 86"/>
                <a:gd name="T24" fmla="*/ 8149 w 60"/>
                <a:gd name="T25" fmla="*/ 18459 h 86"/>
                <a:gd name="T26" fmla="*/ 14817 w 60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0" h="86">
                  <a:moveTo>
                    <a:pt x="43" y="63"/>
                  </a:moveTo>
                  <a:lnTo>
                    <a:pt x="19" y="63"/>
                  </a:lnTo>
                  <a:lnTo>
                    <a:pt x="14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9" y="85"/>
                  </a:lnTo>
                  <a:lnTo>
                    <a:pt x="45" y="85"/>
                  </a:lnTo>
                  <a:lnTo>
                    <a:pt x="43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2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5" name="Freeform 236">
              <a:extLst>
                <a:ext uri="{FF2B5EF4-FFF2-40B4-BE49-F238E27FC236}">
                  <a16:creationId xmlns:a16="http://schemas.microsoft.com/office/drawing/2014/main" id="{C7168DBC-447D-7A43-8D92-718D96B557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6113" y="475297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4717 w 35"/>
                <a:gd name="T3" fmla="*/ 0 h 86"/>
                <a:gd name="T4" fmla="*/ 4717 w 35"/>
                <a:gd name="T5" fmla="*/ 27320 h 86"/>
                <a:gd name="T6" fmla="*/ 12337 w 35"/>
                <a:gd name="T7" fmla="*/ 27320 h 86"/>
                <a:gd name="T8" fmla="*/ 12337 w 35"/>
                <a:gd name="T9" fmla="*/ 31381 h 86"/>
                <a:gd name="T10" fmla="*/ 0 w 35"/>
                <a:gd name="T11" fmla="*/ 31381 h 86"/>
                <a:gd name="T12" fmla="*/ 0 w 35"/>
                <a:gd name="T13" fmla="*/ 0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34" y="74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6" name="Freeform 237">
              <a:extLst>
                <a:ext uri="{FF2B5EF4-FFF2-40B4-BE49-F238E27FC236}">
                  <a16:creationId xmlns:a16="http://schemas.microsoft.com/office/drawing/2014/main" id="{CED4F060-7A00-B34E-B93E-A19A02EF7E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338" y="4752975"/>
              <a:ext cx="15875" cy="31750"/>
            </a:xfrm>
            <a:custGeom>
              <a:avLst/>
              <a:gdLst>
                <a:gd name="T0" fmla="*/ 1108 w 43"/>
                <a:gd name="T1" fmla="*/ 0 h 89"/>
                <a:gd name="T2" fmla="*/ 7753 w 43"/>
                <a:gd name="T3" fmla="*/ 0 h 89"/>
                <a:gd name="T4" fmla="*/ 15506 w 43"/>
                <a:gd name="T5" fmla="*/ 9632 h 89"/>
                <a:gd name="T6" fmla="*/ 7753 w 43"/>
                <a:gd name="T7" fmla="*/ 18907 h 89"/>
                <a:gd name="T8" fmla="*/ 4799 w 43"/>
                <a:gd name="T9" fmla="*/ 18907 h 89"/>
                <a:gd name="T10" fmla="*/ 4799 w 43"/>
                <a:gd name="T11" fmla="*/ 31393 h 89"/>
                <a:gd name="T12" fmla="*/ 0 w 43"/>
                <a:gd name="T13" fmla="*/ 31393 h 89"/>
                <a:gd name="T14" fmla="*/ 0 w 43"/>
                <a:gd name="T15" fmla="*/ 0 h 89"/>
                <a:gd name="T16" fmla="*/ 1108 w 43"/>
                <a:gd name="T17" fmla="*/ 0 h 89"/>
                <a:gd name="T18" fmla="*/ 7753 w 43"/>
                <a:gd name="T19" fmla="*/ 14270 h 89"/>
                <a:gd name="T20" fmla="*/ 11814 w 43"/>
                <a:gd name="T21" fmla="*/ 9632 h 89"/>
                <a:gd name="T22" fmla="*/ 7753 w 43"/>
                <a:gd name="T23" fmla="*/ 4638 h 89"/>
                <a:gd name="T24" fmla="*/ 5907 w 43"/>
                <a:gd name="T25" fmla="*/ 4638 h 89"/>
                <a:gd name="T26" fmla="*/ 5907 w 43"/>
                <a:gd name="T27" fmla="*/ 15340 h 89"/>
                <a:gd name="T28" fmla="*/ 7753 w 43"/>
                <a:gd name="T29" fmla="*/ 15340 h 89"/>
                <a:gd name="T30" fmla="*/ 7753 w 43"/>
                <a:gd name="T31" fmla="*/ 14270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89">
                  <a:moveTo>
                    <a:pt x="3" y="0"/>
                  </a:moveTo>
                  <a:lnTo>
                    <a:pt x="21" y="0"/>
                  </a:lnTo>
                  <a:cubicBezTo>
                    <a:pt x="34" y="0"/>
                    <a:pt x="42" y="11"/>
                    <a:pt x="42" y="27"/>
                  </a:cubicBezTo>
                  <a:cubicBezTo>
                    <a:pt x="42" y="43"/>
                    <a:pt x="34" y="53"/>
                    <a:pt x="21" y="53"/>
                  </a:cubicBezTo>
                  <a:lnTo>
                    <a:pt x="13" y="53"/>
                  </a:lnTo>
                  <a:lnTo>
                    <a:pt x="13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21" y="40"/>
                  </a:moveTo>
                  <a:cubicBezTo>
                    <a:pt x="29" y="40"/>
                    <a:pt x="32" y="35"/>
                    <a:pt x="32" y="27"/>
                  </a:cubicBezTo>
                  <a:cubicBezTo>
                    <a:pt x="32" y="16"/>
                    <a:pt x="29" y="13"/>
                    <a:pt x="21" y="13"/>
                  </a:cubicBezTo>
                  <a:lnTo>
                    <a:pt x="16" y="13"/>
                  </a:lnTo>
                  <a:lnTo>
                    <a:pt x="16" y="43"/>
                  </a:lnTo>
                  <a:lnTo>
                    <a:pt x="21" y="43"/>
                  </a:lnTo>
                  <a:lnTo>
                    <a:pt x="21" y="4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7" name="Freeform 238">
              <a:extLst>
                <a:ext uri="{FF2B5EF4-FFF2-40B4-BE49-F238E27FC236}">
                  <a16:creationId xmlns:a16="http://schemas.microsoft.com/office/drawing/2014/main" id="{A164606C-32AB-4E47-80EC-2B4DC6B3B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2625" y="4754563"/>
              <a:ext cx="20638" cy="31750"/>
            </a:xfrm>
            <a:custGeom>
              <a:avLst/>
              <a:gdLst>
                <a:gd name="T0" fmla="*/ 14691 w 59"/>
                <a:gd name="T1" fmla="*/ 23259 h 86"/>
                <a:gd name="T2" fmla="*/ 629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8 w 59"/>
                <a:gd name="T13" fmla="*/ 31381 h 86"/>
                <a:gd name="T14" fmla="*/ 15741 w 59"/>
                <a:gd name="T15" fmla="*/ 31381 h 86"/>
                <a:gd name="T16" fmla="*/ 14691 w 59"/>
                <a:gd name="T17" fmla="*/ 23259 h 86"/>
                <a:gd name="T18" fmla="*/ 13992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6 w 59"/>
                <a:gd name="T25" fmla="*/ 18459 h 86"/>
                <a:gd name="T26" fmla="*/ 13992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2" y="63"/>
                  </a:moveTo>
                  <a:lnTo>
                    <a:pt x="18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2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8" name="Freeform 239">
              <a:extLst>
                <a:ext uri="{FF2B5EF4-FFF2-40B4-BE49-F238E27FC236}">
                  <a16:creationId xmlns:a16="http://schemas.microsoft.com/office/drawing/2014/main" id="{E5F91B5F-10C4-8748-80D9-4C79364235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4850" y="4752975"/>
              <a:ext cx="17463" cy="31750"/>
            </a:xfrm>
            <a:custGeom>
              <a:avLst/>
              <a:gdLst>
                <a:gd name="T0" fmla="*/ 1069 w 49"/>
                <a:gd name="T1" fmla="*/ 0 h 89"/>
                <a:gd name="T2" fmla="*/ 8553 w 49"/>
                <a:gd name="T3" fmla="*/ 0 h 89"/>
                <a:gd name="T4" fmla="*/ 16394 w 49"/>
                <a:gd name="T5" fmla="*/ 8562 h 89"/>
                <a:gd name="T6" fmla="*/ 11404 w 49"/>
                <a:gd name="T7" fmla="*/ 16053 h 89"/>
                <a:gd name="T8" fmla="*/ 11404 w 49"/>
                <a:gd name="T9" fmla="*/ 16053 h 89"/>
                <a:gd name="T10" fmla="*/ 14256 w 49"/>
                <a:gd name="T11" fmla="*/ 19978 h 89"/>
                <a:gd name="T12" fmla="*/ 17107 w 49"/>
                <a:gd name="T13" fmla="*/ 31393 h 89"/>
                <a:gd name="T14" fmla="*/ 12474 w 49"/>
                <a:gd name="T15" fmla="*/ 31393 h 89"/>
                <a:gd name="T16" fmla="*/ 9622 w 49"/>
                <a:gd name="T17" fmla="*/ 20691 h 89"/>
                <a:gd name="T18" fmla="*/ 5702 w 49"/>
                <a:gd name="T19" fmla="*/ 18194 h 89"/>
                <a:gd name="T20" fmla="*/ 4989 w 49"/>
                <a:gd name="T21" fmla="*/ 18194 h 89"/>
                <a:gd name="T22" fmla="*/ 4989 w 49"/>
                <a:gd name="T23" fmla="*/ 31393 h 89"/>
                <a:gd name="T24" fmla="*/ 0 w 49"/>
                <a:gd name="T25" fmla="*/ 31393 h 89"/>
                <a:gd name="T26" fmla="*/ 0 w 49"/>
                <a:gd name="T27" fmla="*/ 0 h 89"/>
                <a:gd name="T28" fmla="*/ 1069 w 49"/>
                <a:gd name="T29" fmla="*/ 0 h 89"/>
                <a:gd name="T30" fmla="*/ 6771 w 49"/>
                <a:gd name="T31" fmla="*/ 13199 h 89"/>
                <a:gd name="T32" fmla="*/ 10692 w 49"/>
                <a:gd name="T33" fmla="*/ 8562 h 89"/>
                <a:gd name="T34" fmla="*/ 6771 w 49"/>
                <a:gd name="T35" fmla="*/ 3924 h 89"/>
                <a:gd name="T36" fmla="*/ 4989 w 49"/>
                <a:gd name="T37" fmla="*/ 3924 h 89"/>
                <a:gd name="T38" fmla="*/ 4989 w 49"/>
                <a:gd name="T39" fmla="*/ 13199 h 89"/>
                <a:gd name="T40" fmla="*/ 6771 w 49"/>
                <a:gd name="T41" fmla="*/ 13199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9" h="89">
                  <a:moveTo>
                    <a:pt x="3" y="0"/>
                  </a:moveTo>
                  <a:lnTo>
                    <a:pt x="24" y="0"/>
                  </a:lnTo>
                  <a:cubicBezTo>
                    <a:pt x="38" y="0"/>
                    <a:pt x="46" y="8"/>
                    <a:pt x="46" y="24"/>
                  </a:cubicBezTo>
                  <a:cubicBezTo>
                    <a:pt x="46" y="35"/>
                    <a:pt x="40" y="43"/>
                    <a:pt x="32" y="45"/>
                  </a:cubicBezTo>
                  <a:cubicBezTo>
                    <a:pt x="35" y="45"/>
                    <a:pt x="38" y="48"/>
                    <a:pt x="40" y="56"/>
                  </a:cubicBezTo>
                  <a:lnTo>
                    <a:pt x="48" y="88"/>
                  </a:lnTo>
                  <a:lnTo>
                    <a:pt x="35" y="88"/>
                  </a:lnTo>
                  <a:lnTo>
                    <a:pt x="27" y="58"/>
                  </a:lnTo>
                  <a:cubicBezTo>
                    <a:pt x="24" y="51"/>
                    <a:pt x="22" y="51"/>
                    <a:pt x="16" y="51"/>
                  </a:cubicBezTo>
                  <a:lnTo>
                    <a:pt x="14" y="51"/>
                  </a:lnTo>
                  <a:lnTo>
                    <a:pt x="14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" y="0"/>
                  </a:lnTo>
                  <a:close/>
                  <a:moveTo>
                    <a:pt x="19" y="37"/>
                  </a:moveTo>
                  <a:cubicBezTo>
                    <a:pt x="27" y="37"/>
                    <a:pt x="30" y="32"/>
                    <a:pt x="30" y="24"/>
                  </a:cubicBezTo>
                  <a:cubicBezTo>
                    <a:pt x="30" y="13"/>
                    <a:pt x="24" y="11"/>
                    <a:pt x="19" y="11"/>
                  </a:cubicBezTo>
                  <a:lnTo>
                    <a:pt x="14" y="11"/>
                  </a:lnTo>
                  <a:lnTo>
                    <a:pt x="14" y="37"/>
                  </a:lnTo>
                  <a:lnTo>
                    <a:pt x="19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9" name="Freeform 240">
              <a:extLst>
                <a:ext uri="{FF2B5EF4-FFF2-40B4-BE49-F238E27FC236}">
                  <a16:creationId xmlns:a16="http://schemas.microsoft.com/office/drawing/2014/main" id="{E51FB50B-0EDD-D245-9389-67FF282603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4754563"/>
              <a:ext cx="20637" cy="31750"/>
            </a:xfrm>
            <a:custGeom>
              <a:avLst/>
              <a:gdLst>
                <a:gd name="T0" fmla="*/ 15041 w 59"/>
                <a:gd name="T1" fmla="*/ 23259 h 86"/>
                <a:gd name="T2" fmla="*/ 664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7 w 59"/>
                <a:gd name="T13" fmla="*/ 31381 h 86"/>
                <a:gd name="T14" fmla="*/ 15740 w 59"/>
                <a:gd name="T15" fmla="*/ 31381 h 86"/>
                <a:gd name="T16" fmla="*/ 15041 w 59"/>
                <a:gd name="T17" fmla="*/ 23259 h 86"/>
                <a:gd name="T18" fmla="*/ 13991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5 w 59"/>
                <a:gd name="T25" fmla="*/ 18459 h 86"/>
                <a:gd name="T26" fmla="*/ 13991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3" y="63"/>
                  </a:moveTo>
                  <a:lnTo>
                    <a:pt x="19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3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0" name="Freeform 241">
              <a:extLst>
                <a:ext uri="{FF2B5EF4-FFF2-40B4-BE49-F238E27FC236}">
                  <a16:creationId xmlns:a16="http://schemas.microsoft.com/office/drawing/2014/main" id="{14E47700-EA8A-7C43-B488-186334F7A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4752975"/>
              <a:ext cx="12700" cy="31750"/>
            </a:xfrm>
            <a:custGeom>
              <a:avLst/>
              <a:gdLst>
                <a:gd name="T0" fmla="*/ 0 w 35"/>
                <a:gd name="T1" fmla="*/ 0 h 86"/>
                <a:gd name="T2" fmla="*/ 4717 w 35"/>
                <a:gd name="T3" fmla="*/ 0 h 86"/>
                <a:gd name="T4" fmla="*/ 4717 w 35"/>
                <a:gd name="T5" fmla="*/ 27320 h 86"/>
                <a:gd name="T6" fmla="*/ 12337 w 35"/>
                <a:gd name="T7" fmla="*/ 27320 h 86"/>
                <a:gd name="T8" fmla="*/ 12337 w 35"/>
                <a:gd name="T9" fmla="*/ 31381 h 86"/>
                <a:gd name="T10" fmla="*/ 0 w 35"/>
                <a:gd name="T11" fmla="*/ 31381 h 86"/>
                <a:gd name="T12" fmla="*/ 0 w 35"/>
                <a:gd name="T13" fmla="*/ 0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34" y="74"/>
                  </a:ln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1" name="Freeform 242">
              <a:extLst>
                <a:ext uri="{FF2B5EF4-FFF2-40B4-BE49-F238E27FC236}">
                  <a16:creationId xmlns:a16="http://schemas.microsoft.com/office/drawing/2014/main" id="{45BEDD45-99CC-BA42-AD5E-33CC175B4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763" y="4754563"/>
              <a:ext cx="20637" cy="31750"/>
            </a:xfrm>
            <a:custGeom>
              <a:avLst/>
              <a:gdLst>
                <a:gd name="T0" fmla="*/ 14691 w 59"/>
                <a:gd name="T1" fmla="*/ 23259 h 86"/>
                <a:gd name="T2" fmla="*/ 6296 w 59"/>
                <a:gd name="T3" fmla="*/ 23259 h 86"/>
                <a:gd name="T4" fmla="*/ 4547 w 59"/>
                <a:gd name="T5" fmla="*/ 31381 h 86"/>
                <a:gd name="T6" fmla="*/ 0 w 59"/>
                <a:gd name="T7" fmla="*/ 31381 h 86"/>
                <a:gd name="T8" fmla="*/ 8395 w 59"/>
                <a:gd name="T9" fmla="*/ 0 h 86"/>
                <a:gd name="T10" fmla="*/ 12942 w 59"/>
                <a:gd name="T11" fmla="*/ 0 h 86"/>
                <a:gd name="T12" fmla="*/ 20287 w 59"/>
                <a:gd name="T13" fmla="*/ 31381 h 86"/>
                <a:gd name="T14" fmla="*/ 15740 w 59"/>
                <a:gd name="T15" fmla="*/ 31381 h 86"/>
                <a:gd name="T16" fmla="*/ 14691 w 59"/>
                <a:gd name="T17" fmla="*/ 23259 h 86"/>
                <a:gd name="T18" fmla="*/ 13991 w 59"/>
                <a:gd name="T19" fmla="*/ 18459 h 86"/>
                <a:gd name="T20" fmla="*/ 11193 w 59"/>
                <a:gd name="T21" fmla="*/ 3692 h 86"/>
                <a:gd name="T22" fmla="*/ 11193 w 59"/>
                <a:gd name="T23" fmla="*/ 3692 h 86"/>
                <a:gd name="T24" fmla="*/ 7345 w 59"/>
                <a:gd name="T25" fmla="*/ 18459 h 86"/>
                <a:gd name="T26" fmla="*/ 13991 w 59"/>
                <a:gd name="T27" fmla="*/ 18459 h 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86">
                  <a:moveTo>
                    <a:pt x="42" y="63"/>
                  </a:moveTo>
                  <a:lnTo>
                    <a:pt x="18" y="63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58" y="85"/>
                  </a:lnTo>
                  <a:lnTo>
                    <a:pt x="45" y="85"/>
                  </a:lnTo>
                  <a:lnTo>
                    <a:pt x="42" y="63"/>
                  </a:lnTo>
                  <a:close/>
                  <a:moveTo>
                    <a:pt x="40" y="50"/>
                  </a:moveTo>
                  <a:lnTo>
                    <a:pt x="32" y="10"/>
                  </a:lnTo>
                  <a:lnTo>
                    <a:pt x="21" y="5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2" name="Freeform 243">
              <a:extLst>
                <a:ext uri="{FF2B5EF4-FFF2-40B4-BE49-F238E27FC236}">
                  <a16:creationId xmlns:a16="http://schemas.microsoft.com/office/drawing/2014/main" id="{BE8100F3-BDA0-BE4A-A806-7D0C58EF5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7400" y="4751388"/>
              <a:ext cx="14288" cy="33337"/>
            </a:xfrm>
            <a:custGeom>
              <a:avLst/>
              <a:gdLst>
                <a:gd name="T0" fmla="*/ 1045 w 41"/>
                <a:gd name="T1" fmla="*/ 26010 h 91"/>
                <a:gd name="T2" fmla="*/ 5576 w 41"/>
                <a:gd name="T3" fmla="*/ 27842 h 91"/>
                <a:gd name="T4" fmla="*/ 9061 w 41"/>
                <a:gd name="T5" fmla="*/ 23079 h 91"/>
                <a:gd name="T6" fmla="*/ 6273 w 41"/>
                <a:gd name="T7" fmla="*/ 18317 h 91"/>
                <a:gd name="T8" fmla="*/ 4530 w 41"/>
                <a:gd name="T9" fmla="*/ 16485 h 91"/>
                <a:gd name="T10" fmla="*/ 1045 w 41"/>
                <a:gd name="T11" fmla="*/ 8426 h 91"/>
                <a:gd name="T12" fmla="*/ 8364 w 41"/>
                <a:gd name="T13" fmla="*/ 0 h 91"/>
                <a:gd name="T14" fmla="*/ 12894 w 41"/>
                <a:gd name="T15" fmla="*/ 733 h 91"/>
                <a:gd name="T16" fmla="*/ 12894 w 41"/>
                <a:gd name="T17" fmla="*/ 5495 h 91"/>
                <a:gd name="T18" fmla="*/ 8364 w 41"/>
                <a:gd name="T19" fmla="*/ 4762 h 91"/>
                <a:gd name="T20" fmla="*/ 4530 w 41"/>
                <a:gd name="T21" fmla="*/ 8426 h 91"/>
                <a:gd name="T22" fmla="*/ 7318 w 41"/>
                <a:gd name="T23" fmla="*/ 12456 h 91"/>
                <a:gd name="T24" fmla="*/ 10106 w 41"/>
                <a:gd name="T25" fmla="*/ 14287 h 91"/>
                <a:gd name="T26" fmla="*/ 13940 w 41"/>
                <a:gd name="T27" fmla="*/ 23079 h 91"/>
                <a:gd name="T28" fmla="*/ 5576 w 41"/>
                <a:gd name="T29" fmla="*/ 32971 h 91"/>
                <a:gd name="T30" fmla="*/ 0 w 41"/>
                <a:gd name="T31" fmla="*/ 31872 h 91"/>
                <a:gd name="T32" fmla="*/ 1045 w 41"/>
                <a:gd name="T33" fmla="*/ 26010 h 9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1" h="91">
                  <a:moveTo>
                    <a:pt x="3" y="71"/>
                  </a:moveTo>
                  <a:cubicBezTo>
                    <a:pt x="5" y="74"/>
                    <a:pt x="11" y="76"/>
                    <a:pt x="16" y="76"/>
                  </a:cubicBezTo>
                  <a:cubicBezTo>
                    <a:pt x="22" y="76"/>
                    <a:pt x="26" y="74"/>
                    <a:pt x="26" y="63"/>
                  </a:cubicBezTo>
                  <a:cubicBezTo>
                    <a:pt x="26" y="58"/>
                    <a:pt x="24" y="55"/>
                    <a:pt x="18" y="50"/>
                  </a:cubicBezTo>
                  <a:lnTo>
                    <a:pt x="13" y="45"/>
                  </a:lnTo>
                  <a:cubicBezTo>
                    <a:pt x="5" y="39"/>
                    <a:pt x="3" y="34"/>
                    <a:pt x="3" y="23"/>
                  </a:cubicBezTo>
                  <a:cubicBezTo>
                    <a:pt x="3" y="8"/>
                    <a:pt x="13" y="0"/>
                    <a:pt x="24" y="0"/>
                  </a:cubicBezTo>
                  <a:cubicBezTo>
                    <a:pt x="32" y="0"/>
                    <a:pt x="37" y="2"/>
                    <a:pt x="37" y="2"/>
                  </a:cubicBezTo>
                  <a:lnTo>
                    <a:pt x="37" y="15"/>
                  </a:lnTo>
                  <a:cubicBezTo>
                    <a:pt x="34" y="13"/>
                    <a:pt x="30" y="13"/>
                    <a:pt x="24" y="13"/>
                  </a:cubicBezTo>
                  <a:cubicBezTo>
                    <a:pt x="19" y="13"/>
                    <a:pt x="13" y="18"/>
                    <a:pt x="13" y="23"/>
                  </a:cubicBezTo>
                  <a:cubicBezTo>
                    <a:pt x="13" y="29"/>
                    <a:pt x="16" y="31"/>
                    <a:pt x="21" y="34"/>
                  </a:cubicBezTo>
                  <a:lnTo>
                    <a:pt x="29" y="39"/>
                  </a:lnTo>
                  <a:cubicBezTo>
                    <a:pt x="37" y="45"/>
                    <a:pt x="40" y="50"/>
                    <a:pt x="40" y="63"/>
                  </a:cubicBezTo>
                  <a:cubicBezTo>
                    <a:pt x="40" y="82"/>
                    <a:pt x="29" y="90"/>
                    <a:pt x="16" y="90"/>
                  </a:cubicBezTo>
                  <a:cubicBezTo>
                    <a:pt x="8" y="90"/>
                    <a:pt x="3" y="90"/>
                    <a:pt x="0" y="87"/>
                  </a:cubicBezTo>
                  <a:lnTo>
                    <a:pt x="3" y="7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3" name="Freeform 244">
              <a:extLst>
                <a:ext uri="{FF2B5EF4-FFF2-40B4-BE49-F238E27FC236}">
                  <a16:creationId xmlns:a16="http://schemas.microsoft.com/office/drawing/2014/main" id="{E4255347-CFCD-C246-9CB3-27935E3B8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4175" y="4418013"/>
              <a:ext cx="346075" cy="271462"/>
            </a:xfrm>
            <a:custGeom>
              <a:avLst/>
              <a:gdLst>
                <a:gd name="T0" fmla="*/ 62955 w 962"/>
                <a:gd name="T1" fmla="*/ 206931 h 753"/>
                <a:gd name="T2" fmla="*/ 74108 w 962"/>
                <a:gd name="T3" fmla="*/ 191790 h 753"/>
                <a:gd name="T4" fmla="*/ 289595 w 962"/>
                <a:gd name="T5" fmla="*/ 161147 h 753"/>
                <a:gd name="T6" fmla="*/ 114399 w 962"/>
                <a:gd name="T7" fmla="*/ 258484 h 753"/>
                <a:gd name="T8" fmla="*/ 232395 w 962"/>
                <a:gd name="T9" fmla="*/ 258484 h 753"/>
                <a:gd name="T10" fmla="*/ 28420 w 962"/>
                <a:gd name="T11" fmla="*/ 105989 h 753"/>
                <a:gd name="T12" fmla="*/ 298229 w 962"/>
                <a:gd name="T13" fmla="*/ 74265 h 753"/>
                <a:gd name="T14" fmla="*/ 311539 w 962"/>
                <a:gd name="T15" fmla="*/ 157542 h 753"/>
                <a:gd name="T16" fmla="*/ 182751 w 962"/>
                <a:gd name="T17" fmla="*/ 45784 h 753"/>
                <a:gd name="T18" fmla="*/ 183830 w 962"/>
                <a:gd name="T19" fmla="*/ 13339 h 753"/>
                <a:gd name="T20" fmla="*/ 119076 w 962"/>
                <a:gd name="T21" fmla="*/ 63089 h 753"/>
                <a:gd name="T22" fmla="*/ 238151 w 962"/>
                <a:gd name="T23" fmla="*/ 44703 h 753"/>
                <a:gd name="T24" fmla="*/ 222682 w 962"/>
                <a:gd name="T25" fmla="*/ 29562 h 753"/>
                <a:gd name="T26" fmla="*/ 220884 w 962"/>
                <a:gd name="T27" fmla="*/ 66694 h 753"/>
                <a:gd name="T28" fmla="*/ 191385 w 962"/>
                <a:gd name="T29" fmla="*/ 89766 h 753"/>
                <a:gd name="T30" fmla="*/ 183830 w 962"/>
                <a:gd name="T31" fmla="*/ 111757 h 753"/>
                <a:gd name="T32" fmla="*/ 252181 w 962"/>
                <a:gd name="T33" fmla="*/ 193592 h 753"/>
                <a:gd name="T34" fmla="*/ 133106 w 962"/>
                <a:gd name="T35" fmla="*/ 172683 h 753"/>
                <a:gd name="T36" fmla="*/ 160806 w 962"/>
                <a:gd name="T37" fmla="*/ 132667 h 753"/>
                <a:gd name="T38" fmla="*/ 144618 w 962"/>
                <a:gd name="T39" fmla="*/ 79312 h 753"/>
                <a:gd name="T40" fmla="*/ 112241 w 962"/>
                <a:gd name="T41" fmla="*/ 53355 h 753"/>
                <a:gd name="T42" fmla="*/ 164763 w 962"/>
                <a:gd name="T43" fmla="*/ 3605 h 753"/>
                <a:gd name="T44" fmla="*/ 200018 w 962"/>
                <a:gd name="T45" fmla="*/ 83998 h 753"/>
                <a:gd name="T46" fmla="*/ 198220 w 962"/>
                <a:gd name="T47" fmla="*/ 84719 h 753"/>
                <a:gd name="T48" fmla="*/ 283839 w 962"/>
                <a:gd name="T49" fmla="*/ 113560 h 753"/>
                <a:gd name="T50" fmla="*/ 229518 w 962"/>
                <a:gd name="T51" fmla="*/ 63089 h 753"/>
                <a:gd name="T52" fmla="*/ 239950 w 962"/>
                <a:gd name="T53" fmla="*/ 100221 h 753"/>
                <a:gd name="T54" fmla="*/ 235273 w 962"/>
                <a:gd name="T55" fmla="*/ 75346 h 753"/>
                <a:gd name="T56" fmla="*/ 235273 w 962"/>
                <a:gd name="T57" fmla="*/ 81835 h 753"/>
                <a:gd name="T58" fmla="*/ 229518 w 962"/>
                <a:gd name="T59" fmla="*/ 63089 h 753"/>
                <a:gd name="T60" fmla="*/ 237072 w 962"/>
                <a:gd name="T61" fmla="*/ 106710 h 753"/>
                <a:gd name="T62" fmla="*/ 225560 w 962"/>
                <a:gd name="T63" fmla="*/ 106710 h 753"/>
                <a:gd name="T64" fmla="*/ 206494 w 962"/>
                <a:gd name="T65" fmla="*/ 94453 h 753"/>
                <a:gd name="T66" fmla="*/ 204695 w 962"/>
                <a:gd name="T67" fmla="*/ 149611 h 753"/>
                <a:gd name="T68" fmla="*/ 235273 w 962"/>
                <a:gd name="T69" fmla="*/ 97337 h 753"/>
                <a:gd name="T70" fmla="*/ 227719 w 962"/>
                <a:gd name="T71" fmla="*/ 92650 h 753"/>
                <a:gd name="T72" fmla="*/ 220884 w 962"/>
                <a:gd name="T73" fmla="*/ 92650 h 753"/>
                <a:gd name="T74" fmla="*/ 221963 w 962"/>
                <a:gd name="T75" fmla="*/ 70659 h 753"/>
                <a:gd name="T76" fmla="*/ 212250 w 962"/>
                <a:gd name="T77" fmla="*/ 139156 h 753"/>
                <a:gd name="T78" fmla="*/ 223762 w 962"/>
                <a:gd name="T79" fmla="*/ 130864 h 753"/>
                <a:gd name="T80" fmla="*/ 223762 w 962"/>
                <a:gd name="T81" fmla="*/ 118246 h 753"/>
                <a:gd name="T82" fmla="*/ 221963 w 962"/>
                <a:gd name="T83" fmla="*/ 183138 h 753"/>
                <a:gd name="T84" fmla="*/ 219804 w 962"/>
                <a:gd name="T85" fmla="*/ 187824 h 753"/>
                <a:gd name="T86" fmla="*/ 224841 w 962"/>
                <a:gd name="T87" fmla="*/ 164031 h 753"/>
                <a:gd name="T88" fmla="*/ 125551 w 962"/>
                <a:gd name="T89" fmla="*/ 161147 h 753"/>
                <a:gd name="T90" fmla="*/ 114399 w 962"/>
                <a:gd name="T91" fmla="*/ 121130 h 753"/>
                <a:gd name="T92" fmla="*/ 122673 w 962"/>
                <a:gd name="T93" fmla="*/ 126899 h 753"/>
                <a:gd name="T94" fmla="*/ 127710 w 962"/>
                <a:gd name="T95" fmla="*/ 116444 h 753"/>
                <a:gd name="T96" fmla="*/ 119795 w 962"/>
                <a:gd name="T97" fmla="*/ 111757 h 753"/>
                <a:gd name="T98" fmla="*/ 141740 w 962"/>
                <a:gd name="T99" fmla="*/ 126899 h 753"/>
                <a:gd name="T100" fmla="*/ 152172 w 962"/>
                <a:gd name="T101" fmla="*/ 128701 h 753"/>
                <a:gd name="T102" fmla="*/ 130588 w 962"/>
                <a:gd name="T103" fmla="*/ 94453 h 753"/>
                <a:gd name="T104" fmla="*/ 121954 w 962"/>
                <a:gd name="T105" fmla="*/ 100221 h 753"/>
                <a:gd name="T106" fmla="*/ 112241 w 962"/>
                <a:gd name="T107" fmla="*/ 174486 h 753"/>
                <a:gd name="T108" fmla="*/ 91375 w 962"/>
                <a:gd name="T109" fmla="*/ 143121 h 753"/>
                <a:gd name="T110" fmla="*/ 74108 w 962"/>
                <a:gd name="T111" fmla="*/ 140237 h 753"/>
                <a:gd name="T112" fmla="*/ 74108 w 962"/>
                <a:gd name="T113" fmla="*/ 150692 h 753"/>
                <a:gd name="T114" fmla="*/ 85619 w 962"/>
                <a:gd name="T115" fmla="*/ 159344 h 753"/>
                <a:gd name="T116" fmla="*/ 83821 w 962"/>
                <a:gd name="T117" fmla="*/ 142040 h 753"/>
                <a:gd name="T118" fmla="*/ 219804 w 962"/>
                <a:gd name="T119" fmla="*/ 81114 h 753"/>
                <a:gd name="T120" fmla="*/ 219085 w 962"/>
                <a:gd name="T121" fmla="*/ 85801 h 753"/>
                <a:gd name="T122" fmla="*/ 164763 w 962"/>
                <a:gd name="T123" fmla="*/ 100942 h 75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962" h="753">
                  <a:moveTo>
                    <a:pt x="837" y="140"/>
                  </a:moveTo>
                  <a:cubicBezTo>
                    <a:pt x="823" y="77"/>
                    <a:pt x="776" y="26"/>
                    <a:pt x="717" y="16"/>
                  </a:cubicBezTo>
                  <a:cubicBezTo>
                    <a:pt x="747" y="34"/>
                    <a:pt x="752" y="63"/>
                    <a:pt x="770" y="84"/>
                  </a:cubicBezTo>
                  <a:cubicBezTo>
                    <a:pt x="789" y="106"/>
                    <a:pt x="818" y="119"/>
                    <a:pt x="837" y="140"/>
                  </a:cubicBezTo>
                  <a:close/>
                  <a:moveTo>
                    <a:pt x="209" y="95"/>
                  </a:moveTo>
                  <a:cubicBezTo>
                    <a:pt x="196" y="119"/>
                    <a:pt x="132" y="130"/>
                    <a:pt x="100" y="196"/>
                  </a:cubicBezTo>
                  <a:cubicBezTo>
                    <a:pt x="116" y="159"/>
                    <a:pt x="108" y="100"/>
                    <a:pt x="135" y="69"/>
                  </a:cubicBezTo>
                  <a:cubicBezTo>
                    <a:pt x="58" y="124"/>
                    <a:pt x="90" y="214"/>
                    <a:pt x="87" y="243"/>
                  </a:cubicBezTo>
                  <a:cubicBezTo>
                    <a:pt x="127" y="159"/>
                    <a:pt x="185" y="177"/>
                    <a:pt x="209" y="95"/>
                  </a:cubicBezTo>
                  <a:close/>
                  <a:moveTo>
                    <a:pt x="175" y="574"/>
                  </a:moveTo>
                  <a:cubicBezTo>
                    <a:pt x="140" y="537"/>
                    <a:pt x="69" y="527"/>
                    <a:pt x="39" y="468"/>
                  </a:cubicBezTo>
                  <a:cubicBezTo>
                    <a:pt x="77" y="611"/>
                    <a:pt x="172" y="582"/>
                    <a:pt x="214" y="611"/>
                  </a:cubicBezTo>
                  <a:cubicBezTo>
                    <a:pt x="180" y="561"/>
                    <a:pt x="209" y="527"/>
                    <a:pt x="156" y="447"/>
                  </a:cubicBezTo>
                  <a:cubicBezTo>
                    <a:pt x="164" y="482"/>
                    <a:pt x="143" y="529"/>
                    <a:pt x="175" y="574"/>
                  </a:cubicBezTo>
                  <a:close/>
                  <a:moveTo>
                    <a:pt x="132" y="355"/>
                  </a:moveTo>
                  <a:cubicBezTo>
                    <a:pt x="130" y="397"/>
                    <a:pt x="100" y="418"/>
                    <a:pt x="119" y="498"/>
                  </a:cubicBezTo>
                  <a:cubicBezTo>
                    <a:pt x="85" y="431"/>
                    <a:pt x="32" y="408"/>
                    <a:pt x="18" y="360"/>
                  </a:cubicBezTo>
                  <a:cubicBezTo>
                    <a:pt x="21" y="484"/>
                    <a:pt x="122" y="503"/>
                    <a:pt x="145" y="537"/>
                  </a:cubicBezTo>
                  <a:cubicBezTo>
                    <a:pt x="124" y="458"/>
                    <a:pt x="161" y="431"/>
                    <a:pt x="132" y="355"/>
                  </a:cubicBezTo>
                  <a:close/>
                  <a:moveTo>
                    <a:pt x="206" y="532"/>
                  </a:moveTo>
                  <a:cubicBezTo>
                    <a:pt x="225" y="558"/>
                    <a:pt x="206" y="593"/>
                    <a:pt x="262" y="646"/>
                  </a:cubicBezTo>
                  <a:cubicBezTo>
                    <a:pt x="206" y="614"/>
                    <a:pt x="132" y="627"/>
                    <a:pt x="95" y="585"/>
                  </a:cubicBezTo>
                  <a:cubicBezTo>
                    <a:pt x="159" y="704"/>
                    <a:pt x="267" y="654"/>
                    <a:pt x="299" y="670"/>
                  </a:cubicBezTo>
                  <a:cubicBezTo>
                    <a:pt x="270" y="630"/>
                    <a:pt x="288" y="606"/>
                    <a:pt x="206" y="532"/>
                  </a:cubicBezTo>
                  <a:close/>
                  <a:moveTo>
                    <a:pt x="754" y="532"/>
                  </a:moveTo>
                  <a:cubicBezTo>
                    <a:pt x="672" y="606"/>
                    <a:pt x="691" y="630"/>
                    <a:pt x="662" y="670"/>
                  </a:cubicBezTo>
                  <a:cubicBezTo>
                    <a:pt x="694" y="654"/>
                    <a:pt x="802" y="704"/>
                    <a:pt x="866" y="585"/>
                  </a:cubicBezTo>
                  <a:cubicBezTo>
                    <a:pt x="829" y="627"/>
                    <a:pt x="754" y="614"/>
                    <a:pt x="699" y="646"/>
                  </a:cubicBezTo>
                  <a:cubicBezTo>
                    <a:pt x="754" y="593"/>
                    <a:pt x="736" y="558"/>
                    <a:pt x="754" y="532"/>
                  </a:cubicBezTo>
                  <a:close/>
                  <a:moveTo>
                    <a:pt x="805" y="447"/>
                  </a:moveTo>
                  <a:cubicBezTo>
                    <a:pt x="752" y="527"/>
                    <a:pt x="781" y="561"/>
                    <a:pt x="747" y="611"/>
                  </a:cubicBezTo>
                  <a:cubicBezTo>
                    <a:pt x="789" y="580"/>
                    <a:pt x="884" y="609"/>
                    <a:pt x="921" y="468"/>
                  </a:cubicBezTo>
                  <a:cubicBezTo>
                    <a:pt x="892" y="527"/>
                    <a:pt x="821" y="537"/>
                    <a:pt x="786" y="574"/>
                  </a:cubicBezTo>
                  <a:cubicBezTo>
                    <a:pt x="818" y="529"/>
                    <a:pt x="799" y="482"/>
                    <a:pt x="805" y="447"/>
                  </a:cubicBezTo>
                  <a:close/>
                  <a:moveTo>
                    <a:pt x="564" y="662"/>
                  </a:moveTo>
                  <a:cubicBezTo>
                    <a:pt x="532" y="662"/>
                    <a:pt x="506" y="667"/>
                    <a:pt x="482" y="675"/>
                  </a:cubicBezTo>
                  <a:cubicBezTo>
                    <a:pt x="458" y="667"/>
                    <a:pt x="431" y="659"/>
                    <a:pt x="400" y="662"/>
                  </a:cubicBezTo>
                  <a:cubicBezTo>
                    <a:pt x="376" y="662"/>
                    <a:pt x="341" y="667"/>
                    <a:pt x="310" y="675"/>
                  </a:cubicBezTo>
                  <a:cubicBezTo>
                    <a:pt x="259" y="688"/>
                    <a:pt x="217" y="699"/>
                    <a:pt x="180" y="680"/>
                  </a:cubicBezTo>
                  <a:cubicBezTo>
                    <a:pt x="217" y="712"/>
                    <a:pt x="257" y="723"/>
                    <a:pt x="318" y="717"/>
                  </a:cubicBezTo>
                  <a:cubicBezTo>
                    <a:pt x="368" y="712"/>
                    <a:pt x="408" y="686"/>
                    <a:pt x="455" y="688"/>
                  </a:cubicBezTo>
                  <a:lnTo>
                    <a:pt x="458" y="688"/>
                  </a:lnTo>
                  <a:cubicBezTo>
                    <a:pt x="408" y="715"/>
                    <a:pt x="378" y="749"/>
                    <a:pt x="378" y="749"/>
                  </a:cubicBezTo>
                  <a:lnTo>
                    <a:pt x="402" y="752"/>
                  </a:lnTo>
                  <a:cubicBezTo>
                    <a:pt x="402" y="752"/>
                    <a:pt x="426" y="704"/>
                    <a:pt x="482" y="691"/>
                  </a:cubicBezTo>
                  <a:cubicBezTo>
                    <a:pt x="537" y="704"/>
                    <a:pt x="561" y="752"/>
                    <a:pt x="561" y="752"/>
                  </a:cubicBezTo>
                  <a:lnTo>
                    <a:pt x="585" y="749"/>
                  </a:lnTo>
                  <a:cubicBezTo>
                    <a:pt x="585" y="749"/>
                    <a:pt x="556" y="715"/>
                    <a:pt x="506" y="688"/>
                  </a:cubicBezTo>
                  <a:lnTo>
                    <a:pt x="508" y="688"/>
                  </a:lnTo>
                  <a:cubicBezTo>
                    <a:pt x="556" y="688"/>
                    <a:pt x="596" y="712"/>
                    <a:pt x="646" y="717"/>
                  </a:cubicBezTo>
                  <a:cubicBezTo>
                    <a:pt x="707" y="723"/>
                    <a:pt x="749" y="712"/>
                    <a:pt x="784" y="680"/>
                  </a:cubicBezTo>
                  <a:cubicBezTo>
                    <a:pt x="747" y="699"/>
                    <a:pt x="704" y="688"/>
                    <a:pt x="654" y="675"/>
                  </a:cubicBezTo>
                  <a:cubicBezTo>
                    <a:pt x="622" y="667"/>
                    <a:pt x="588" y="662"/>
                    <a:pt x="564" y="662"/>
                  </a:cubicBezTo>
                  <a:close/>
                  <a:moveTo>
                    <a:pt x="87" y="397"/>
                  </a:moveTo>
                  <a:cubicBezTo>
                    <a:pt x="71" y="325"/>
                    <a:pt x="29" y="299"/>
                    <a:pt x="29" y="251"/>
                  </a:cubicBezTo>
                  <a:cubicBezTo>
                    <a:pt x="0" y="370"/>
                    <a:pt x="77" y="386"/>
                    <a:pt x="95" y="437"/>
                  </a:cubicBezTo>
                  <a:cubicBezTo>
                    <a:pt x="95" y="365"/>
                    <a:pt x="140" y="352"/>
                    <a:pt x="137" y="267"/>
                  </a:cubicBezTo>
                  <a:cubicBezTo>
                    <a:pt x="116" y="307"/>
                    <a:pt x="85" y="315"/>
                    <a:pt x="87" y="397"/>
                  </a:cubicBezTo>
                  <a:close/>
                  <a:moveTo>
                    <a:pt x="135" y="204"/>
                  </a:moveTo>
                  <a:cubicBezTo>
                    <a:pt x="108" y="225"/>
                    <a:pt x="87" y="254"/>
                    <a:pt x="79" y="294"/>
                  </a:cubicBezTo>
                  <a:cubicBezTo>
                    <a:pt x="82" y="249"/>
                    <a:pt x="53" y="185"/>
                    <a:pt x="71" y="140"/>
                  </a:cubicBezTo>
                  <a:cubicBezTo>
                    <a:pt x="0" y="238"/>
                    <a:pt x="77" y="299"/>
                    <a:pt x="77" y="333"/>
                  </a:cubicBezTo>
                  <a:cubicBezTo>
                    <a:pt x="98" y="267"/>
                    <a:pt x="137" y="267"/>
                    <a:pt x="167" y="175"/>
                  </a:cubicBezTo>
                  <a:cubicBezTo>
                    <a:pt x="159" y="185"/>
                    <a:pt x="153" y="188"/>
                    <a:pt x="135" y="204"/>
                  </a:cubicBezTo>
                  <a:close/>
                  <a:moveTo>
                    <a:pt x="829" y="206"/>
                  </a:moveTo>
                  <a:cubicBezTo>
                    <a:pt x="810" y="190"/>
                    <a:pt x="805" y="185"/>
                    <a:pt x="797" y="177"/>
                  </a:cubicBezTo>
                  <a:cubicBezTo>
                    <a:pt x="823" y="270"/>
                    <a:pt x="866" y="270"/>
                    <a:pt x="884" y="339"/>
                  </a:cubicBezTo>
                  <a:cubicBezTo>
                    <a:pt x="887" y="302"/>
                    <a:pt x="961" y="243"/>
                    <a:pt x="892" y="145"/>
                  </a:cubicBezTo>
                  <a:cubicBezTo>
                    <a:pt x="908" y="188"/>
                    <a:pt x="882" y="251"/>
                    <a:pt x="884" y="296"/>
                  </a:cubicBezTo>
                  <a:cubicBezTo>
                    <a:pt x="876" y="257"/>
                    <a:pt x="855" y="227"/>
                    <a:pt x="829" y="206"/>
                  </a:cubicBezTo>
                  <a:close/>
                  <a:moveTo>
                    <a:pt x="842" y="498"/>
                  </a:moveTo>
                  <a:cubicBezTo>
                    <a:pt x="860" y="418"/>
                    <a:pt x="831" y="400"/>
                    <a:pt x="829" y="355"/>
                  </a:cubicBezTo>
                  <a:cubicBezTo>
                    <a:pt x="799" y="431"/>
                    <a:pt x="837" y="458"/>
                    <a:pt x="815" y="537"/>
                  </a:cubicBezTo>
                  <a:cubicBezTo>
                    <a:pt x="842" y="503"/>
                    <a:pt x="942" y="484"/>
                    <a:pt x="942" y="360"/>
                  </a:cubicBezTo>
                  <a:cubicBezTo>
                    <a:pt x="927" y="405"/>
                    <a:pt x="874" y="431"/>
                    <a:pt x="842" y="498"/>
                  </a:cubicBezTo>
                  <a:close/>
                  <a:moveTo>
                    <a:pt x="866" y="437"/>
                  </a:moveTo>
                  <a:cubicBezTo>
                    <a:pt x="884" y="386"/>
                    <a:pt x="961" y="373"/>
                    <a:pt x="932" y="251"/>
                  </a:cubicBezTo>
                  <a:cubicBezTo>
                    <a:pt x="932" y="296"/>
                    <a:pt x="892" y="325"/>
                    <a:pt x="874" y="397"/>
                  </a:cubicBezTo>
                  <a:cubicBezTo>
                    <a:pt x="876" y="318"/>
                    <a:pt x="844" y="307"/>
                    <a:pt x="826" y="267"/>
                  </a:cubicBezTo>
                  <a:cubicBezTo>
                    <a:pt x="823" y="349"/>
                    <a:pt x="868" y="365"/>
                    <a:pt x="866" y="437"/>
                  </a:cubicBezTo>
                  <a:close/>
                  <a:moveTo>
                    <a:pt x="243" y="13"/>
                  </a:moveTo>
                  <a:cubicBezTo>
                    <a:pt x="188" y="26"/>
                    <a:pt x="137" y="77"/>
                    <a:pt x="124" y="137"/>
                  </a:cubicBezTo>
                  <a:cubicBezTo>
                    <a:pt x="143" y="119"/>
                    <a:pt x="175" y="106"/>
                    <a:pt x="193" y="84"/>
                  </a:cubicBezTo>
                  <a:cubicBezTo>
                    <a:pt x="212" y="63"/>
                    <a:pt x="217" y="34"/>
                    <a:pt x="243" y="13"/>
                  </a:cubicBezTo>
                  <a:close/>
                  <a:moveTo>
                    <a:pt x="876" y="243"/>
                  </a:moveTo>
                  <a:cubicBezTo>
                    <a:pt x="871" y="214"/>
                    <a:pt x="905" y="124"/>
                    <a:pt x="829" y="66"/>
                  </a:cubicBezTo>
                  <a:cubicBezTo>
                    <a:pt x="855" y="98"/>
                    <a:pt x="847" y="156"/>
                    <a:pt x="863" y="193"/>
                  </a:cubicBezTo>
                  <a:cubicBezTo>
                    <a:pt x="831" y="130"/>
                    <a:pt x="768" y="119"/>
                    <a:pt x="754" y="95"/>
                  </a:cubicBezTo>
                  <a:cubicBezTo>
                    <a:pt x="778" y="177"/>
                    <a:pt x="837" y="159"/>
                    <a:pt x="876" y="243"/>
                  </a:cubicBezTo>
                  <a:close/>
                  <a:moveTo>
                    <a:pt x="508" y="127"/>
                  </a:moveTo>
                  <a:lnTo>
                    <a:pt x="508" y="137"/>
                  </a:lnTo>
                  <a:cubicBezTo>
                    <a:pt x="524" y="140"/>
                    <a:pt x="537" y="143"/>
                    <a:pt x="551" y="148"/>
                  </a:cubicBezTo>
                  <a:cubicBezTo>
                    <a:pt x="553" y="148"/>
                    <a:pt x="553" y="145"/>
                    <a:pt x="556" y="140"/>
                  </a:cubicBezTo>
                  <a:cubicBezTo>
                    <a:pt x="540" y="135"/>
                    <a:pt x="527" y="130"/>
                    <a:pt x="508" y="127"/>
                  </a:cubicBezTo>
                  <a:close/>
                  <a:moveTo>
                    <a:pt x="543" y="39"/>
                  </a:moveTo>
                  <a:lnTo>
                    <a:pt x="545" y="37"/>
                  </a:lnTo>
                  <a:lnTo>
                    <a:pt x="540" y="34"/>
                  </a:lnTo>
                  <a:lnTo>
                    <a:pt x="524" y="34"/>
                  </a:lnTo>
                  <a:lnTo>
                    <a:pt x="519" y="37"/>
                  </a:lnTo>
                  <a:lnTo>
                    <a:pt x="511" y="37"/>
                  </a:lnTo>
                  <a:lnTo>
                    <a:pt x="511" y="39"/>
                  </a:lnTo>
                  <a:cubicBezTo>
                    <a:pt x="516" y="39"/>
                    <a:pt x="521" y="39"/>
                    <a:pt x="527" y="42"/>
                  </a:cubicBezTo>
                  <a:lnTo>
                    <a:pt x="535" y="42"/>
                  </a:lnTo>
                  <a:lnTo>
                    <a:pt x="543" y="39"/>
                  </a:lnTo>
                  <a:close/>
                  <a:moveTo>
                    <a:pt x="506" y="370"/>
                  </a:moveTo>
                  <a:lnTo>
                    <a:pt x="506" y="389"/>
                  </a:lnTo>
                  <a:cubicBezTo>
                    <a:pt x="508" y="384"/>
                    <a:pt x="513" y="381"/>
                    <a:pt x="513" y="378"/>
                  </a:cubicBezTo>
                  <a:cubicBezTo>
                    <a:pt x="513" y="376"/>
                    <a:pt x="511" y="373"/>
                    <a:pt x="506" y="370"/>
                  </a:cubicBezTo>
                  <a:close/>
                  <a:moveTo>
                    <a:pt x="331" y="180"/>
                  </a:moveTo>
                  <a:lnTo>
                    <a:pt x="331" y="175"/>
                  </a:lnTo>
                  <a:lnTo>
                    <a:pt x="325" y="175"/>
                  </a:lnTo>
                  <a:lnTo>
                    <a:pt x="331" y="180"/>
                  </a:lnTo>
                  <a:close/>
                  <a:moveTo>
                    <a:pt x="802" y="318"/>
                  </a:moveTo>
                  <a:cubicBezTo>
                    <a:pt x="802" y="153"/>
                    <a:pt x="675" y="16"/>
                    <a:pt x="516" y="0"/>
                  </a:cubicBezTo>
                  <a:lnTo>
                    <a:pt x="516" y="2"/>
                  </a:lnTo>
                  <a:cubicBezTo>
                    <a:pt x="516" y="5"/>
                    <a:pt x="516" y="8"/>
                    <a:pt x="513" y="10"/>
                  </a:cubicBezTo>
                  <a:cubicBezTo>
                    <a:pt x="585" y="18"/>
                    <a:pt x="651" y="50"/>
                    <a:pt x="699" y="98"/>
                  </a:cubicBezTo>
                  <a:lnTo>
                    <a:pt x="664" y="132"/>
                  </a:lnTo>
                  <a:lnTo>
                    <a:pt x="667" y="127"/>
                  </a:lnTo>
                  <a:lnTo>
                    <a:pt x="662" y="124"/>
                  </a:lnTo>
                  <a:lnTo>
                    <a:pt x="656" y="124"/>
                  </a:lnTo>
                  <a:lnTo>
                    <a:pt x="659" y="119"/>
                  </a:lnTo>
                  <a:lnTo>
                    <a:pt x="654" y="106"/>
                  </a:lnTo>
                  <a:lnTo>
                    <a:pt x="646" y="95"/>
                  </a:lnTo>
                  <a:lnTo>
                    <a:pt x="638" y="91"/>
                  </a:lnTo>
                  <a:lnTo>
                    <a:pt x="638" y="87"/>
                  </a:lnTo>
                  <a:lnTo>
                    <a:pt x="635" y="82"/>
                  </a:lnTo>
                  <a:lnTo>
                    <a:pt x="627" y="79"/>
                  </a:lnTo>
                  <a:lnTo>
                    <a:pt x="623" y="84"/>
                  </a:lnTo>
                  <a:lnTo>
                    <a:pt x="619" y="82"/>
                  </a:lnTo>
                  <a:lnTo>
                    <a:pt x="617" y="84"/>
                  </a:lnTo>
                  <a:lnTo>
                    <a:pt x="611" y="87"/>
                  </a:lnTo>
                  <a:cubicBezTo>
                    <a:pt x="622" y="100"/>
                    <a:pt x="627" y="116"/>
                    <a:pt x="627" y="132"/>
                  </a:cubicBezTo>
                  <a:lnTo>
                    <a:pt x="627" y="137"/>
                  </a:lnTo>
                  <a:lnTo>
                    <a:pt x="641" y="153"/>
                  </a:lnTo>
                  <a:lnTo>
                    <a:pt x="635" y="156"/>
                  </a:lnTo>
                  <a:lnTo>
                    <a:pt x="641" y="161"/>
                  </a:lnTo>
                  <a:lnTo>
                    <a:pt x="627" y="175"/>
                  </a:lnTo>
                  <a:lnTo>
                    <a:pt x="622" y="167"/>
                  </a:lnTo>
                  <a:cubicBezTo>
                    <a:pt x="619" y="172"/>
                    <a:pt x="617" y="180"/>
                    <a:pt x="614" y="185"/>
                  </a:cubicBezTo>
                  <a:lnTo>
                    <a:pt x="617" y="188"/>
                  </a:lnTo>
                  <a:lnTo>
                    <a:pt x="580" y="225"/>
                  </a:lnTo>
                  <a:cubicBezTo>
                    <a:pt x="577" y="222"/>
                    <a:pt x="574" y="220"/>
                    <a:pt x="572" y="220"/>
                  </a:cubicBezTo>
                  <a:cubicBezTo>
                    <a:pt x="569" y="222"/>
                    <a:pt x="564" y="222"/>
                    <a:pt x="561" y="225"/>
                  </a:cubicBezTo>
                  <a:lnTo>
                    <a:pt x="564" y="227"/>
                  </a:lnTo>
                  <a:cubicBezTo>
                    <a:pt x="564" y="227"/>
                    <a:pt x="566" y="227"/>
                    <a:pt x="566" y="230"/>
                  </a:cubicBezTo>
                  <a:lnTo>
                    <a:pt x="551" y="246"/>
                  </a:lnTo>
                  <a:lnTo>
                    <a:pt x="551" y="243"/>
                  </a:lnTo>
                  <a:lnTo>
                    <a:pt x="535" y="246"/>
                  </a:lnTo>
                  <a:lnTo>
                    <a:pt x="532" y="249"/>
                  </a:lnTo>
                  <a:lnTo>
                    <a:pt x="531" y="249"/>
                  </a:lnTo>
                  <a:lnTo>
                    <a:pt x="529" y="251"/>
                  </a:lnTo>
                  <a:lnTo>
                    <a:pt x="532" y="251"/>
                  </a:lnTo>
                  <a:lnTo>
                    <a:pt x="532" y="257"/>
                  </a:lnTo>
                  <a:lnTo>
                    <a:pt x="535" y="257"/>
                  </a:lnTo>
                  <a:lnTo>
                    <a:pt x="535" y="262"/>
                  </a:lnTo>
                  <a:lnTo>
                    <a:pt x="529" y="262"/>
                  </a:lnTo>
                  <a:lnTo>
                    <a:pt x="524" y="262"/>
                  </a:lnTo>
                  <a:lnTo>
                    <a:pt x="511" y="254"/>
                  </a:lnTo>
                  <a:lnTo>
                    <a:pt x="511" y="310"/>
                  </a:lnTo>
                  <a:cubicBezTo>
                    <a:pt x="543" y="320"/>
                    <a:pt x="577" y="336"/>
                    <a:pt x="577" y="376"/>
                  </a:cubicBezTo>
                  <a:cubicBezTo>
                    <a:pt x="577" y="394"/>
                    <a:pt x="569" y="408"/>
                    <a:pt x="553" y="418"/>
                  </a:cubicBezTo>
                  <a:cubicBezTo>
                    <a:pt x="540" y="426"/>
                    <a:pt x="524" y="431"/>
                    <a:pt x="508" y="437"/>
                  </a:cubicBezTo>
                  <a:lnTo>
                    <a:pt x="508" y="466"/>
                  </a:lnTo>
                  <a:cubicBezTo>
                    <a:pt x="532" y="476"/>
                    <a:pt x="558" y="495"/>
                    <a:pt x="556" y="540"/>
                  </a:cubicBezTo>
                  <a:cubicBezTo>
                    <a:pt x="556" y="551"/>
                    <a:pt x="551" y="556"/>
                    <a:pt x="548" y="556"/>
                  </a:cubicBezTo>
                  <a:cubicBezTo>
                    <a:pt x="535" y="558"/>
                    <a:pt x="521" y="561"/>
                    <a:pt x="506" y="561"/>
                  </a:cubicBezTo>
                  <a:lnTo>
                    <a:pt x="506" y="572"/>
                  </a:lnTo>
                  <a:cubicBezTo>
                    <a:pt x="566" y="566"/>
                    <a:pt x="622" y="543"/>
                    <a:pt x="664" y="500"/>
                  </a:cubicBezTo>
                  <a:lnTo>
                    <a:pt x="701" y="537"/>
                  </a:lnTo>
                  <a:cubicBezTo>
                    <a:pt x="646" y="590"/>
                    <a:pt x="572" y="625"/>
                    <a:pt x="487" y="625"/>
                  </a:cubicBezTo>
                  <a:cubicBezTo>
                    <a:pt x="405" y="625"/>
                    <a:pt x="328" y="593"/>
                    <a:pt x="275" y="540"/>
                  </a:cubicBezTo>
                  <a:lnTo>
                    <a:pt x="312" y="503"/>
                  </a:lnTo>
                  <a:cubicBezTo>
                    <a:pt x="355" y="543"/>
                    <a:pt x="408" y="569"/>
                    <a:pt x="468" y="572"/>
                  </a:cubicBezTo>
                  <a:lnTo>
                    <a:pt x="468" y="561"/>
                  </a:lnTo>
                  <a:cubicBezTo>
                    <a:pt x="410" y="556"/>
                    <a:pt x="360" y="532"/>
                    <a:pt x="320" y="495"/>
                  </a:cubicBezTo>
                  <a:lnTo>
                    <a:pt x="331" y="484"/>
                  </a:lnTo>
                  <a:lnTo>
                    <a:pt x="344" y="487"/>
                  </a:lnTo>
                  <a:lnTo>
                    <a:pt x="352" y="479"/>
                  </a:lnTo>
                  <a:lnTo>
                    <a:pt x="370" y="479"/>
                  </a:lnTo>
                  <a:lnTo>
                    <a:pt x="373" y="474"/>
                  </a:lnTo>
                  <a:lnTo>
                    <a:pt x="373" y="471"/>
                  </a:lnTo>
                  <a:cubicBezTo>
                    <a:pt x="400" y="492"/>
                    <a:pt x="434" y="506"/>
                    <a:pt x="471" y="508"/>
                  </a:cubicBezTo>
                  <a:lnTo>
                    <a:pt x="471" y="498"/>
                  </a:lnTo>
                  <a:cubicBezTo>
                    <a:pt x="431" y="492"/>
                    <a:pt x="394" y="476"/>
                    <a:pt x="368" y="450"/>
                  </a:cubicBezTo>
                  <a:lnTo>
                    <a:pt x="405" y="413"/>
                  </a:lnTo>
                  <a:cubicBezTo>
                    <a:pt x="413" y="421"/>
                    <a:pt x="423" y="429"/>
                    <a:pt x="434" y="434"/>
                  </a:cubicBezTo>
                  <a:cubicBezTo>
                    <a:pt x="434" y="431"/>
                    <a:pt x="437" y="426"/>
                    <a:pt x="437" y="423"/>
                  </a:cubicBezTo>
                  <a:cubicBezTo>
                    <a:pt x="426" y="418"/>
                    <a:pt x="418" y="413"/>
                    <a:pt x="410" y="405"/>
                  </a:cubicBezTo>
                  <a:lnTo>
                    <a:pt x="447" y="368"/>
                  </a:lnTo>
                  <a:cubicBezTo>
                    <a:pt x="453" y="373"/>
                    <a:pt x="461" y="376"/>
                    <a:pt x="468" y="378"/>
                  </a:cubicBezTo>
                  <a:lnTo>
                    <a:pt x="468" y="368"/>
                  </a:lnTo>
                  <a:cubicBezTo>
                    <a:pt x="463" y="365"/>
                    <a:pt x="461" y="363"/>
                    <a:pt x="455" y="360"/>
                  </a:cubicBezTo>
                  <a:lnTo>
                    <a:pt x="466" y="349"/>
                  </a:lnTo>
                  <a:cubicBezTo>
                    <a:pt x="463" y="349"/>
                    <a:pt x="458" y="347"/>
                    <a:pt x="455" y="347"/>
                  </a:cubicBezTo>
                  <a:lnTo>
                    <a:pt x="447" y="355"/>
                  </a:lnTo>
                  <a:cubicBezTo>
                    <a:pt x="445" y="352"/>
                    <a:pt x="442" y="347"/>
                    <a:pt x="439" y="341"/>
                  </a:cubicBezTo>
                  <a:cubicBezTo>
                    <a:pt x="434" y="339"/>
                    <a:pt x="426" y="336"/>
                    <a:pt x="421" y="331"/>
                  </a:cubicBezTo>
                  <a:cubicBezTo>
                    <a:pt x="397" y="315"/>
                    <a:pt x="386" y="294"/>
                    <a:pt x="386" y="267"/>
                  </a:cubicBezTo>
                  <a:cubicBezTo>
                    <a:pt x="386" y="246"/>
                    <a:pt x="392" y="230"/>
                    <a:pt x="402" y="220"/>
                  </a:cubicBezTo>
                  <a:lnTo>
                    <a:pt x="365" y="182"/>
                  </a:lnTo>
                  <a:cubicBezTo>
                    <a:pt x="392" y="156"/>
                    <a:pt x="426" y="140"/>
                    <a:pt x="463" y="135"/>
                  </a:cubicBezTo>
                  <a:lnTo>
                    <a:pt x="463" y="124"/>
                  </a:lnTo>
                  <a:cubicBezTo>
                    <a:pt x="423" y="130"/>
                    <a:pt x="386" y="148"/>
                    <a:pt x="357" y="177"/>
                  </a:cubicBezTo>
                  <a:lnTo>
                    <a:pt x="352" y="172"/>
                  </a:lnTo>
                  <a:cubicBezTo>
                    <a:pt x="349" y="175"/>
                    <a:pt x="349" y="177"/>
                    <a:pt x="347" y="182"/>
                  </a:cubicBezTo>
                  <a:lnTo>
                    <a:pt x="349" y="185"/>
                  </a:lnTo>
                  <a:cubicBezTo>
                    <a:pt x="318" y="220"/>
                    <a:pt x="296" y="265"/>
                    <a:pt x="296" y="315"/>
                  </a:cubicBezTo>
                  <a:lnTo>
                    <a:pt x="243" y="315"/>
                  </a:lnTo>
                  <a:cubicBezTo>
                    <a:pt x="243" y="251"/>
                    <a:pt x="270" y="193"/>
                    <a:pt x="312" y="148"/>
                  </a:cubicBezTo>
                  <a:lnTo>
                    <a:pt x="328" y="164"/>
                  </a:lnTo>
                  <a:lnTo>
                    <a:pt x="331" y="164"/>
                  </a:lnTo>
                  <a:cubicBezTo>
                    <a:pt x="333" y="164"/>
                    <a:pt x="336" y="164"/>
                    <a:pt x="341" y="161"/>
                  </a:cubicBezTo>
                  <a:lnTo>
                    <a:pt x="320" y="140"/>
                  </a:lnTo>
                  <a:cubicBezTo>
                    <a:pt x="331" y="130"/>
                    <a:pt x="344" y="119"/>
                    <a:pt x="357" y="111"/>
                  </a:cubicBezTo>
                  <a:cubicBezTo>
                    <a:pt x="357" y="108"/>
                    <a:pt x="360" y="106"/>
                    <a:pt x="360" y="103"/>
                  </a:cubicBezTo>
                  <a:cubicBezTo>
                    <a:pt x="360" y="103"/>
                    <a:pt x="365" y="98"/>
                    <a:pt x="368" y="92"/>
                  </a:cubicBezTo>
                  <a:cubicBezTo>
                    <a:pt x="347" y="103"/>
                    <a:pt x="331" y="116"/>
                    <a:pt x="312" y="132"/>
                  </a:cubicBezTo>
                  <a:lnTo>
                    <a:pt x="275" y="95"/>
                  </a:lnTo>
                  <a:cubicBezTo>
                    <a:pt x="323" y="47"/>
                    <a:pt x="389" y="16"/>
                    <a:pt x="458" y="10"/>
                  </a:cubicBezTo>
                  <a:lnTo>
                    <a:pt x="458" y="8"/>
                  </a:lnTo>
                  <a:cubicBezTo>
                    <a:pt x="458" y="5"/>
                    <a:pt x="458" y="2"/>
                    <a:pt x="455" y="0"/>
                  </a:cubicBezTo>
                  <a:cubicBezTo>
                    <a:pt x="294" y="16"/>
                    <a:pt x="169" y="153"/>
                    <a:pt x="169" y="318"/>
                  </a:cubicBezTo>
                  <a:cubicBezTo>
                    <a:pt x="161" y="495"/>
                    <a:pt x="304" y="638"/>
                    <a:pt x="482" y="638"/>
                  </a:cubicBezTo>
                  <a:cubicBezTo>
                    <a:pt x="656" y="638"/>
                    <a:pt x="802" y="495"/>
                    <a:pt x="802" y="318"/>
                  </a:cubicBezTo>
                  <a:close/>
                  <a:moveTo>
                    <a:pt x="561" y="230"/>
                  </a:moveTo>
                  <a:lnTo>
                    <a:pt x="556" y="233"/>
                  </a:lnTo>
                  <a:lnTo>
                    <a:pt x="553" y="238"/>
                  </a:lnTo>
                  <a:lnTo>
                    <a:pt x="553" y="235"/>
                  </a:lnTo>
                  <a:lnTo>
                    <a:pt x="556" y="233"/>
                  </a:lnTo>
                  <a:lnTo>
                    <a:pt x="556" y="230"/>
                  </a:lnTo>
                  <a:lnTo>
                    <a:pt x="561" y="227"/>
                  </a:lnTo>
                  <a:lnTo>
                    <a:pt x="564" y="227"/>
                  </a:lnTo>
                  <a:lnTo>
                    <a:pt x="561" y="230"/>
                  </a:lnTo>
                  <a:close/>
                  <a:moveTo>
                    <a:pt x="551" y="235"/>
                  </a:moveTo>
                  <a:lnTo>
                    <a:pt x="543" y="238"/>
                  </a:lnTo>
                  <a:lnTo>
                    <a:pt x="545" y="241"/>
                  </a:lnTo>
                  <a:lnTo>
                    <a:pt x="551" y="238"/>
                  </a:lnTo>
                  <a:lnTo>
                    <a:pt x="553" y="238"/>
                  </a:lnTo>
                  <a:lnTo>
                    <a:pt x="551" y="235"/>
                  </a:lnTo>
                  <a:close/>
                  <a:moveTo>
                    <a:pt x="529" y="249"/>
                  </a:moveTo>
                  <a:lnTo>
                    <a:pt x="532" y="247"/>
                  </a:lnTo>
                  <a:lnTo>
                    <a:pt x="531" y="249"/>
                  </a:lnTo>
                  <a:lnTo>
                    <a:pt x="529" y="249"/>
                  </a:lnTo>
                  <a:close/>
                  <a:moveTo>
                    <a:pt x="540" y="241"/>
                  </a:moveTo>
                  <a:lnTo>
                    <a:pt x="537" y="238"/>
                  </a:lnTo>
                  <a:lnTo>
                    <a:pt x="532" y="247"/>
                  </a:lnTo>
                  <a:lnTo>
                    <a:pt x="540" y="241"/>
                  </a:lnTo>
                  <a:close/>
                  <a:moveTo>
                    <a:pt x="704" y="106"/>
                  </a:moveTo>
                  <a:cubicBezTo>
                    <a:pt x="757" y="161"/>
                    <a:pt x="789" y="235"/>
                    <a:pt x="789" y="315"/>
                  </a:cubicBezTo>
                  <a:lnTo>
                    <a:pt x="736" y="315"/>
                  </a:lnTo>
                  <a:cubicBezTo>
                    <a:pt x="736" y="275"/>
                    <a:pt x="725" y="235"/>
                    <a:pt x="709" y="204"/>
                  </a:cubicBezTo>
                  <a:lnTo>
                    <a:pt x="712" y="206"/>
                  </a:lnTo>
                  <a:lnTo>
                    <a:pt x="712" y="204"/>
                  </a:lnTo>
                  <a:lnTo>
                    <a:pt x="701" y="188"/>
                  </a:lnTo>
                  <a:lnTo>
                    <a:pt x="691" y="172"/>
                  </a:lnTo>
                  <a:lnTo>
                    <a:pt x="678" y="161"/>
                  </a:lnTo>
                  <a:cubicBezTo>
                    <a:pt x="672" y="156"/>
                    <a:pt x="670" y="151"/>
                    <a:pt x="664" y="145"/>
                  </a:cubicBezTo>
                  <a:lnTo>
                    <a:pt x="704" y="106"/>
                  </a:lnTo>
                  <a:close/>
                  <a:moveTo>
                    <a:pt x="638" y="175"/>
                  </a:moveTo>
                  <a:lnTo>
                    <a:pt x="651" y="175"/>
                  </a:lnTo>
                  <a:lnTo>
                    <a:pt x="654" y="177"/>
                  </a:lnTo>
                  <a:lnTo>
                    <a:pt x="651" y="182"/>
                  </a:lnTo>
                  <a:lnTo>
                    <a:pt x="670" y="193"/>
                  </a:lnTo>
                  <a:lnTo>
                    <a:pt x="672" y="193"/>
                  </a:lnTo>
                  <a:lnTo>
                    <a:pt x="694" y="220"/>
                  </a:lnTo>
                  <a:lnTo>
                    <a:pt x="701" y="217"/>
                  </a:lnTo>
                  <a:cubicBezTo>
                    <a:pt x="715" y="249"/>
                    <a:pt x="723" y="280"/>
                    <a:pt x="725" y="318"/>
                  </a:cubicBezTo>
                  <a:lnTo>
                    <a:pt x="672" y="318"/>
                  </a:lnTo>
                  <a:cubicBezTo>
                    <a:pt x="672" y="304"/>
                    <a:pt x="670" y="291"/>
                    <a:pt x="667" y="278"/>
                  </a:cubicBezTo>
                  <a:lnTo>
                    <a:pt x="670" y="275"/>
                  </a:lnTo>
                  <a:lnTo>
                    <a:pt x="672" y="259"/>
                  </a:lnTo>
                  <a:lnTo>
                    <a:pt x="670" y="241"/>
                  </a:lnTo>
                  <a:lnTo>
                    <a:pt x="664" y="220"/>
                  </a:lnTo>
                  <a:lnTo>
                    <a:pt x="649" y="198"/>
                  </a:lnTo>
                  <a:lnTo>
                    <a:pt x="651" y="201"/>
                  </a:lnTo>
                  <a:lnTo>
                    <a:pt x="654" y="198"/>
                  </a:lnTo>
                  <a:lnTo>
                    <a:pt x="643" y="190"/>
                  </a:lnTo>
                  <a:lnTo>
                    <a:pt x="643" y="193"/>
                  </a:lnTo>
                  <a:lnTo>
                    <a:pt x="654" y="209"/>
                  </a:lnTo>
                  <a:lnTo>
                    <a:pt x="662" y="222"/>
                  </a:lnTo>
                  <a:lnTo>
                    <a:pt x="667" y="235"/>
                  </a:lnTo>
                  <a:lnTo>
                    <a:pt x="670" y="243"/>
                  </a:lnTo>
                  <a:lnTo>
                    <a:pt x="672" y="259"/>
                  </a:lnTo>
                  <a:lnTo>
                    <a:pt x="667" y="259"/>
                  </a:lnTo>
                  <a:cubicBezTo>
                    <a:pt x="667" y="259"/>
                    <a:pt x="662" y="249"/>
                    <a:pt x="659" y="246"/>
                  </a:cubicBezTo>
                  <a:lnTo>
                    <a:pt x="662" y="243"/>
                  </a:lnTo>
                  <a:lnTo>
                    <a:pt x="656" y="238"/>
                  </a:lnTo>
                  <a:lnTo>
                    <a:pt x="656" y="233"/>
                  </a:lnTo>
                  <a:lnTo>
                    <a:pt x="654" y="227"/>
                  </a:lnTo>
                  <a:lnTo>
                    <a:pt x="649" y="227"/>
                  </a:lnTo>
                  <a:cubicBezTo>
                    <a:pt x="646" y="225"/>
                    <a:pt x="646" y="222"/>
                    <a:pt x="643" y="220"/>
                  </a:cubicBezTo>
                  <a:lnTo>
                    <a:pt x="646" y="217"/>
                  </a:lnTo>
                  <a:lnTo>
                    <a:pt x="643" y="214"/>
                  </a:lnTo>
                  <a:lnTo>
                    <a:pt x="638" y="217"/>
                  </a:lnTo>
                  <a:lnTo>
                    <a:pt x="641" y="209"/>
                  </a:lnTo>
                  <a:lnTo>
                    <a:pt x="638" y="206"/>
                  </a:lnTo>
                  <a:lnTo>
                    <a:pt x="635" y="212"/>
                  </a:lnTo>
                  <a:cubicBezTo>
                    <a:pt x="630" y="204"/>
                    <a:pt x="622" y="196"/>
                    <a:pt x="617" y="188"/>
                  </a:cubicBezTo>
                  <a:lnTo>
                    <a:pt x="638" y="175"/>
                  </a:lnTo>
                  <a:close/>
                  <a:moveTo>
                    <a:pt x="627" y="296"/>
                  </a:moveTo>
                  <a:lnTo>
                    <a:pt x="638" y="291"/>
                  </a:lnTo>
                  <a:lnTo>
                    <a:pt x="649" y="288"/>
                  </a:lnTo>
                  <a:lnTo>
                    <a:pt x="651" y="283"/>
                  </a:lnTo>
                  <a:lnTo>
                    <a:pt x="656" y="280"/>
                  </a:lnTo>
                  <a:lnTo>
                    <a:pt x="659" y="275"/>
                  </a:lnTo>
                  <a:lnTo>
                    <a:pt x="662" y="267"/>
                  </a:lnTo>
                  <a:cubicBezTo>
                    <a:pt x="662" y="270"/>
                    <a:pt x="664" y="273"/>
                    <a:pt x="664" y="275"/>
                  </a:cubicBezTo>
                  <a:lnTo>
                    <a:pt x="659" y="291"/>
                  </a:lnTo>
                  <a:lnTo>
                    <a:pt x="659" y="296"/>
                  </a:lnTo>
                  <a:lnTo>
                    <a:pt x="667" y="286"/>
                  </a:lnTo>
                  <a:cubicBezTo>
                    <a:pt x="670" y="294"/>
                    <a:pt x="670" y="304"/>
                    <a:pt x="670" y="312"/>
                  </a:cubicBezTo>
                  <a:lnTo>
                    <a:pt x="625" y="312"/>
                  </a:lnTo>
                  <a:lnTo>
                    <a:pt x="625" y="307"/>
                  </a:lnTo>
                  <a:lnTo>
                    <a:pt x="630" y="302"/>
                  </a:lnTo>
                  <a:lnTo>
                    <a:pt x="630" y="299"/>
                  </a:lnTo>
                  <a:lnTo>
                    <a:pt x="633" y="296"/>
                  </a:lnTo>
                  <a:lnTo>
                    <a:pt x="638" y="296"/>
                  </a:lnTo>
                  <a:lnTo>
                    <a:pt x="638" y="294"/>
                  </a:lnTo>
                  <a:lnTo>
                    <a:pt x="627" y="296"/>
                  </a:lnTo>
                  <a:close/>
                  <a:moveTo>
                    <a:pt x="564" y="262"/>
                  </a:moveTo>
                  <a:lnTo>
                    <a:pt x="569" y="262"/>
                  </a:lnTo>
                  <a:lnTo>
                    <a:pt x="564" y="259"/>
                  </a:lnTo>
                  <a:lnTo>
                    <a:pt x="566" y="249"/>
                  </a:lnTo>
                  <a:lnTo>
                    <a:pt x="572" y="243"/>
                  </a:lnTo>
                  <a:cubicBezTo>
                    <a:pt x="574" y="249"/>
                    <a:pt x="580" y="251"/>
                    <a:pt x="582" y="257"/>
                  </a:cubicBezTo>
                  <a:lnTo>
                    <a:pt x="580" y="262"/>
                  </a:lnTo>
                  <a:lnTo>
                    <a:pt x="574" y="259"/>
                  </a:lnTo>
                  <a:lnTo>
                    <a:pt x="572" y="259"/>
                  </a:lnTo>
                  <a:lnTo>
                    <a:pt x="574" y="262"/>
                  </a:lnTo>
                  <a:lnTo>
                    <a:pt x="577" y="262"/>
                  </a:lnTo>
                  <a:lnTo>
                    <a:pt x="574" y="267"/>
                  </a:lnTo>
                  <a:lnTo>
                    <a:pt x="572" y="265"/>
                  </a:lnTo>
                  <a:lnTo>
                    <a:pt x="564" y="262"/>
                  </a:lnTo>
                  <a:close/>
                  <a:moveTo>
                    <a:pt x="585" y="434"/>
                  </a:moveTo>
                  <a:lnTo>
                    <a:pt x="574" y="431"/>
                  </a:lnTo>
                  <a:lnTo>
                    <a:pt x="572" y="431"/>
                  </a:lnTo>
                  <a:lnTo>
                    <a:pt x="566" y="426"/>
                  </a:lnTo>
                  <a:lnTo>
                    <a:pt x="561" y="423"/>
                  </a:lnTo>
                  <a:lnTo>
                    <a:pt x="569" y="415"/>
                  </a:lnTo>
                  <a:lnTo>
                    <a:pt x="580" y="421"/>
                  </a:lnTo>
                  <a:lnTo>
                    <a:pt x="588" y="423"/>
                  </a:lnTo>
                  <a:lnTo>
                    <a:pt x="585" y="434"/>
                  </a:lnTo>
                  <a:close/>
                  <a:moveTo>
                    <a:pt x="617" y="196"/>
                  </a:moveTo>
                  <a:cubicBezTo>
                    <a:pt x="625" y="206"/>
                    <a:pt x="633" y="214"/>
                    <a:pt x="641" y="227"/>
                  </a:cubicBezTo>
                  <a:lnTo>
                    <a:pt x="635" y="227"/>
                  </a:lnTo>
                  <a:lnTo>
                    <a:pt x="635" y="235"/>
                  </a:lnTo>
                  <a:lnTo>
                    <a:pt x="649" y="243"/>
                  </a:lnTo>
                  <a:lnTo>
                    <a:pt x="656" y="267"/>
                  </a:lnTo>
                  <a:lnTo>
                    <a:pt x="654" y="270"/>
                  </a:lnTo>
                  <a:lnTo>
                    <a:pt x="649" y="273"/>
                  </a:lnTo>
                  <a:lnTo>
                    <a:pt x="649" y="280"/>
                  </a:lnTo>
                  <a:lnTo>
                    <a:pt x="646" y="283"/>
                  </a:lnTo>
                  <a:lnTo>
                    <a:pt x="643" y="286"/>
                  </a:lnTo>
                  <a:lnTo>
                    <a:pt x="641" y="286"/>
                  </a:lnTo>
                  <a:lnTo>
                    <a:pt x="635" y="286"/>
                  </a:lnTo>
                  <a:lnTo>
                    <a:pt x="638" y="280"/>
                  </a:lnTo>
                  <a:lnTo>
                    <a:pt x="641" y="270"/>
                  </a:lnTo>
                  <a:lnTo>
                    <a:pt x="643" y="267"/>
                  </a:lnTo>
                  <a:lnTo>
                    <a:pt x="633" y="257"/>
                  </a:lnTo>
                  <a:lnTo>
                    <a:pt x="625" y="259"/>
                  </a:lnTo>
                  <a:lnTo>
                    <a:pt x="622" y="267"/>
                  </a:lnTo>
                  <a:lnTo>
                    <a:pt x="617" y="273"/>
                  </a:lnTo>
                  <a:lnTo>
                    <a:pt x="611" y="267"/>
                  </a:lnTo>
                  <a:lnTo>
                    <a:pt x="609" y="262"/>
                  </a:lnTo>
                  <a:lnTo>
                    <a:pt x="611" y="259"/>
                  </a:lnTo>
                  <a:lnTo>
                    <a:pt x="614" y="262"/>
                  </a:lnTo>
                  <a:lnTo>
                    <a:pt x="617" y="262"/>
                  </a:lnTo>
                  <a:lnTo>
                    <a:pt x="617" y="257"/>
                  </a:lnTo>
                  <a:lnTo>
                    <a:pt x="614" y="257"/>
                  </a:lnTo>
                  <a:lnTo>
                    <a:pt x="614" y="259"/>
                  </a:lnTo>
                  <a:lnTo>
                    <a:pt x="611" y="259"/>
                  </a:lnTo>
                  <a:lnTo>
                    <a:pt x="601" y="246"/>
                  </a:lnTo>
                  <a:lnTo>
                    <a:pt x="598" y="243"/>
                  </a:lnTo>
                  <a:lnTo>
                    <a:pt x="601" y="241"/>
                  </a:lnTo>
                  <a:lnTo>
                    <a:pt x="596" y="241"/>
                  </a:lnTo>
                  <a:lnTo>
                    <a:pt x="598" y="243"/>
                  </a:lnTo>
                  <a:lnTo>
                    <a:pt x="593" y="243"/>
                  </a:lnTo>
                  <a:cubicBezTo>
                    <a:pt x="588" y="243"/>
                    <a:pt x="582" y="238"/>
                    <a:pt x="580" y="233"/>
                  </a:cubicBezTo>
                  <a:lnTo>
                    <a:pt x="617" y="196"/>
                  </a:lnTo>
                  <a:close/>
                  <a:moveTo>
                    <a:pt x="598" y="431"/>
                  </a:moveTo>
                  <a:lnTo>
                    <a:pt x="593" y="426"/>
                  </a:lnTo>
                  <a:lnTo>
                    <a:pt x="596" y="421"/>
                  </a:lnTo>
                  <a:lnTo>
                    <a:pt x="601" y="410"/>
                  </a:lnTo>
                  <a:lnTo>
                    <a:pt x="598" y="408"/>
                  </a:lnTo>
                  <a:lnTo>
                    <a:pt x="601" y="400"/>
                  </a:lnTo>
                  <a:lnTo>
                    <a:pt x="601" y="394"/>
                  </a:lnTo>
                  <a:lnTo>
                    <a:pt x="598" y="386"/>
                  </a:lnTo>
                  <a:lnTo>
                    <a:pt x="593" y="384"/>
                  </a:lnTo>
                  <a:lnTo>
                    <a:pt x="590" y="386"/>
                  </a:lnTo>
                  <a:lnTo>
                    <a:pt x="588" y="386"/>
                  </a:lnTo>
                  <a:cubicBezTo>
                    <a:pt x="590" y="381"/>
                    <a:pt x="596" y="373"/>
                    <a:pt x="598" y="368"/>
                  </a:cubicBezTo>
                  <a:lnTo>
                    <a:pt x="604" y="365"/>
                  </a:lnTo>
                  <a:lnTo>
                    <a:pt x="606" y="363"/>
                  </a:lnTo>
                  <a:lnTo>
                    <a:pt x="606" y="365"/>
                  </a:lnTo>
                  <a:lnTo>
                    <a:pt x="609" y="363"/>
                  </a:lnTo>
                  <a:lnTo>
                    <a:pt x="606" y="360"/>
                  </a:lnTo>
                  <a:lnTo>
                    <a:pt x="609" y="360"/>
                  </a:lnTo>
                  <a:lnTo>
                    <a:pt x="614" y="363"/>
                  </a:lnTo>
                  <a:lnTo>
                    <a:pt x="622" y="363"/>
                  </a:lnTo>
                  <a:lnTo>
                    <a:pt x="627" y="360"/>
                  </a:lnTo>
                  <a:lnTo>
                    <a:pt x="641" y="357"/>
                  </a:lnTo>
                  <a:lnTo>
                    <a:pt x="638" y="352"/>
                  </a:lnTo>
                  <a:lnTo>
                    <a:pt x="638" y="347"/>
                  </a:lnTo>
                  <a:lnTo>
                    <a:pt x="646" y="349"/>
                  </a:lnTo>
                  <a:lnTo>
                    <a:pt x="649" y="347"/>
                  </a:lnTo>
                  <a:lnTo>
                    <a:pt x="649" y="341"/>
                  </a:lnTo>
                  <a:lnTo>
                    <a:pt x="641" y="344"/>
                  </a:lnTo>
                  <a:lnTo>
                    <a:pt x="630" y="341"/>
                  </a:lnTo>
                  <a:lnTo>
                    <a:pt x="622" y="328"/>
                  </a:lnTo>
                  <a:lnTo>
                    <a:pt x="662" y="328"/>
                  </a:lnTo>
                  <a:cubicBezTo>
                    <a:pt x="659" y="373"/>
                    <a:pt x="641" y="415"/>
                    <a:pt x="611" y="447"/>
                  </a:cubicBezTo>
                  <a:lnTo>
                    <a:pt x="606" y="442"/>
                  </a:lnTo>
                  <a:lnTo>
                    <a:pt x="609" y="434"/>
                  </a:lnTo>
                  <a:lnTo>
                    <a:pt x="604" y="418"/>
                  </a:lnTo>
                  <a:lnTo>
                    <a:pt x="598" y="431"/>
                  </a:lnTo>
                  <a:close/>
                  <a:moveTo>
                    <a:pt x="611" y="521"/>
                  </a:moveTo>
                  <a:lnTo>
                    <a:pt x="609" y="516"/>
                  </a:lnTo>
                  <a:lnTo>
                    <a:pt x="617" y="511"/>
                  </a:lnTo>
                  <a:lnTo>
                    <a:pt x="617" y="508"/>
                  </a:lnTo>
                  <a:lnTo>
                    <a:pt x="611" y="506"/>
                  </a:lnTo>
                  <a:lnTo>
                    <a:pt x="617" y="495"/>
                  </a:lnTo>
                  <a:lnTo>
                    <a:pt x="625" y="484"/>
                  </a:lnTo>
                  <a:lnTo>
                    <a:pt x="617" y="476"/>
                  </a:lnTo>
                  <a:lnTo>
                    <a:pt x="611" y="476"/>
                  </a:lnTo>
                  <a:lnTo>
                    <a:pt x="609" y="471"/>
                  </a:lnTo>
                  <a:lnTo>
                    <a:pt x="617" y="463"/>
                  </a:lnTo>
                  <a:lnTo>
                    <a:pt x="654" y="500"/>
                  </a:lnTo>
                  <a:cubicBezTo>
                    <a:pt x="638" y="511"/>
                    <a:pt x="622" y="524"/>
                    <a:pt x="606" y="532"/>
                  </a:cubicBezTo>
                  <a:lnTo>
                    <a:pt x="611" y="521"/>
                  </a:lnTo>
                  <a:close/>
                  <a:moveTo>
                    <a:pt x="651" y="484"/>
                  </a:moveTo>
                  <a:lnTo>
                    <a:pt x="656" y="479"/>
                  </a:lnTo>
                  <a:lnTo>
                    <a:pt x="654" y="458"/>
                  </a:lnTo>
                  <a:lnTo>
                    <a:pt x="651" y="458"/>
                  </a:lnTo>
                  <a:lnTo>
                    <a:pt x="654" y="455"/>
                  </a:lnTo>
                  <a:lnTo>
                    <a:pt x="646" y="453"/>
                  </a:lnTo>
                  <a:lnTo>
                    <a:pt x="643" y="461"/>
                  </a:lnTo>
                  <a:lnTo>
                    <a:pt x="643" y="468"/>
                  </a:lnTo>
                  <a:lnTo>
                    <a:pt x="641" y="471"/>
                  </a:lnTo>
                  <a:lnTo>
                    <a:pt x="625" y="455"/>
                  </a:lnTo>
                  <a:cubicBezTo>
                    <a:pt x="656" y="421"/>
                    <a:pt x="678" y="378"/>
                    <a:pt x="678" y="328"/>
                  </a:cubicBezTo>
                  <a:lnTo>
                    <a:pt x="731" y="328"/>
                  </a:lnTo>
                  <a:cubicBezTo>
                    <a:pt x="728" y="392"/>
                    <a:pt x="701" y="450"/>
                    <a:pt x="662" y="492"/>
                  </a:cubicBezTo>
                  <a:lnTo>
                    <a:pt x="651" y="484"/>
                  </a:lnTo>
                  <a:close/>
                  <a:moveTo>
                    <a:pt x="667" y="498"/>
                  </a:moveTo>
                  <a:cubicBezTo>
                    <a:pt x="709" y="453"/>
                    <a:pt x="739" y="392"/>
                    <a:pt x="739" y="325"/>
                  </a:cubicBezTo>
                  <a:lnTo>
                    <a:pt x="792" y="325"/>
                  </a:lnTo>
                  <a:cubicBezTo>
                    <a:pt x="789" y="408"/>
                    <a:pt x="757" y="479"/>
                    <a:pt x="704" y="535"/>
                  </a:cubicBezTo>
                  <a:lnTo>
                    <a:pt x="667" y="498"/>
                  </a:lnTo>
                  <a:close/>
                  <a:moveTo>
                    <a:pt x="349" y="447"/>
                  </a:moveTo>
                  <a:cubicBezTo>
                    <a:pt x="347" y="445"/>
                    <a:pt x="341" y="439"/>
                    <a:pt x="339" y="434"/>
                  </a:cubicBezTo>
                  <a:lnTo>
                    <a:pt x="341" y="421"/>
                  </a:lnTo>
                  <a:lnTo>
                    <a:pt x="336" y="408"/>
                  </a:lnTo>
                  <a:lnTo>
                    <a:pt x="336" y="386"/>
                  </a:lnTo>
                  <a:lnTo>
                    <a:pt x="331" y="373"/>
                  </a:lnTo>
                  <a:lnTo>
                    <a:pt x="331" y="365"/>
                  </a:lnTo>
                  <a:lnTo>
                    <a:pt x="323" y="352"/>
                  </a:lnTo>
                  <a:lnTo>
                    <a:pt x="318" y="349"/>
                  </a:lnTo>
                  <a:lnTo>
                    <a:pt x="320" y="341"/>
                  </a:lnTo>
                  <a:lnTo>
                    <a:pt x="318" y="336"/>
                  </a:lnTo>
                  <a:lnTo>
                    <a:pt x="320" y="328"/>
                  </a:lnTo>
                  <a:lnTo>
                    <a:pt x="328" y="328"/>
                  </a:lnTo>
                  <a:lnTo>
                    <a:pt x="331" y="323"/>
                  </a:lnTo>
                  <a:lnTo>
                    <a:pt x="344" y="323"/>
                  </a:lnTo>
                  <a:lnTo>
                    <a:pt x="347" y="325"/>
                  </a:lnTo>
                  <a:lnTo>
                    <a:pt x="344" y="339"/>
                  </a:lnTo>
                  <a:lnTo>
                    <a:pt x="341" y="341"/>
                  </a:lnTo>
                  <a:lnTo>
                    <a:pt x="347" y="352"/>
                  </a:lnTo>
                  <a:lnTo>
                    <a:pt x="344" y="355"/>
                  </a:lnTo>
                  <a:lnTo>
                    <a:pt x="341" y="352"/>
                  </a:lnTo>
                  <a:lnTo>
                    <a:pt x="344" y="357"/>
                  </a:lnTo>
                  <a:lnTo>
                    <a:pt x="347" y="365"/>
                  </a:lnTo>
                  <a:lnTo>
                    <a:pt x="349" y="365"/>
                  </a:lnTo>
                  <a:lnTo>
                    <a:pt x="349" y="360"/>
                  </a:lnTo>
                  <a:lnTo>
                    <a:pt x="347" y="357"/>
                  </a:lnTo>
                  <a:lnTo>
                    <a:pt x="347" y="352"/>
                  </a:lnTo>
                  <a:lnTo>
                    <a:pt x="347" y="344"/>
                  </a:lnTo>
                  <a:lnTo>
                    <a:pt x="349" y="328"/>
                  </a:lnTo>
                  <a:lnTo>
                    <a:pt x="347" y="323"/>
                  </a:lnTo>
                  <a:lnTo>
                    <a:pt x="355" y="323"/>
                  </a:lnTo>
                  <a:cubicBezTo>
                    <a:pt x="357" y="355"/>
                    <a:pt x="370" y="384"/>
                    <a:pt x="392" y="405"/>
                  </a:cubicBezTo>
                  <a:lnTo>
                    <a:pt x="349" y="447"/>
                  </a:lnTo>
                  <a:close/>
                  <a:moveTo>
                    <a:pt x="315" y="344"/>
                  </a:moveTo>
                  <a:lnTo>
                    <a:pt x="310" y="352"/>
                  </a:lnTo>
                  <a:lnTo>
                    <a:pt x="302" y="352"/>
                  </a:lnTo>
                  <a:cubicBezTo>
                    <a:pt x="299" y="344"/>
                    <a:pt x="299" y="336"/>
                    <a:pt x="299" y="328"/>
                  </a:cubicBezTo>
                  <a:lnTo>
                    <a:pt x="315" y="328"/>
                  </a:lnTo>
                  <a:lnTo>
                    <a:pt x="312" y="341"/>
                  </a:lnTo>
                  <a:lnTo>
                    <a:pt x="315" y="344"/>
                  </a:lnTo>
                  <a:close/>
                  <a:moveTo>
                    <a:pt x="333" y="310"/>
                  </a:moveTo>
                  <a:lnTo>
                    <a:pt x="333" y="299"/>
                  </a:lnTo>
                  <a:lnTo>
                    <a:pt x="339" y="296"/>
                  </a:lnTo>
                  <a:lnTo>
                    <a:pt x="349" y="299"/>
                  </a:lnTo>
                  <a:lnTo>
                    <a:pt x="352" y="302"/>
                  </a:lnTo>
                  <a:cubicBezTo>
                    <a:pt x="352" y="307"/>
                    <a:pt x="349" y="315"/>
                    <a:pt x="349" y="320"/>
                  </a:cubicBezTo>
                  <a:lnTo>
                    <a:pt x="336" y="320"/>
                  </a:lnTo>
                  <a:lnTo>
                    <a:pt x="333" y="310"/>
                  </a:lnTo>
                  <a:close/>
                  <a:moveTo>
                    <a:pt x="386" y="347"/>
                  </a:moveTo>
                  <a:lnTo>
                    <a:pt x="397" y="349"/>
                  </a:lnTo>
                  <a:lnTo>
                    <a:pt x="394" y="352"/>
                  </a:lnTo>
                  <a:lnTo>
                    <a:pt x="402" y="357"/>
                  </a:lnTo>
                  <a:lnTo>
                    <a:pt x="402" y="352"/>
                  </a:lnTo>
                  <a:lnTo>
                    <a:pt x="408" y="344"/>
                  </a:lnTo>
                  <a:lnTo>
                    <a:pt x="413" y="349"/>
                  </a:lnTo>
                  <a:lnTo>
                    <a:pt x="418" y="355"/>
                  </a:lnTo>
                  <a:lnTo>
                    <a:pt x="410" y="357"/>
                  </a:lnTo>
                  <a:lnTo>
                    <a:pt x="413" y="365"/>
                  </a:lnTo>
                  <a:lnTo>
                    <a:pt x="418" y="363"/>
                  </a:lnTo>
                  <a:lnTo>
                    <a:pt x="418" y="360"/>
                  </a:lnTo>
                  <a:lnTo>
                    <a:pt x="423" y="357"/>
                  </a:lnTo>
                  <a:lnTo>
                    <a:pt x="426" y="347"/>
                  </a:lnTo>
                  <a:cubicBezTo>
                    <a:pt x="429" y="355"/>
                    <a:pt x="434" y="360"/>
                    <a:pt x="439" y="365"/>
                  </a:cubicBezTo>
                  <a:lnTo>
                    <a:pt x="402" y="402"/>
                  </a:lnTo>
                  <a:cubicBezTo>
                    <a:pt x="384" y="384"/>
                    <a:pt x="373" y="360"/>
                    <a:pt x="370" y="333"/>
                  </a:cubicBezTo>
                  <a:lnTo>
                    <a:pt x="378" y="341"/>
                  </a:lnTo>
                  <a:lnTo>
                    <a:pt x="386" y="341"/>
                  </a:lnTo>
                  <a:lnTo>
                    <a:pt x="386" y="347"/>
                  </a:lnTo>
                  <a:close/>
                  <a:moveTo>
                    <a:pt x="384" y="233"/>
                  </a:moveTo>
                  <a:cubicBezTo>
                    <a:pt x="376" y="241"/>
                    <a:pt x="370" y="251"/>
                    <a:pt x="365" y="262"/>
                  </a:cubicBezTo>
                  <a:lnTo>
                    <a:pt x="363" y="262"/>
                  </a:lnTo>
                  <a:lnTo>
                    <a:pt x="357" y="265"/>
                  </a:lnTo>
                  <a:lnTo>
                    <a:pt x="355" y="265"/>
                  </a:lnTo>
                  <a:lnTo>
                    <a:pt x="349" y="270"/>
                  </a:lnTo>
                  <a:lnTo>
                    <a:pt x="357" y="270"/>
                  </a:lnTo>
                  <a:lnTo>
                    <a:pt x="363" y="267"/>
                  </a:lnTo>
                  <a:lnTo>
                    <a:pt x="363" y="270"/>
                  </a:lnTo>
                  <a:lnTo>
                    <a:pt x="357" y="273"/>
                  </a:lnTo>
                  <a:lnTo>
                    <a:pt x="355" y="273"/>
                  </a:lnTo>
                  <a:lnTo>
                    <a:pt x="347" y="278"/>
                  </a:lnTo>
                  <a:lnTo>
                    <a:pt x="339" y="278"/>
                  </a:lnTo>
                  <a:lnTo>
                    <a:pt x="328" y="299"/>
                  </a:lnTo>
                  <a:lnTo>
                    <a:pt x="331" y="304"/>
                  </a:lnTo>
                  <a:lnTo>
                    <a:pt x="325" y="312"/>
                  </a:lnTo>
                  <a:lnTo>
                    <a:pt x="325" y="320"/>
                  </a:lnTo>
                  <a:lnTo>
                    <a:pt x="302" y="320"/>
                  </a:lnTo>
                  <a:cubicBezTo>
                    <a:pt x="299" y="270"/>
                    <a:pt x="318" y="227"/>
                    <a:pt x="347" y="196"/>
                  </a:cubicBezTo>
                  <a:lnTo>
                    <a:pt x="384" y="233"/>
                  </a:lnTo>
                  <a:close/>
                  <a:moveTo>
                    <a:pt x="299" y="474"/>
                  </a:moveTo>
                  <a:lnTo>
                    <a:pt x="310" y="482"/>
                  </a:lnTo>
                  <a:lnTo>
                    <a:pt x="312" y="484"/>
                  </a:lnTo>
                  <a:lnTo>
                    <a:pt x="304" y="492"/>
                  </a:lnTo>
                  <a:cubicBezTo>
                    <a:pt x="299" y="487"/>
                    <a:pt x="296" y="484"/>
                    <a:pt x="294" y="479"/>
                  </a:cubicBezTo>
                  <a:lnTo>
                    <a:pt x="299" y="474"/>
                  </a:lnTo>
                  <a:close/>
                  <a:moveTo>
                    <a:pt x="288" y="328"/>
                  </a:moveTo>
                  <a:lnTo>
                    <a:pt x="288" y="344"/>
                  </a:lnTo>
                  <a:lnTo>
                    <a:pt x="283" y="347"/>
                  </a:lnTo>
                  <a:lnTo>
                    <a:pt x="280" y="352"/>
                  </a:lnTo>
                  <a:lnTo>
                    <a:pt x="267" y="368"/>
                  </a:lnTo>
                  <a:lnTo>
                    <a:pt x="267" y="392"/>
                  </a:lnTo>
                  <a:lnTo>
                    <a:pt x="254" y="397"/>
                  </a:lnTo>
                  <a:lnTo>
                    <a:pt x="246" y="397"/>
                  </a:lnTo>
                  <a:cubicBezTo>
                    <a:pt x="238" y="376"/>
                    <a:pt x="235" y="352"/>
                    <a:pt x="235" y="328"/>
                  </a:cubicBezTo>
                  <a:lnTo>
                    <a:pt x="288" y="328"/>
                  </a:lnTo>
                  <a:close/>
                  <a:moveTo>
                    <a:pt x="233" y="394"/>
                  </a:moveTo>
                  <a:lnTo>
                    <a:pt x="230" y="392"/>
                  </a:lnTo>
                  <a:lnTo>
                    <a:pt x="214" y="392"/>
                  </a:lnTo>
                  <a:lnTo>
                    <a:pt x="220" y="397"/>
                  </a:lnTo>
                  <a:lnTo>
                    <a:pt x="206" y="394"/>
                  </a:lnTo>
                  <a:lnTo>
                    <a:pt x="209" y="392"/>
                  </a:lnTo>
                  <a:lnTo>
                    <a:pt x="206" y="389"/>
                  </a:lnTo>
                  <a:lnTo>
                    <a:pt x="196" y="394"/>
                  </a:lnTo>
                  <a:lnTo>
                    <a:pt x="193" y="400"/>
                  </a:lnTo>
                  <a:lnTo>
                    <a:pt x="196" y="415"/>
                  </a:lnTo>
                  <a:lnTo>
                    <a:pt x="206" y="442"/>
                  </a:lnTo>
                  <a:lnTo>
                    <a:pt x="212" y="450"/>
                  </a:lnTo>
                  <a:lnTo>
                    <a:pt x="214" y="450"/>
                  </a:lnTo>
                  <a:lnTo>
                    <a:pt x="206" y="434"/>
                  </a:lnTo>
                  <a:lnTo>
                    <a:pt x="204" y="426"/>
                  </a:lnTo>
                  <a:lnTo>
                    <a:pt x="206" y="423"/>
                  </a:lnTo>
                  <a:lnTo>
                    <a:pt x="206" y="418"/>
                  </a:lnTo>
                  <a:lnTo>
                    <a:pt x="212" y="418"/>
                  </a:lnTo>
                  <a:lnTo>
                    <a:pt x="220" y="431"/>
                  </a:lnTo>
                  <a:lnTo>
                    <a:pt x="222" y="431"/>
                  </a:lnTo>
                  <a:lnTo>
                    <a:pt x="222" y="423"/>
                  </a:lnTo>
                  <a:lnTo>
                    <a:pt x="225" y="426"/>
                  </a:lnTo>
                  <a:lnTo>
                    <a:pt x="225" y="431"/>
                  </a:lnTo>
                  <a:lnTo>
                    <a:pt x="233" y="434"/>
                  </a:lnTo>
                  <a:lnTo>
                    <a:pt x="235" y="431"/>
                  </a:lnTo>
                  <a:lnTo>
                    <a:pt x="235" y="437"/>
                  </a:lnTo>
                  <a:lnTo>
                    <a:pt x="238" y="442"/>
                  </a:lnTo>
                  <a:lnTo>
                    <a:pt x="243" y="442"/>
                  </a:lnTo>
                  <a:lnTo>
                    <a:pt x="254" y="458"/>
                  </a:lnTo>
                  <a:lnTo>
                    <a:pt x="259" y="461"/>
                  </a:lnTo>
                  <a:lnTo>
                    <a:pt x="262" y="453"/>
                  </a:lnTo>
                  <a:cubicBezTo>
                    <a:pt x="273" y="468"/>
                    <a:pt x="283" y="484"/>
                    <a:pt x="299" y="500"/>
                  </a:cubicBezTo>
                  <a:lnTo>
                    <a:pt x="262" y="537"/>
                  </a:lnTo>
                  <a:cubicBezTo>
                    <a:pt x="209" y="484"/>
                    <a:pt x="175" y="410"/>
                    <a:pt x="175" y="328"/>
                  </a:cubicBezTo>
                  <a:lnTo>
                    <a:pt x="228" y="328"/>
                  </a:lnTo>
                  <a:cubicBezTo>
                    <a:pt x="225" y="349"/>
                    <a:pt x="230" y="373"/>
                    <a:pt x="235" y="394"/>
                  </a:cubicBezTo>
                  <a:lnTo>
                    <a:pt x="233" y="394"/>
                  </a:lnTo>
                  <a:close/>
                  <a:moveTo>
                    <a:pt x="296" y="143"/>
                  </a:moveTo>
                  <a:cubicBezTo>
                    <a:pt x="254" y="188"/>
                    <a:pt x="228" y="249"/>
                    <a:pt x="225" y="318"/>
                  </a:cubicBezTo>
                  <a:lnTo>
                    <a:pt x="172" y="318"/>
                  </a:lnTo>
                  <a:cubicBezTo>
                    <a:pt x="175" y="235"/>
                    <a:pt x="206" y="161"/>
                    <a:pt x="259" y="106"/>
                  </a:cubicBezTo>
                  <a:lnTo>
                    <a:pt x="296" y="143"/>
                  </a:lnTo>
                  <a:close/>
                  <a:moveTo>
                    <a:pt x="606" y="235"/>
                  </a:moveTo>
                  <a:lnTo>
                    <a:pt x="606" y="241"/>
                  </a:lnTo>
                  <a:lnTo>
                    <a:pt x="614" y="238"/>
                  </a:lnTo>
                  <a:lnTo>
                    <a:pt x="617" y="233"/>
                  </a:lnTo>
                  <a:lnTo>
                    <a:pt x="611" y="225"/>
                  </a:lnTo>
                  <a:lnTo>
                    <a:pt x="614" y="220"/>
                  </a:lnTo>
                  <a:lnTo>
                    <a:pt x="622" y="225"/>
                  </a:lnTo>
                  <a:lnTo>
                    <a:pt x="619" y="222"/>
                  </a:lnTo>
                  <a:lnTo>
                    <a:pt x="622" y="220"/>
                  </a:lnTo>
                  <a:lnTo>
                    <a:pt x="619" y="214"/>
                  </a:lnTo>
                  <a:lnTo>
                    <a:pt x="611" y="220"/>
                  </a:lnTo>
                  <a:lnTo>
                    <a:pt x="609" y="225"/>
                  </a:lnTo>
                  <a:lnTo>
                    <a:pt x="606" y="230"/>
                  </a:lnTo>
                  <a:lnTo>
                    <a:pt x="609" y="235"/>
                  </a:lnTo>
                  <a:lnTo>
                    <a:pt x="609" y="238"/>
                  </a:lnTo>
                  <a:lnTo>
                    <a:pt x="606" y="235"/>
                  </a:lnTo>
                  <a:close/>
                  <a:moveTo>
                    <a:pt x="228" y="471"/>
                  </a:moveTo>
                  <a:lnTo>
                    <a:pt x="222" y="458"/>
                  </a:lnTo>
                  <a:lnTo>
                    <a:pt x="217" y="455"/>
                  </a:lnTo>
                  <a:lnTo>
                    <a:pt x="228" y="471"/>
                  </a:lnTo>
                  <a:close/>
                  <a:moveTo>
                    <a:pt x="458" y="294"/>
                  </a:moveTo>
                  <a:lnTo>
                    <a:pt x="458" y="291"/>
                  </a:lnTo>
                  <a:lnTo>
                    <a:pt x="453" y="286"/>
                  </a:lnTo>
                  <a:lnTo>
                    <a:pt x="455" y="280"/>
                  </a:lnTo>
                  <a:lnTo>
                    <a:pt x="458" y="280"/>
                  </a:lnTo>
                  <a:lnTo>
                    <a:pt x="458" y="257"/>
                  </a:lnTo>
                  <a:cubicBezTo>
                    <a:pt x="447" y="259"/>
                    <a:pt x="442" y="266"/>
                    <a:pt x="442" y="273"/>
                  </a:cubicBezTo>
                  <a:cubicBezTo>
                    <a:pt x="442" y="281"/>
                    <a:pt x="447" y="288"/>
                    <a:pt x="458" y="29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4" name="Freeform 245">
              <a:extLst>
                <a:ext uri="{FF2B5EF4-FFF2-40B4-BE49-F238E27FC236}">
                  <a16:creationId xmlns:a16="http://schemas.microsoft.com/office/drawing/2014/main" id="{E8312490-297D-F74C-BBD4-50320B1CE4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5150" y="4591050"/>
              <a:ext cx="14288" cy="23813"/>
            </a:xfrm>
            <a:custGeom>
              <a:avLst/>
              <a:gdLst>
                <a:gd name="T0" fmla="*/ 12894 w 41"/>
                <a:gd name="T1" fmla="*/ 23447 h 65"/>
                <a:gd name="T2" fmla="*/ 0 w 41"/>
                <a:gd name="T3" fmla="*/ 0 h 65"/>
                <a:gd name="T4" fmla="*/ 0 w 41"/>
                <a:gd name="T5" fmla="*/ 7693 h 65"/>
                <a:gd name="T6" fmla="*/ 12894 w 41"/>
                <a:gd name="T7" fmla="*/ 234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1" h="65">
                  <a:moveTo>
                    <a:pt x="37" y="64"/>
                  </a:moveTo>
                  <a:cubicBezTo>
                    <a:pt x="40" y="27"/>
                    <a:pt x="19" y="11"/>
                    <a:pt x="0" y="0"/>
                  </a:cubicBezTo>
                  <a:lnTo>
                    <a:pt x="0" y="21"/>
                  </a:lnTo>
                  <a:cubicBezTo>
                    <a:pt x="16" y="29"/>
                    <a:pt x="32" y="40"/>
                    <a:pt x="37" y="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5" name="Freeform 246">
              <a:extLst>
                <a:ext uri="{FF2B5EF4-FFF2-40B4-BE49-F238E27FC236}">
                  <a16:creationId xmlns:a16="http://schemas.microsoft.com/office/drawing/2014/main" id="{77673F9E-87EA-7249-889E-59CB30DD5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5463" y="4437063"/>
              <a:ext cx="79375" cy="107950"/>
            </a:xfrm>
            <a:custGeom>
              <a:avLst/>
              <a:gdLst>
                <a:gd name="T0" fmla="*/ 49564 w 221"/>
                <a:gd name="T1" fmla="*/ 1087 h 298"/>
                <a:gd name="T2" fmla="*/ 42740 w 221"/>
                <a:gd name="T3" fmla="*/ 0 h 298"/>
                <a:gd name="T4" fmla="*/ 42740 w 221"/>
                <a:gd name="T5" fmla="*/ 5796 h 298"/>
                <a:gd name="T6" fmla="*/ 42740 w 221"/>
                <a:gd name="T7" fmla="*/ 12316 h 298"/>
                <a:gd name="T8" fmla="*/ 46691 w 221"/>
                <a:gd name="T9" fmla="*/ 13403 h 298"/>
                <a:gd name="T10" fmla="*/ 62854 w 221"/>
                <a:gd name="T11" fmla="*/ 30791 h 298"/>
                <a:gd name="T12" fmla="*/ 42022 w 221"/>
                <a:gd name="T13" fmla="*/ 49990 h 298"/>
                <a:gd name="T14" fmla="*/ 38071 w 221"/>
                <a:gd name="T15" fmla="*/ 50715 h 298"/>
                <a:gd name="T16" fmla="*/ 27656 w 221"/>
                <a:gd name="T17" fmla="*/ 53613 h 298"/>
                <a:gd name="T18" fmla="*/ 23705 w 221"/>
                <a:gd name="T19" fmla="*/ 54699 h 298"/>
                <a:gd name="T20" fmla="*/ 0 w 221"/>
                <a:gd name="T21" fmla="*/ 81506 h 298"/>
                <a:gd name="T22" fmla="*/ 25860 w 221"/>
                <a:gd name="T23" fmla="*/ 107588 h 298"/>
                <a:gd name="T24" fmla="*/ 25860 w 221"/>
                <a:gd name="T25" fmla="*/ 93098 h 298"/>
                <a:gd name="T26" fmla="*/ 16162 w 221"/>
                <a:gd name="T27" fmla="*/ 81506 h 298"/>
                <a:gd name="T28" fmla="*/ 24782 w 221"/>
                <a:gd name="T29" fmla="*/ 69914 h 298"/>
                <a:gd name="T30" fmla="*/ 28374 w 221"/>
                <a:gd name="T31" fmla="*/ 68103 h 298"/>
                <a:gd name="T32" fmla="*/ 39149 w 221"/>
                <a:gd name="T33" fmla="*/ 65205 h 298"/>
                <a:gd name="T34" fmla="*/ 42740 w 221"/>
                <a:gd name="T35" fmla="*/ 64118 h 298"/>
                <a:gd name="T36" fmla="*/ 79016 w 221"/>
                <a:gd name="T37" fmla="*/ 30791 h 298"/>
                <a:gd name="T38" fmla="*/ 49564 w 221"/>
                <a:gd name="T39" fmla="*/ 1087 h 29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21" h="298">
                  <a:moveTo>
                    <a:pt x="138" y="3"/>
                  </a:moveTo>
                  <a:cubicBezTo>
                    <a:pt x="132" y="3"/>
                    <a:pt x="127" y="0"/>
                    <a:pt x="119" y="0"/>
                  </a:cubicBezTo>
                  <a:lnTo>
                    <a:pt x="119" y="16"/>
                  </a:lnTo>
                  <a:lnTo>
                    <a:pt x="119" y="34"/>
                  </a:lnTo>
                  <a:cubicBezTo>
                    <a:pt x="124" y="34"/>
                    <a:pt x="130" y="34"/>
                    <a:pt x="130" y="37"/>
                  </a:cubicBezTo>
                  <a:cubicBezTo>
                    <a:pt x="164" y="45"/>
                    <a:pt x="175" y="64"/>
                    <a:pt x="175" y="85"/>
                  </a:cubicBezTo>
                  <a:cubicBezTo>
                    <a:pt x="175" y="117"/>
                    <a:pt x="148" y="127"/>
                    <a:pt x="117" y="138"/>
                  </a:cubicBezTo>
                  <a:cubicBezTo>
                    <a:pt x="114" y="138"/>
                    <a:pt x="109" y="140"/>
                    <a:pt x="106" y="140"/>
                  </a:cubicBezTo>
                  <a:cubicBezTo>
                    <a:pt x="95" y="143"/>
                    <a:pt x="85" y="146"/>
                    <a:pt x="77" y="148"/>
                  </a:cubicBezTo>
                  <a:cubicBezTo>
                    <a:pt x="74" y="148"/>
                    <a:pt x="69" y="151"/>
                    <a:pt x="66" y="151"/>
                  </a:cubicBezTo>
                  <a:cubicBezTo>
                    <a:pt x="29" y="162"/>
                    <a:pt x="0" y="180"/>
                    <a:pt x="0" y="225"/>
                  </a:cubicBezTo>
                  <a:cubicBezTo>
                    <a:pt x="0" y="270"/>
                    <a:pt x="34" y="286"/>
                    <a:pt x="72" y="297"/>
                  </a:cubicBezTo>
                  <a:lnTo>
                    <a:pt x="72" y="257"/>
                  </a:lnTo>
                  <a:cubicBezTo>
                    <a:pt x="56" y="249"/>
                    <a:pt x="45" y="241"/>
                    <a:pt x="45" y="225"/>
                  </a:cubicBezTo>
                  <a:cubicBezTo>
                    <a:pt x="45" y="209"/>
                    <a:pt x="56" y="201"/>
                    <a:pt x="69" y="193"/>
                  </a:cubicBezTo>
                  <a:cubicBezTo>
                    <a:pt x="72" y="191"/>
                    <a:pt x="77" y="191"/>
                    <a:pt x="79" y="188"/>
                  </a:cubicBezTo>
                  <a:cubicBezTo>
                    <a:pt x="87" y="185"/>
                    <a:pt x="98" y="183"/>
                    <a:pt x="109" y="180"/>
                  </a:cubicBezTo>
                  <a:cubicBezTo>
                    <a:pt x="111" y="180"/>
                    <a:pt x="117" y="177"/>
                    <a:pt x="119" y="177"/>
                  </a:cubicBezTo>
                  <a:cubicBezTo>
                    <a:pt x="167" y="164"/>
                    <a:pt x="220" y="148"/>
                    <a:pt x="220" y="85"/>
                  </a:cubicBezTo>
                  <a:cubicBezTo>
                    <a:pt x="220" y="53"/>
                    <a:pt x="196" y="16"/>
                    <a:pt x="138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6" name="Freeform 247">
              <a:extLst>
                <a:ext uri="{FF2B5EF4-FFF2-40B4-BE49-F238E27FC236}">
                  <a16:creationId xmlns:a16="http://schemas.microsoft.com/office/drawing/2014/main" id="{836477D9-8178-1A46-AC61-DC36A6B4D2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1338" y="4533900"/>
              <a:ext cx="46037" cy="57150"/>
            </a:xfrm>
            <a:custGeom>
              <a:avLst/>
              <a:gdLst>
                <a:gd name="T0" fmla="*/ 9711 w 128"/>
                <a:gd name="T1" fmla="*/ 56793 h 160"/>
                <a:gd name="T2" fmla="*/ 9711 w 128"/>
                <a:gd name="T3" fmla="*/ 45363 h 160"/>
                <a:gd name="T4" fmla="*/ 13308 w 128"/>
                <a:gd name="T5" fmla="*/ 41434 h 160"/>
                <a:gd name="T6" fmla="*/ 20861 w 128"/>
                <a:gd name="T7" fmla="*/ 38576 h 160"/>
                <a:gd name="T8" fmla="*/ 24817 w 128"/>
                <a:gd name="T9" fmla="*/ 37862 h 160"/>
                <a:gd name="T10" fmla="*/ 45677 w 128"/>
                <a:gd name="T11" fmla="*/ 19645 h 160"/>
                <a:gd name="T12" fmla="*/ 25896 w 128"/>
                <a:gd name="T13" fmla="*/ 0 h 160"/>
                <a:gd name="T14" fmla="*/ 25896 w 128"/>
                <a:gd name="T15" fmla="*/ 12144 h 160"/>
                <a:gd name="T16" fmla="*/ 33449 w 128"/>
                <a:gd name="T17" fmla="*/ 18931 h 160"/>
                <a:gd name="T18" fmla="*/ 25896 w 128"/>
                <a:gd name="T19" fmla="*/ 26432 h 160"/>
                <a:gd name="T20" fmla="*/ 21940 w 128"/>
                <a:gd name="T21" fmla="*/ 27503 h 160"/>
                <a:gd name="T22" fmla="*/ 14387 w 128"/>
                <a:gd name="T23" fmla="*/ 30361 h 160"/>
                <a:gd name="T24" fmla="*/ 10430 w 128"/>
                <a:gd name="T25" fmla="*/ 32147 h 160"/>
                <a:gd name="T26" fmla="*/ 0 w 128"/>
                <a:gd name="T27" fmla="*/ 44291 h 160"/>
                <a:gd name="T28" fmla="*/ 9711 w 128"/>
                <a:gd name="T29" fmla="*/ 56793 h 1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8" h="160">
                  <a:moveTo>
                    <a:pt x="27" y="159"/>
                  </a:moveTo>
                  <a:lnTo>
                    <a:pt x="27" y="127"/>
                  </a:lnTo>
                  <a:cubicBezTo>
                    <a:pt x="27" y="122"/>
                    <a:pt x="32" y="119"/>
                    <a:pt x="37" y="116"/>
                  </a:cubicBezTo>
                  <a:cubicBezTo>
                    <a:pt x="42" y="114"/>
                    <a:pt x="50" y="111"/>
                    <a:pt x="58" y="108"/>
                  </a:cubicBezTo>
                  <a:cubicBezTo>
                    <a:pt x="61" y="106"/>
                    <a:pt x="66" y="106"/>
                    <a:pt x="69" y="106"/>
                  </a:cubicBezTo>
                  <a:cubicBezTo>
                    <a:pt x="95" y="98"/>
                    <a:pt x="127" y="87"/>
                    <a:pt x="127" y="55"/>
                  </a:cubicBezTo>
                  <a:cubicBezTo>
                    <a:pt x="127" y="24"/>
                    <a:pt x="101" y="10"/>
                    <a:pt x="72" y="0"/>
                  </a:cubicBezTo>
                  <a:lnTo>
                    <a:pt x="72" y="34"/>
                  </a:lnTo>
                  <a:cubicBezTo>
                    <a:pt x="85" y="40"/>
                    <a:pt x="93" y="45"/>
                    <a:pt x="93" y="53"/>
                  </a:cubicBezTo>
                  <a:cubicBezTo>
                    <a:pt x="93" y="63"/>
                    <a:pt x="79" y="71"/>
                    <a:pt x="72" y="74"/>
                  </a:cubicBezTo>
                  <a:cubicBezTo>
                    <a:pt x="69" y="77"/>
                    <a:pt x="64" y="77"/>
                    <a:pt x="61" y="77"/>
                  </a:cubicBezTo>
                  <a:cubicBezTo>
                    <a:pt x="53" y="79"/>
                    <a:pt x="45" y="82"/>
                    <a:pt x="40" y="85"/>
                  </a:cubicBezTo>
                  <a:cubicBezTo>
                    <a:pt x="37" y="87"/>
                    <a:pt x="32" y="87"/>
                    <a:pt x="29" y="90"/>
                  </a:cubicBezTo>
                  <a:cubicBezTo>
                    <a:pt x="13" y="98"/>
                    <a:pt x="0" y="108"/>
                    <a:pt x="0" y="124"/>
                  </a:cubicBezTo>
                  <a:cubicBezTo>
                    <a:pt x="0" y="143"/>
                    <a:pt x="13" y="151"/>
                    <a:pt x="27" y="15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7" name="Freeform 248">
              <a:extLst>
                <a:ext uri="{FF2B5EF4-FFF2-40B4-BE49-F238E27FC236}">
                  <a16:creationId xmlns:a16="http://schemas.microsoft.com/office/drawing/2014/main" id="{B4288176-6AE3-674A-B60A-4FCD24444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1650" y="4438650"/>
              <a:ext cx="47625" cy="46038"/>
            </a:xfrm>
            <a:custGeom>
              <a:avLst/>
              <a:gdLst>
                <a:gd name="T0" fmla="*/ 35092 w 133"/>
                <a:gd name="T1" fmla="*/ 5035 h 128"/>
                <a:gd name="T2" fmla="*/ 18978 w 133"/>
                <a:gd name="T3" fmla="*/ 13308 h 128"/>
                <a:gd name="T4" fmla="*/ 13249 w 133"/>
                <a:gd name="T5" fmla="*/ 20142 h 128"/>
                <a:gd name="T6" fmla="*/ 10384 w 133"/>
                <a:gd name="T7" fmla="*/ 29493 h 128"/>
                <a:gd name="T8" fmla="*/ 8594 w 133"/>
                <a:gd name="T9" fmla="*/ 34529 h 128"/>
                <a:gd name="T10" fmla="*/ 6445 w 133"/>
                <a:gd name="T11" fmla="*/ 38125 h 128"/>
                <a:gd name="T12" fmla="*/ 0 w 133"/>
                <a:gd name="T13" fmla="*/ 41362 h 128"/>
                <a:gd name="T14" fmla="*/ 5729 w 133"/>
                <a:gd name="T15" fmla="*/ 40283 h 128"/>
                <a:gd name="T16" fmla="*/ 3581 w 133"/>
                <a:gd name="T17" fmla="*/ 45678 h 128"/>
                <a:gd name="T18" fmla="*/ 10384 w 133"/>
                <a:gd name="T19" fmla="*/ 35248 h 128"/>
                <a:gd name="T20" fmla="*/ 19695 w 133"/>
                <a:gd name="T21" fmla="*/ 32370 h 128"/>
                <a:gd name="T22" fmla="*/ 36883 w 133"/>
                <a:gd name="T23" fmla="*/ 20142 h 128"/>
                <a:gd name="T24" fmla="*/ 47267 w 133"/>
                <a:gd name="T25" fmla="*/ 12589 h 128"/>
                <a:gd name="T26" fmla="*/ 46551 w 133"/>
                <a:gd name="T27" fmla="*/ 0 h 128"/>
                <a:gd name="T28" fmla="*/ 35092 w 133"/>
                <a:gd name="T29" fmla="*/ 5035 h 128"/>
                <a:gd name="T30" fmla="*/ 21843 w 133"/>
                <a:gd name="T31" fmla="*/ 23019 h 128"/>
                <a:gd name="T32" fmla="*/ 18978 w 133"/>
                <a:gd name="T33" fmla="*/ 24098 h 128"/>
                <a:gd name="T34" fmla="*/ 23633 w 133"/>
                <a:gd name="T35" fmla="*/ 17264 h 128"/>
                <a:gd name="T36" fmla="*/ 27572 w 133"/>
                <a:gd name="T37" fmla="*/ 17264 h 128"/>
                <a:gd name="T38" fmla="*/ 21843 w 133"/>
                <a:gd name="T39" fmla="*/ 23019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33" h="128">
                  <a:moveTo>
                    <a:pt x="98" y="14"/>
                  </a:moveTo>
                  <a:cubicBezTo>
                    <a:pt x="87" y="16"/>
                    <a:pt x="71" y="19"/>
                    <a:pt x="53" y="37"/>
                  </a:cubicBezTo>
                  <a:cubicBezTo>
                    <a:pt x="50" y="40"/>
                    <a:pt x="42" y="51"/>
                    <a:pt x="37" y="56"/>
                  </a:cubicBezTo>
                  <a:cubicBezTo>
                    <a:pt x="32" y="64"/>
                    <a:pt x="32" y="75"/>
                    <a:pt x="29" y="82"/>
                  </a:cubicBezTo>
                  <a:cubicBezTo>
                    <a:pt x="24" y="90"/>
                    <a:pt x="24" y="96"/>
                    <a:pt x="24" y="96"/>
                  </a:cubicBezTo>
                  <a:cubicBezTo>
                    <a:pt x="24" y="96"/>
                    <a:pt x="24" y="101"/>
                    <a:pt x="18" y="106"/>
                  </a:cubicBezTo>
                  <a:cubicBezTo>
                    <a:pt x="14" y="111"/>
                    <a:pt x="7" y="116"/>
                    <a:pt x="0" y="115"/>
                  </a:cubicBezTo>
                  <a:cubicBezTo>
                    <a:pt x="8" y="116"/>
                    <a:pt x="16" y="112"/>
                    <a:pt x="16" y="112"/>
                  </a:cubicBezTo>
                  <a:cubicBezTo>
                    <a:pt x="16" y="112"/>
                    <a:pt x="13" y="117"/>
                    <a:pt x="10" y="127"/>
                  </a:cubicBezTo>
                  <a:cubicBezTo>
                    <a:pt x="18" y="109"/>
                    <a:pt x="26" y="101"/>
                    <a:pt x="29" y="98"/>
                  </a:cubicBezTo>
                  <a:cubicBezTo>
                    <a:pt x="32" y="98"/>
                    <a:pt x="40" y="98"/>
                    <a:pt x="55" y="90"/>
                  </a:cubicBezTo>
                  <a:cubicBezTo>
                    <a:pt x="71" y="82"/>
                    <a:pt x="95" y="67"/>
                    <a:pt x="103" y="56"/>
                  </a:cubicBezTo>
                  <a:cubicBezTo>
                    <a:pt x="111" y="45"/>
                    <a:pt x="122" y="40"/>
                    <a:pt x="132" y="35"/>
                  </a:cubicBezTo>
                  <a:cubicBezTo>
                    <a:pt x="130" y="24"/>
                    <a:pt x="130" y="11"/>
                    <a:pt x="130" y="0"/>
                  </a:cubicBezTo>
                  <a:cubicBezTo>
                    <a:pt x="111" y="6"/>
                    <a:pt x="100" y="11"/>
                    <a:pt x="98" y="14"/>
                  </a:cubicBezTo>
                  <a:close/>
                  <a:moveTo>
                    <a:pt x="61" y="64"/>
                  </a:moveTo>
                  <a:lnTo>
                    <a:pt x="53" y="67"/>
                  </a:lnTo>
                  <a:lnTo>
                    <a:pt x="66" y="48"/>
                  </a:lnTo>
                  <a:lnTo>
                    <a:pt x="77" y="48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8" name="Freeform 249">
              <a:extLst>
                <a:ext uri="{FF2B5EF4-FFF2-40B4-BE49-F238E27FC236}">
                  <a16:creationId xmlns:a16="http://schemas.microsoft.com/office/drawing/2014/main" id="{807EE19C-0C11-2049-964D-3C83C4E664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4038" y="4576763"/>
              <a:ext cx="7937" cy="65087"/>
            </a:xfrm>
            <a:custGeom>
              <a:avLst/>
              <a:gdLst>
                <a:gd name="T0" fmla="*/ 1804 w 22"/>
                <a:gd name="T1" fmla="*/ 1798 h 181"/>
                <a:gd name="T2" fmla="*/ 0 w 22"/>
                <a:gd name="T3" fmla="*/ 2877 h 181"/>
                <a:gd name="T4" fmla="*/ 1082 w 22"/>
                <a:gd name="T5" fmla="*/ 54299 h 181"/>
                <a:gd name="T6" fmla="*/ 6855 w 22"/>
                <a:gd name="T7" fmla="*/ 54299 h 181"/>
                <a:gd name="T8" fmla="*/ 7576 w 22"/>
                <a:gd name="T9" fmla="*/ 0 h 181"/>
                <a:gd name="T10" fmla="*/ 4690 w 22"/>
                <a:gd name="T11" fmla="*/ 1079 h 181"/>
                <a:gd name="T12" fmla="*/ 1804 w 22"/>
                <a:gd name="T13" fmla="*/ 1798 h 1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181">
                  <a:moveTo>
                    <a:pt x="5" y="5"/>
                  </a:moveTo>
                  <a:cubicBezTo>
                    <a:pt x="3" y="5"/>
                    <a:pt x="0" y="8"/>
                    <a:pt x="0" y="8"/>
                  </a:cubicBezTo>
                  <a:cubicBezTo>
                    <a:pt x="0" y="8"/>
                    <a:pt x="3" y="148"/>
                    <a:pt x="3" y="151"/>
                  </a:cubicBezTo>
                  <a:cubicBezTo>
                    <a:pt x="3" y="180"/>
                    <a:pt x="19" y="180"/>
                    <a:pt x="19" y="151"/>
                  </a:cubicBezTo>
                  <a:cubicBezTo>
                    <a:pt x="19" y="148"/>
                    <a:pt x="21" y="0"/>
                    <a:pt x="21" y="0"/>
                  </a:cubicBezTo>
                  <a:cubicBezTo>
                    <a:pt x="21" y="0"/>
                    <a:pt x="16" y="3"/>
                    <a:pt x="13" y="3"/>
                  </a:cubicBezTo>
                  <a:cubicBezTo>
                    <a:pt x="11" y="3"/>
                    <a:pt x="8" y="5"/>
                    <a:pt x="5" y="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9" name="Freeform 250">
              <a:extLst>
                <a:ext uri="{FF2B5EF4-FFF2-40B4-BE49-F238E27FC236}">
                  <a16:creationId xmlns:a16="http://schemas.microsoft.com/office/drawing/2014/main" id="{DCD844E4-C9B1-A642-A90B-797858B86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450" y="4505325"/>
              <a:ext cx="11113" cy="57150"/>
            </a:xfrm>
            <a:custGeom>
              <a:avLst/>
              <a:gdLst>
                <a:gd name="T0" fmla="*/ 6668 w 30"/>
                <a:gd name="T1" fmla="*/ 54650 h 160"/>
                <a:gd name="T2" fmla="*/ 9631 w 30"/>
                <a:gd name="T3" fmla="*/ 53935 h 160"/>
                <a:gd name="T4" fmla="*/ 10743 w 30"/>
                <a:gd name="T5" fmla="*/ 0 h 160"/>
                <a:gd name="T6" fmla="*/ 0 w 30"/>
                <a:gd name="T7" fmla="*/ 2858 h 160"/>
                <a:gd name="T8" fmla="*/ 1852 w 30"/>
                <a:gd name="T9" fmla="*/ 56793 h 160"/>
                <a:gd name="T10" fmla="*/ 6668 w 30"/>
                <a:gd name="T11" fmla="*/ 54650 h 16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" h="160">
                  <a:moveTo>
                    <a:pt x="18" y="153"/>
                  </a:moveTo>
                  <a:cubicBezTo>
                    <a:pt x="21" y="153"/>
                    <a:pt x="24" y="151"/>
                    <a:pt x="26" y="151"/>
                  </a:cubicBezTo>
                  <a:cubicBezTo>
                    <a:pt x="26" y="143"/>
                    <a:pt x="29" y="21"/>
                    <a:pt x="29" y="0"/>
                  </a:cubicBezTo>
                  <a:cubicBezTo>
                    <a:pt x="18" y="2"/>
                    <a:pt x="8" y="5"/>
                    <a:pt x="0" y="8"/>
                  </a:cubicBezTo>
                  <a:cubicBezTo>
                    <a:pt x="2" y="24"/>
                    <a:pt x="2" y="145"/>
                    <a:pt x="5" y="159"/>
                  </a:cubicBezTo>
                  <a:cubicBezTo>
                    <a:pt x="10" y="156"/>
                    <a:pt x="13" y="156"/>
                    <a:pt x="18" y="15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0" name="Freeform 251">
              <a:extLst>
                <a:ext uri="{FF2B5EF4-FFF2-40B4-BE49-F238E27FC236}">
                  <a16:creationId xmlns:a16="http://schemas.microsoft.com/office/drawing/2014/main" id="{E8D159B6-3321-CC42-BBA5-ADE7B2836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4513" y="4395788"/>
              <a:ext cx="30162" cy="90487"/>
            </a:xfrm>
            <a:custGeom>
              <a:avLst/>
              <a:gdLst>
                <a:gd name="T0" fmla="*/ 6905 w 83"/>
                <a:gd name="T1" fmla="*/ 28956 h 250"/>
                <a:gd name="T2" fmla="*/ 7631 w 83"/>
                <a:gd name="T3" fmla="*/ 90125 h 250"/>
                <a:gd name="T4" fmla="*/ 14536 w 83"/>
                <a:gd name="T5" fmla="*/ 88315 h 250"/>
                <a:gd name="T6" fmla="*/ 19260 w 83"/>
                <a:gd name="T7" fmla="*/ 87229 h 250"/>
                <a:gd name="T8" fmla="*/ 20350 w 83"/>
                <a:gd name="T9" fmla="*/ 28956 h 250"/>
                <a:gd name="T10" fmla="*/ 14536 w 83"/>
                <a:gd name="T11" fmla="*/ 0 h 250"/>
                <a:gd name="T12" fmla="*/ 6905 w 83"/>
                <a:gd name="T13" fmla="*/ 28956 h 2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250">
                  <a:moveTo>
                    <a:pt x="19" y="80"/>
                  </a:moveTo>
                  <a:cubicBezTo>
                    <a:pt x="19" y="80"/>
                    <a:pt x="21" y="217"/>
                    <a:pt x="21" y="249"/>
                  </a:cubicBezTo>
                  <a:cubicBezTo>
                    <a:pt x="26" y="246"/>
                    <a:pt x="34" y="246"/>
                    <a:pt x="40" y="244"/>
                  </a:cubicBezTo>
                  <a:cubicBezTo>
                    <a:pt x="45" y="244"/>
                    <a:pt x="48" y="241"/>
                    <a:pt x="53" y="241"/>
                  </a:cubicBezTo>
                  <a:cubicBezTo>
                    <a:pt x="53" y="212"/>
                    <a:pt x="56" y="82"/>
                    <a:pt x="56" y="80"/>
                  </a:cubicBezTo>
                  <a:cubicBezTo>
                    <a:pt x="61" y="58"/>
                    <a:pt x="82" y="0"/>
                    <a:pt x="40" y="0"/>
                  </a:cubicBezTo>
                  <a:cubicBezTo>
                    <a:pt x="0" y="0"/>
                    <a:pt x="16" y="61"/>
                    <a:pt x="19" y="8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1" name="Freeform 252">
              <a:extLst>
                <a:ext uri="{FF2B5EF4-FFF2-40B4-BE49-F238E27FC236}">
                  <a16:creationId xmlns:a16="http://schemas.microsoft.com/office/drawing/2014/main" id="{26BFBA76-80C0-7E4C-BC5F-92DC03182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9150" y="4718050"/>
              <a:ext cx="53975" cy="69850"/>
            </a:xfrm>
            <a:custGeom>
              <a:avLst/>
              <a:gdLst>
                <a:gd name="T0" fmla="*/ 35264 w 150"/>
                <a:gd name="T1" fmla="*/ 54207 h 192"/>
                <a:gd name="T2" fmla="*/ 17272 w 150"/>
                <a:gd name="T3" fmla="*/ 54207 h 192"/>
                <a:gd name="T4" fmla="*/ 13314 w 150"/>
                <a:gd name="T5" fmla="*/ 69486 h 192"/>
                <a:gd name="T6" fmla="*/ 0 w 150"/>
                <a:gd name="T7" fmla="*/ 69486 h 192"/>
                <a:gd name="T8" fmla="*/ 19071 w 150"/>
                <a:gd name="T9" fmla="*/ 0 h 192"/>
                <a:gd name="T10" fmla="*/ 34544 w 150"/>
                <a:gd name="T11" fmla="*/ 0 h 192"/>
                <a:gd name="T12" fmla="*/ 53615 w 150"/>
                <a:gd name="T13" fmla="*/ 69486 h 192"/>
                <a:gd name="T14" fmla="*/ 39222 w 150"/>
                <a:gd name="T15" fmla="*/ 69486 h 192"/>
                <a:gd name="T16" fmla="*/ 35264 w 150"/>
                <a:gd name="T17" fmla="*/ 54207 h 192"/>
                <a:gd name="T18" fmla="*/ 26628 w 150"/>
                <a:gd name="T19" fmla="*/ 13461 h 192"/>
                <a:gd name="T20" fmla="*/ 26628 w 150"/>
                <a:gd name="T21" fmla="*/ 13461 h 192"/>
                <a:gd name="T22" fmla="*/ 20151 w 150"/>
                <a:gd name="T23" fmla="*/ 42565 h 192"/>
                <a:gd name="T24" fmla="*/ 33465 w 150"/>
                <a:gd name="T25" fmla="*/ 42565 h 192"/>
                <a:gd name="T26" fmla="*/ 26628 w 150"/>
                <a:gd name="T27" fmla="*/ 13461 h 19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0" h="192">
                  <a:moveTo>
                    <a:pt x="98" y="149"/>
                  </a:moveTo>
                  <a:lnTo>
                    <a:pt x="48" y="149"/>
                  </a:lnTo>
                  <a:lnTo>
                    <a:pt x="37" y="191"/>
                  </a:lnTo>
                  <a:lnTo>
                    <a:pt x="0" y="191"/>
                  </a:lnTo>
                  <a:lnTo>
                    <a:pt x="53" y="0"/>
                  </a:lnTo>
                  <a:lnTo>
                    <a:pt x="96" y="0"/>
                  </a:lnTo>
                  <a:lnTo>
                    <a:pt x="149" y="191"/>
                  </a:lnTo>
                  <a:lnTo>
                    <a:pt x="109" y="191"/>
                  </a:lnTo>
                  <a:lnTo>
                    <a:pt x="98" y="149"/>
                  </a:lnTo>
                  <a:close/>
                  <a:moveTo>
                    <a:pt x="74" y="37"/>
                  </a:moveTo>
                  <a:lnTo>
                    <a:pt x="74" y="37"/>
                  </a:lnTo>
                  <a:lnTo>
                    <a:pt x="56" y="117"/>
                  </a:lnTo>
                  <a:lnTo>
                    <a:pt x="93" y="117"/>
                  </a:lnTo>
                  <a:lnTo>
                    <a:pt x="74" y="37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2" name="Freeform 253">
              <a:extLst>
                <a:ext uri="{FF2B5EF4-FFF2-40B4-BE49-F238E27FC236}">
                  <a16:creationId xmlns:a16="http://schemas.microsoft.com/office/drawing/2014/main" id="{5F409DD2-5FBA-6742-B81B-138082A903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8" y="4735513"/>
              <a:ext cx="61912" cy="52387"/>
            </a:xfrm>
            <a:custGeom>
              <a:avLst/>
              <a:gdLst>
                <a:gd name="T0" fmla="*/ 47239 w 173"/>
                <a:gd name="T1" fmla="*/ 19281 h 144"/>
                <a:gd name="T2" fmla="*/ 42587 w 173"/>
                <a:gd name="T3" fmla="*/ 11278 h 144"/>
                <a:gd name="T4" fmla="*/ 36861 w 173"/>
                <a:gd name="T5" fmla="*/ 19281 h 144"/>
                <a:gd name="T6" fmla="*/ 36861 w 173"/>
                <a:gd name="T7" fmla="*/ 52023 h 144"/>
                <a:gd name="T8" fmla="*/ 23620 w 173"/>
                <a:gd name="T9" fmla="*/ 52023 h 144"/>
                <a:gd name="T10" fmla="*/ 23620 w 173"/>
                <a:gd name="T11" fmla="*/ 20009 h 144"/>
                <a:gd name="T12" fmla="*/ 18967 w 173"/>
                <a:gd name="T13" fmla="*/ 12369 h 144"/>
                <a:gd name="T14" fmla="*/ 13241 w 173"/>
                <a:gd name="T15" fmla="*/ 22919 h 144"/>
                <a:gd name="T16" fmla="*/ 13241 w 173"/>
                <a:gd name="T17" fmla="*/ 52023 h 144"/>
                <a:gd name="T18" fmla="*/ 0 w 173"/>
                <a:gd name="T19" fmla="*/ 52023 h 144"/>
                <a:gd name="T20" fmla="*/ 0 w 173"/>
                <a:gd name="T21" fmla="*/ 11278 h 144"/>
                <a:gd name="T22" fmla="*/ 0 w 173"/>
                <a:gd name="T23" fmla="*/ 728 h 144"/>
                <a:gd name="T24" fmla="*/ 12168 w 173"/>
                <a:gd name="T25" fmla="*/ 728 h 144"/>
                <a:gd name="T26" fmla="*/ 12168 w 173"/>
                <a:gd name="T27" fmla="*/ 9459 h 144"/>
                <a:gd name="T28" fmla="*/ 12168 w 173"/>
                <a:gd name="T29" fmla="*/ 9459 h 144"/>
                <a:gd name="T30" fmla="*/ 24693 w 173"/>
                <a:gd name="T31" fmla="*/ 0 h 144"/>
                <a:gd name="T32" fmla="*/ 35787 w 173"/>
                <a:gd name="T33" fmla="*/ 8367 h 144"/>
                <a:gd name="T34" fmla="*/ 48313 w 173"/>
                <a:gd name="T35" fmla="*/ 0 h 144"/>
                <a:gd name="T36" fmla="*/ 61554 w 173"/>
                <a:gd name="T37" fmla="*/ 18190 h 144"/>
                <a:gd name="T38" fmla="*/ 61554 w 173"/>
                <a:gd name="T39" fmla="*/ 52023 h 144"/>
                <a:gd name="T40" fmla="*/ 48313 w 173"/>
                <a:gd name="T41" fmla="*/ 52023 h 144"/>
                <a:gd name="T42" fmla="*/ 48313 w 173"/>
                <a:gd name="T43" fmla="*/ 19281 h 144"/>
                <a:gd name="T44" fmla="*/ 47239 w 173"/>
                <a:gd name="T45" fmla="*/ 19281 h 1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3" h="144">
                  <a:moveTo>
                    <a:pt x="132" y="53"/>
                  </a:moveTo>
                  <a:cubicBezTo>
                    <a:pt x="132" y="37"/>
                    <a:pt x="127" y="31"/>
                    <a:pt x="119" y="31"/>
                  </a:cubicBezTo>
                  <a:cubicBezTo>
                    <a:pt x="108" y="31"/>
                    <a:pt x="103" y="39"/>
                    <a:pt x="103" y="53"/>
                  </a:cubicBezTo>
                  <a:lnTo>
                    <a:pt x="103" y="143"/>
                  </a:lnTo>
                  <a:lnTo>
                    <a:pt x="66" y="143"/>
                  </a:lnTo>
                  <a:lnTo>
                    <a:pt x="66" y="55"/>
                  </a:lnTo>
                  <a:cubicBezTo>
                    <a:pt x="66" y="37"/>
                    <a:pt x="58" y="34"/>
                    <a:pt x="53" y="34"/>
                  </a:cubicBezTo>
                  <a:cubicBezTo>
                    <a:pt x="39" y="34"/>
                    <a:pt x="37" y="47"/>
                    <a:pt x="37" y="63"/>
                  </a:cubicBezTo>
                  <a:lnTo>
                    <a:pt x="37" y="143"/>
                  </a:lnTo>
                  <a:lnTo>
                    <a:pt x="0" y="143"/>
                  </a:lnTo>
                  <a:lnTo>
                    <a:pt x="0" y="31"/>
                  </a:lnTo>
                  <a:cubicBezTo>
                    <a:pt x="0" y="18"/>
                    <a:pt x="0" y="10"/>
                    <a:pt x="0" y="2"/>
                  </a:cubicBezTo>
                  <a:lnTo>
                    <a:pt x="34" y="2"/>
                  </a:lnTo>
                  <a:cubicBezTo>
                    <a:pt x="34" y="7"/>
                    <a:pt x="34" y="15"/>
                    <a:pt x="34" y="26"/>
                  </a:cubicBezTo>
                  <a:cubicBezTo>
                    <a:pt x="39" y="10"/>
                    <a:pt x="51" y="0"/>
                    <a:pt x="69" y="0"/>
                  </a:cubicBezTo>
                  <a:cubicBezTo>
                    <a:pt x="88" y="0"/>
                    <a:pt x="95" y="10"/>
                    <a:pt x="100" y="23"/>
                  </a:cubicBezTo>
                  <a:cubicBezTo>
                    <a:pt x="106" y="10"/>
                    <a:pt x="114" y="0"/>
                    <a:pt x="135" y="0"/>
                  </a:cubicBezTo>
                  <a:cubicBezTo>
                    <a:pt x="161" y="0"/>
                    <a:pt x="172" y="23"/>
                    <a:pt x="172" y="50"/>
                  </a:cubicBezTo>
                  <a:lnTo>
                    <a:pt x="172" y="143"/>
                  </a:lnTo>
                  <a:lnTo>
                    <a:pt x="135" y="143"/>
                  </a:lnTo>
                  <a:lnTo>
                    <a:pt x="135" y="53"/>
                  </a:lnTo>
                  <a:lnTo>
                    <a:pt x="132" y="5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3" name="Freeform 254">
              <a:extLst>
                <a:ext uri="{FF2B5EF4-FFF2-40B4-BE49-F238E27FC236}">
                  <a16:creationId xmlns:a16="http://schemas.microsoft.com/office/drawing/2014/main" id="{D763692A-4A6A-6948-8685-460905BBC8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6150" y="4735513"/>
              <a:ext cx="38100" cy="52387"/>
            </a:xfrm>
            <a:custGeom>
              <a:avLst/>
              <a:gdLst>
                <a:gd name="T0" fmla="*/ 13175 w 107"/>
                <a:gd name="T1" fmla="*/ 30292 h 147"/>
                <a:gd name="T2" fmla="*/ 23857 w 107"/>
                <a:gd name="T3" fmla="*/ 41339 h 147"/>
                <a:gd name="T4" fmla="*/ 35964 w 107"/>
                <a:gd name="T5" fmla="*/ 37776 h 147"/>
                <a:gd name="T6" fmla="*/ 35964 w 107"/>
                <a:gd name="T7" fmla="*/ 49180 h 147"/>
                <a:gd name="T8" fmla="*/ 21721 w 107"/>
                <a:gd name="T9" fmla="*/ 52031 h 147"/>
                <a:gd name="T10" fmla="*/ 0 w 107"/>
                <a:gd name="T11" fmla="*/ 25303 h 147"/>
                <a:gd name="T12" fmla="*/ 18872 w 107"/>
                <a:gd name="T13" fmla="*/ 0 h 147"/>
                <a:gd name="T14" fmla="*/ 37744 w 107"/>
                <a:gd name="T15" fmla="*/ 26372 h 147"/>
                <a:gd name="T16" fmla="*/ 37744 w 107"/>
                <a:gd name="T17" fmla="*/ 30292 h 147"/>
                <a:gd name="T18" fmla="*/ 13175 w 107"/>
                <a:gd name="T19" fmla="*/ 30292 h 147"/>
                <a:gd name="T20" fmla="*/ 26706 w 107"/>
                <a:gd name="T21" fmla="*/ 21739 h 147"/>
                <a:gd name="T22" fmla="*/ 19940 w 107"/>
                <a:gd name="T23" fmla="*/ 9266 h 147"/>
                <a:gd name="T24" fmla="*/ 13175 w 107"/>
                <a:gd name="T25" fmla="*/ 21739 h 147"/>
                <a:gd name="T26" fmla="*/ 26706 w 107"/>
                <a:gd name="T27" fmla="*/ 21739 h 14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7" h="147">
                  <a:moveTo>
                    <a:pt x="37" y="85"/>
                  </a:moveTo>
                  <a:cubicBezTo>
                    <a:pt x="37" y="101"/>
                    <a:pt x="48" y="116"/>
                    <a:pt x="67" y="116"/>
                  </a:cubicBezTo>
                  <a:cubicBezTo>
                    <a:pt x="80" y="116"/>
                    <a:pt x="93" y="111"/>
                    <a:pt x="101" y="106"/>
                  </a:cubicBezTo>
                  <a:lnTo>
                    <a:pt x="101" y="138"/>
                  </a:lnTo>
                  <a:cubicBezTo>
                    <a:pt x="90" y="143"/>
                    <a:pt x="75" y="146"/>
                    <a:pt x="61" y="146"/>
                  </a:cubicBezTo>
                  <a:cubicBezTo>
                    <a:pt x="19" y="146"/>
                    <a:pt x="0" y="116"/>
                    <a:pt x="0" y="71"/>
                  </a:cubicBezTo>
                  <a:cubicBezTo>
                    <a:pt x="0" y="34"/>
                    <a:pt x="19" y="0"/>
                    <a:pt x="53" y="0"/>
                  </a:cubicBezTo>
                  <a:cubicBezTo>
                    <a:pt x="64" y="0"/>
                    <a:pt x="106" y="0"/>
                    <a:pt x="106" y="74"/>
                  </a:cubicBezTo>
                  <a:lnTo>
                    <a:pt x="106" y="85"/>
                  </a:lnTo>
                  <a:lnTo>
                    <a:pt x="37" y="85"/>
                  </a:lnTo>
                  <a:close/>
                  <a:moveTo>
                    <a:pt x="75" y="61"/>
                  </a:moveTo>
                  <a:cubicBezTo>
                    <a:pt x="75" y="42"/>
                    <a:pt x="69" y="26"/>
                    <a:pt x="56" y="26"/>
                  </a:cubicBezTo>
                  <a:cubicBezTo>
                    <a:pt x="37" y="26"/>
                    <a:pt x="37" y="53"/>
                    <a:pt x="37" y="61"/>
                  </a:cubicBezTo>
                  <a:lnTo>
                    <a:pt x="75" y="6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4" name="Freeform 255">
              <a:extLst>
                <a:ext uri="{FF2B5EF4-FFF2-40B4-BE49-F238E27FC236}">
                  <a16:creationId xmlns:a16="http://schemas.microsoft.com/office/drawing/2014/main" id="{84D75CE3-782B-0A47-8388-FA01B4251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188" y="4735513"/>
              <a:ext cx="26987" cy="52387"/>
            </a:xfrm>
            <a:custGeom>
              <a:avLst/>
              <a:gdLst>
                <a:gd name="T0" fmla="*/ 0 w 75"/>
                <a:gd name="T1" fmla="*/ 0 h 144"/>
                <a:gd name="T2" fmla="*/ 12594 w 75"/>
                <a:gd name="T3" fmla="*/ 0 h 144"/>
                <a:gd name="T4" fmla="*/ 12594 w 75"/>
                <a:gd name="T5" fmla="*/ 9459 h 144"/>
                <a:gd name="T6" fmla="*/ 24828 w 75"/>
                <a:gd name="T7" fmla="*/ 0 h 144"/>
                <a:gd name="T8" fmla="*/ 26627 w 75"/>
                <a:gd name="T9" fmla="*/ 0 h 144"/>
                <a:gd name="T10" fmla="*/ 26627 w 75"/>
                <a:gd name="T11" fmla="*/ 14188 h 144"/>
                <a:gd name="T12" fmla="*/ 21949 w 75"/>
                <a:gd name="T13" fmla="*/ 13461 h 144"/>
                <a:gd name="T14" fmla="*/ 13314 w 75"/>
                <a:gd name="T15" fmla="*/ 28740 h 144"/>
                <a:gd name="T16" fmla="*/ 13314 w 75"/>
                <a:gd name="T17" fmla="*/ 52023 h 144"/>
                <a:gd name="T18" fmla="*/ 0 w 75"/>
                <a:gd name="T19" fmla="*/ 52023 h 144"/>
                <a:gd name="T20" fmla="*/ 0 w 75"/>
                <a:gd name="T21" fmla="*/ 10550 h 144"/>
                <a:gd name="T22" fmla="*/ 0 w 75"/>
                <a:gd name="T23" fmla="*/ 0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5" h="144">
                  <a:moveTo>
                    <a:pt x="0" y="0"/>
                  </a:moveTo>
                  <a:lnTo>
                    <a:pt x="35" y="0"/>
                  </a:lnTo>
                  <a:lnTo>
                    <a:pt x="35" y="26"/>
                  </a:lnTo>
                  <a:cubicBezTo>
                    <a:pt x="43" y="10"/>
                    <a:pt x="48" y="0"/>
                    <a:pt x="69" y="0"/>
                  </a:cubicBezTo>
                  <a:lnTo>
                    <a:pt x="74" y="0"/>
                  </a:lnTo>
                  <a:lnTo>
                    <a:pt x="74" y="39"/>
                  </a:lnTo>
                  <a:cubicBezTo>
                    <a:pt x="72" y="39"/>
                    <a:pt x="66" y="37"/>
                    <a:pt x="61" y="37"/>
                  </a:cubicBezTo>
                  <a:cubicBezTo>
                    <a:pt x="40" y="37"/>
                    <a:pt x="37" y="58"/>
                    <a:pt x="37" y="79"/>
                  </a:cubicBezTo>
                  <a:lnTo>
                    <a:pt x="37" y="143"/>
                  </a:lnTo>
                  <a:lnTo>
                    <a:pt x="0" y="143"/>
                  </a:lnTo>
                  <a:lnTo>
                    <a:pt x="0" y="29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" name="Freeform 256">
              <a:extLst>
                <a:ext uri="{FF2B5EF4-FFF2-40B4-BE49-F238E27FC236}">
                  <a16:creationId xmlns:a16="http://schemas.microsoft.com/office/drawing/2014/main" id="{2C8FB925-F9E3-384D-AF5B-4A964A9CC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7113" y="4713288"/>
              <a:ext cx="14287" cy="74612"/>
            </a:xfrm>
            <a:custGeom>
              <a:avLst/>
              <a:gdLst>
                <a:gd name="T0" fmla="*/ 0 w 38"/>
                <a:gd name="T1" fmla="*/ 0 h 208"/>
                <a:gd name="T2" fmla="*/ 13911 w 38"/>
                <a:gd name="T3" fmla="*/ 0 h 208"/>
                <a:gd name="T4" fmla="*/ 13911 w 38"/>
                <a:gd name="T5" fmla="*/ 13272 h 208"/>
                <a:gd name="T6" fmla="*/ 0 w 38"/>
                <a:gd name="T7" fmla="*/ 13272 h 208"/>
                <a:gd name="T8" fmla="*/ 0 w 38"/>
                <a:gd name="T9" fmla="*/ 0 h 208"/>
                <a:gd name="T10" fmla="*/ 0 w 38"/>
                <a:gd name="T11" fmla="*/ 22958 h 208"/>
                <a:gd name="T12" fmla="*/ 13911 w 38"/>
                <a:gd name="T13" fmla="*/ 22958 h 208"/>
                <a:gd name="T14" fmla="*/ 13911 w 38"/>
                <a:gd name="T15" fmla="*/ 74253 h 208"/>
                <a:gd name="T16" fmla="*/ 0 w 38"/>
                <a:gd name="T17" fmla="*/ 74253 h 208"/>
                <a:gd name="T18" fmla="*/ 0 w 38"/>
                <a:gd name="T19" fmla="*/ 22958 h 20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8" h="208">
                  <a:moveTo>
                    <a:pt x="0" y="0"/>
                  </a:moveTo>
                  <a:lnTo>
                    <a:pt x="37" y="0"/>
                  </a:lnTo>
                  <a:lnTo>
                    <a:pt x="37" y="37"/>
                  </a:lnTo>
                  <a:lnTo>
                    <a:pt x="0" y="37"/>
                  </a:lnTo>
                  <a:lnTo>
                    <a:pt x="0" y="0"/>
                  </a:lnTo>
                  <a:close/>
                  <a:moveTo>
                    <a:pt x="0" y="64"/>
                  </a:moveTo>
                  <a:lnTo>
                    <a:pt x="37" y="64"/>
                  </a:lnTo>
                  <a:lnTo>
                    <a:pt x="37" y="207"/>
                  </a:lnTo>
                  <a:lnTo>
                    <a:pt x="0" y="207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" name="Freeform 257">
              <a:extLst>
                <a:ext uri="{FF2B5EF4-FFF2-40B4-BE49-F238E27FC236}">
                  <a16:creationId xmlns:a16="http://schemas.microsoft.com/office/drawing/2014/main" id="{53A83FF0-18C3-B143-9320-333DAA349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163" y="4735513"/>
              <a:ext cx="33337" cy="52387"/>
            </a:xfrm>
            <a:custGeom>
              <a:avLst/>
              <a:gdLst>
                <a:gd name="T0" fmla="*/ 32982 w 94"/>
                <a:gd name="T1" fmla="*/ 49892 h 147"/>
                <a:gd name="T2" fmla="*/ 20924 w 94"/>
                <a:gd name="T3" fmla="*/ 52031 h 147"/>
                <a:gd name="T4" fmla="*/ 0 w 94"/>
                <a:gd name="T5" fmla="*/ 26372 h 147"/>
                <a:gd name="T6" fmla="*/ 21634 w 94"/>
                <a:gd name="T7" fmla="*/ 0 h 147"/>
                <a:gd name="T8" fmla="*/ 31918 w 94"/>
                <a:gd name="T9" fmla="*/ 2851 h 147"/>
                <a:gd name="T10" fmla="*/ 31209 w 94"/>
                <a:gd name="T11" fmla="*/ 14255 h 147"/>
                <a:gd name="T12" fmla="*/ 23761 w 94"/>
                <a:gd name="T13" fmla="*/ 12117 h 147"/>
                <a:gd name="T14" fmla="*/ 13477 w 94"/>
                <a:gd name="T15" fmla="*/ 27441 h 147"/>
                <a:gd name="T16" fmla="*/ 23761 w 94"/>
                <a:gd name="T17" fmla="*/ 41339 h 147"/>
                <a:gd name="T18" fmla="*/ 31209 w 94"/>
                <a:gd name="T19" fmla="*/ 39558 h 147"/>
                <a:gd name="T20" fmla="*/ 32982 w 94"/>
                <a:gd name="T21" fmla="*/ 49892 h 1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4" h="147">
                  <a:moveTo>
                    <a:pt x="93" y="140"/>
                  </a:moveTo>
                  <a:cubicBezTo>
                    <a:pt x="83" y="143"/>
                    <a:pt x="72" y="146"/>
                    <a:pt x="59" y="146"/>
                  </a:cubicBezTo>
                  <a:cubicBezTo>
                    <a:pt x="11" y="146"/>
                    <a:pt x="0" y="101"/>
                    <a:pt x="0" y="74"/>
                  </a:cubicBezTo>
                  <a:cubicBezTo>
                    <a:pt x="0" y="32"/>
                    <a:pt x="22" y="0"/>
                    <a:pt x="61" y="0"/>
                  </a:cubicBezTo>
                  <a:cubicBezTo>
                    <a:pt x="75" y="0"/>
                    <a:pt x="80" y="3"/>
                    <a:pt x="90" y="8"/>
                  </a:cubicBezTo>
                  <a:lnTo>
                    <a:pt x="88" y="40"/>
                  </a:lnTo>
                  <a:cubicBezTo>
                    <a:pt x="80" y="37"/>
                    <a:pt x="75" y="34"/>
                    <a:pt x="67" y="34"/>
                  </a:cubicBezTo>
                  <a:cubicBezTo>
                    <a:pt x="38" y="34"/>
                    <a:pt x="38" y="71"/>
                    <a:pt x="38" y="77"/>
                  </a:cubicBezTo>
                  <a:cubicBezTo>
                    <a:pt x="38" y="106"/>
                    <a:pt x="53" y="116"/>
                    <a:pt x="67" y="116"/>
                  </a:cubicBezTo>
                  <a:cubicBezTo>
                    <a:pt x="75" y="116"/>
                    <a:pt x="83" y="114"/>
                    <a:pt x="88" y="111"/>
                  </a:cubicBezTo>
                  <a:lnTo>
                    <a:pt x="93" y="14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" name="Freeform 258">
              <a:extLst>
                <a:ext uri="{FF2B5EF4-FFF2-40B4-BE49-F238E27FC236}">
                  <a16:creationId xmlns:a16="http://schemas.microsoft.com/office/drawing/2014/main" id="{D4D6FFC0-09B6-4745-9E8B-3C9C24E1A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263" y="4735513"/>
              <a:ext cx="38100" cy="53975"/>
            </a:xfrm>
            <a:custGeom>
              <a:avLst/>
              <a:gdLst>
                <a:gd name="T0" fmla="*/ 4985 w 107"/>
                <a:gd name="T1" fmla="*/ 2898 h 149"/>
                <a:gd name="T2" fmla="*/ 18872 w 107"/>
                <a:gd name="T3" fmla="*/ 0 h 149"/>
                <a:gd name="T4" fmla="*/ 37744 w 107"/>
                <a:gd name="T5" fmla="*/ 19199 h 149"/>
                <a:gd name="T6" fmla="*/ 37744 w 107"/>
                <a:gd name="T7" fmla="*/ 38398 h 149"/>
                <a:gd name="T8" fmla="*/ 37744 w 107"/>
                <a:gd name="T9" fmla="*/ 52888 h 149"/>
                <a:gd name="T10" fmla="*/ 25637 w 107"/>
                <a:gd name="T11" fmla="*/ 52888 h 149"/>
                <a:gd name="T12" fmla="*/ 25637 w 107"/>
                <a:gd name="T13" fmla="*/ 46006 h 149"/>
                <a:gd name="T14" fmla="*/ 13175 w 107"/>
                <a:gd name="T15" fmla="*/ 53613 h 149"/>
                <a:gd name="T16" fmla="*/ 0 w 107"/>
                <a:gd name="T17" fmla="*/ 38398 h 149"/>
                <a:gd name="T18" fmla="*/ 21721 w 107"/>
                <a:gd name="T19" fmla="*/ 21010 h 149"/>
                <a:gd name="T20" fmla="*/ 25637 w 107"/>
                <a:gd name="T21" fmla="*/ 21010 h 149"/>
                <a:gd name="T22" fmla="*/ 17092 w 107"/>
                <a:gd name="T23" fmla="*/ 11592 h 149"/>
                <a:gd name="T24" fmla="*/ 4985 w 107"/>
                <a:gd name="T25" fmla="*/ 16301 h 149"/>
                <a:gd name="T26" fmla="*/ 4985 w 107"/>
                <a:gd name="T27" fmla="*/ 2898 h 149"/>
                <a:gd name="T28" fmla="*/ 12463 w 107"/>
                <a:gd name="T29" fmla="*/ 35500 h 149"/>
                <a:gd name="T30" fmla="*/ 18160 w 107"/>
                <a:gd name="T31" fmla="*/ 42021 h 149"/>
                <a:gd name="T32" fmla="*/ 25637 w 107"/>
                <a:gd name="T33" fmla="*/ 29704 h 149"/>
                <a:gd name="T34" fmla="*/ 25637 w 107"/>
                <a:gd name="T35" fmla="*/ 26806 h 149"/>
                <a:gd name="T36" fmla="*/ 12463 w 107"/>
                <a:gd name="T37" fmla="*/ 35500 h 1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149">
                  <a:moveTo>
                    <a:pt x="14" y="8"/>
                  </a:moveTo>
                  <a:cubicBezTo>
                    <a:pt x="24" y="5"/>
                    <a:pt x="40" y="0"/>
                    <a:pt x="53" y="0"/>
                  </a:cubicBezTo>
                  <a:cubicBezTo>
                    <a:pt x="96" y="0"/>
                    <a:pt x="106" y="21"/>
                    <a:pt x="106" y="53"/>
                  </a:cubicBezTo>
                  <a:lnTo>
                    <a:pt x="106" y="106"/>
                  </a:lnTo>
                  <a:lnTo>
                    <a:pt x="106" y="146"/>
                  </a:lnTo>
                  <a:lnTo>
                    <a:pt x="72" y="146"/>
                  </a:lnTo>
                  <a:lnTo>
                    <a:pt x="72" y="127"/>
                  </a:lnTo>
                  <a:cubicBezTo>
                    <a:pt x="69" y="135"/>
                    <a:pt x="56" y="148"/>
                    <a:pt x="37" y="148"/>
                  </a:cubicBezTo>
                  <a:cubicBezTo>
                    <a:pt x="14" y="148"/>
                    <a:pt x="0" y="132"/>
                    <a:pt x="0" y="106"/>
                  </a:cubicBezTo>
                  <a:cubicBezTo>
                    <a:pt x="0" y="58"/>
                    <a:pt x="48" y="58"/>
                    <a:pt x="61" y="58"/>
                  </a:cubicBezTo>
                  <a:lnTo>
                    <a:pt x="72" y="58"/>
                  </a:lnTo>
                  <a:cubicBezTo>
                    <a:pt x="72" y="32"/>
                    <a:pt x="53" y="32"/>
                    <a:pt x="48" y="32"/>
                  </a:cubicBezTo>
                  <a:cubicBezTo>
                    <a:pt x="37" y="32"/>
                    <a:pt x="30" y="34"/>
                    <a:pt x="14" y="45"/>
                  </a:cubicBezTo>
                  <a:lnTo>
                    <a:pt x="14" y="8"/>
                  </a:lnTo>
                  <a:close/>
                  <a:moveTo>
                    <a:pt x="35" y="98"/>
                  </a:moveTo>
                  <a:cubicBezTo>
                    <a:pt x="35" y="116"/>
                    <a:pt x="49" y="116"/>
                    <a:pt x="51" y="116"/>
                  </a:cubicBezTo>
                  <a:cubicBezTo>
                    <a:pt x="54" y="116"/>
                    <a:pt x="72" y="116"/>
                    <a:pt x="72" y="82"/>
                  </a:cubicBezTo>
                  <a:lnTo>
                    <a:pt x="72" y="74"/>
                  </a:lnTo>
                  <a:cubicBezTo>
                    <a:pt x="56" y="74"/>
                    <a:pt x="35" y="74"/>
                    <a:pt x="35" y="9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" name="Freeform 259">
              <a:extLst>
                <a:ext uri="{FF2B5EF4-FFF2-40B4-BE49-F238E27FC236}">
                  <a16:creationId xmlns:a16="http://schemas.microsoft.com/office/drawing/2014/main" id="{C2C9E68F-97F8-D24B-9256-85AEAE5BA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8713" y="4735513"/>
              <a:ext cx="33337" cy="52387"/>
            </a:xfrm>
            <a:custGeom>
              <a:avLst/>
              <a:gdLst>
                <a:gd name="T0" fmla="*/ 28941 w 91"/>
                <a:gd name="T1" fmla="*/ 12200 h 146"/>
                <a:gd name="T2" fmla="*/ 18317 w 91"/>
                <a:gd name="T3" fmla="*/ 9329 h 146"/>
                <a:gd name="T4" fmla="*/ 13555 w 91"/>
                <a:gd name="T5" fmla="*/ 13276 h 146"/>
                <a:gd name="T6" fmla="*/ 23079 w 91"/>
                <a:gd name="T7" fmla="*/ 20811 h 146"/>
                <a:gd name="T8" fmla="*/ 32971 w 91"/>
                <a:gd name="T9" fmla="*/ 35882 h 146"/>
                <a:gd name="T10" fmla="*/ 16485 w 91"/>
                <a:gd name="T11" fmla="*/ 52028 h 146"/>
                <a:gd name="T12" fmla="*/ 1832 w 91"/>
                <a:gd name="T13" fmla="*/ 49158 h 146"/>
                <a:gd name="T14" fmla="*/ 1832 w 91"/>
                <a:gd name="T15" fmla="*/ 36958 h 146"/>
                <a:gd name="T16" fmla="*/ 12456 w 91"/>
                <a:gd name="T17" fmla="*/ 40546 h 146"/>
                <a:gd name="T18" fmla="*/ 19416 w 91"/>
                <a:gd name="T19" fmla="*/ 35882 h 146"/>
                <a:gd name="T20" fmla="*/ 9525 w 91"/>
                <a:gd name="T21" fmla="*/ 30140 h 146"/>
                <a:gd name="T22" fmla="*/ 0 w 91"/>
                <a:gd name="T23" fmla="*/ 15070 h 146"/>
                <a:gd name="T24" fmla="*/ 16485 w 91"/>
                <a:gd name="T25" fmla="*/ 0 h 146"/>
                <a:gd name="T26" fmla="*/ 28941 w 91"/>
                <a:gd name="T27" fmla="*/ 1794 h 146"/>
                <a:gd name="T28" fmla="*/ 28941 w 91"/>
                <a:gd name="T29" fmla="*/ 12200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1" h="146">
                  <a:moveTo>
                    <a:pt x="79" y="34"/>
                  </a:moveTo>
                  <a:cubicBezTo>
                    <a:pt x="69" y="29"/>
                    <a:pt x="61" y="26"/>
                    <a:pt x="50" y="26"/>
                  </a:cubicBezTo>
                  <a:cubicBezTo>
                    <a:pt x="40" y="26"/>
                    <a:pt x="37" y="31"/>
                    <a:pt x="37" y="37"/>
                  </a:cubicBezTo>
                  <a:cubicBezTo>
                    <a:pt x="37" y="45"/>
                    <a:pt x="42" y="47"/>
                    <a:pt x="63" y="58"/>
                  </a:cubicBezTo>
                  <a:cubicBezTo>
                    <a:pt x="77" y="63"/>
                    <a:pt x="90" y="74"/>
                    <a:pt x="90" y="100"/>
                  </a:cubicBezTo>
                  <a:cubicBezTo>
                    <a:pt x="90" y="132"/>
                    <a:pt x="69" y="145"/>
                    <a:pt x="45" y="145"/>
                  </a:cubicBezTo>
                  <a:cubicBezTo>
                    <a:pt x="34" y="145"/>
                    <a:pt x="18" y="143"/>
                    <a:pt x="5" y="137"/>
                  </a:cubicBezTo>
                  <a:lnTo>
                    <a:pt x="5" y="103"/>
                  </a:lnTo>
                  <a:cubicBezTo>
                    <a:pt x="13" y="108"/>
                    <a:pt x="26" y="113"/>
                    <a:pt x="34" y="113"/>
                  </a:cubicBezTo>
                  <a:cubicBezTo>
                    <a:pt x="53" y="113"/>
                    <a:pt x="53" y="105"/>
                    <a:pt x="53" y="100"/>
                  </a:cubicBezTo>
                  <a:cubicBezTo>
                    <a:pt x="53" y="95"/>
                    <a:pt x="42" y="92"/>
                    <a:pt x="26" y="84"/>
                  </a:cubicBezTo>
                  <a:cubicBezTo>
                    <a:pt x="13" y="79"/>
                    <a:pt x="0" y="66"/>
                    <a:pt x="0" y="42"/>
                  </a:cubicBezTo>
                  <a:cubicBezTo>
                    <a:pt x="0" y="26"/>
                    <a:pt x="10" y="0"/>
                    <a:pt x="45" y="0"/>
                  </a:cubicBezTo>
                  <a:cubicBezTo>
                    <a:pt x="61" y="0"/>
                    <a:pt x="74" y="2"/>
                    <a:pt x="79" y="5"/>
                  </a:cubicBezTo>
                  <a:lnTo>
                    <a:pt x="79" y="3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" name="Freeform 260">
              <a:extLst>
                <a:ext uri="{FF2B5EF4-FFF2-40B4-BE49-F238E27FC236}">
                  <a16:creationId xmlns:a16="http://schemas.microsoft.com/office/drawing/2014/main" id="{B74B675C-94E6-0D41-9A16-7357A488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7263" y="4711700"/>
              <a:ext cx="19050" cy="19050"/>
            </a:xfrm>
            <a:custGeom>
              <a:avLst/>
              <a:gdLst>
                <a:gd name="T0" fmla="*/ 0 w 54"/>
                <a:gd name="T1" fmla="*/ 18684 h 52"/>
                <a:gd name="T2" fmla="*/ 7408 w 54"/>
                <a:gd name="T3" fmla="*/ 0 h 52"/>
                <a:gd name="T4" fmla="*/ 18697 w 54"/>
                <a:gd name="T5" fmla="*/ 0 h 52"/>
                <a:gd name="T6" fmla="*/ 7408 w 54"/>
                <a:gd name="T7" fmla="*/ 18684 h 52"/>
                <a:gd name="T8" fmla="*/ 0 w 54"/>
                <a:gd name="T9" fmla="*/ 18684 h 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52">
                  <a:moveTo>
                    <a:pt x="0" y="51"/>
                  </a:moveTo>
                  <a:lnTo>
                    <a:pt x="21" y="0"/>
                  </a:lnTo>
                  <a:lnTo>
                    <a:pt x="53" y="0"/>
                  </a:lnTo>
                  <a:lnTo>
                    <a:pt x="21" y="51"/>
                  </a:lnTo>
                  <a:lnTo>
                    <a:pt x="0" y="51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" name="Freeform 261">
              <a:extLst>
                <a:ext uri="{FF2B5EF4-FFF2-40B4-BE49-F238E27FC236}">
                  <a16:creationId xmlns:a16="http://schemas.microsoft.com/office/drawing/2014/main" id="{A7E346A0-0EDB-7A44-887F-63EA110B5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4378325"/>
              <a:ext cx="485775" cy="423863"/>
            </a:xfrm>
            <a:custGeom>
              <a:avLst/>
              <a:gdLst>
                <a:gd name="T0" fmla="*/ 241629 w 1351"/>
                <a:gd name="T1" fmla="*/ 423503 h 1177"/>
                <a:gd name="T2" fmla="*/ 0 w 1351"/>
                <a:gd name="T3" fmla="*/ 211751 h 1177"/>
                <a:gd name="T4" fmla="*/ 241629 w 1351"/>
                <a:gd name="T5" fmla="*/ 0 h 1177"/>
                <a:gd name="T6" fmla="*/ 485415 w 1351"/>
                <a:gd name="T7" fmla="*/ 211751 h 1177"/>
                <a:gd name="T8" fmla="*/ 241629 w 1351"/>
                <a:gd name="T9" fmla="*/ 423503 h 1177"/>
                <a:gd name="T10" fmla="*/ 241629 w 1351"/>
                <a:gd name="T11" fmla="*/ 325190 h 1177"/>
                <a:gd name="T12" fmla="*/ 310306 w 1351"/>
                <a:gd name="T13" fmla="*/ 211751 h 1177"/>
                <a:gd name="T14" fmla="*/ 241629 w 1351"/>
                <a:gd name="T15" fmla="*/ 98313 h 1177"/>
                <a:gd name="T16" fmla="*/ 175109 w 1351"/>
                <a:gd name="T17" fmla="*/ 211751 h 1177"/>
                <a:gd name="T18" fmla="*/ 241629 w 1351"/>
                <a:gd name="T19" fmla="*/ 325190 h 11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51" h="1177">
                  <a:moveTo>
                    <a:pt x="672" y="1176"/>
                  </a:moveTo>
                  <a:cubicBezTo>
                    <a:pt x="249" y="1176"/>
                    <a:pt x="0" y="975"/>
                    <a:pt x="0" y="588"/>
                  </a:cubicBezTo>
                  <a:cubicBezTo>
                    <a:pt x="0" y="207"/>
                    <a:pt x="248" y="0"/>
                    <a:pt x="672" y="0"/>
                  </a:cubicBezTo>
                  <a:cubicBezTo>
                    <a:pt x="1095" y="0"/>
                    <a:pt x="1350" y="207"/>
                    <a:pt x="1350" y="588"/>
                  </a:cubicBezTo>
                  <a:cubicBezTo>
                    <a:pt x="1350" y="975"/>
                    <a:pt x="1096" y="1176"/>
                    <a:pt x="672" y="1176"/>
                  </a:cubicBezTo>
                  <a:close/>
                  <a:moveTo>
                    <a:pt x="672" y="903"/>
                  </a:moveTo>
                  <a:cubicBezTo>
                    <a:pt x="858" y="903"/>
                    <a:pt x="863" y="710"/>
                    <a:pt x="863" y="588"/>
                  </a:cubicBezTo>
                  <a:cubicBezTo>
                    <a:pt x="860" y="482"/>
                    <a:pt x="850" y="273"/>
                    <a:pt x="672" y="273"/>
                  </a:cubicBezTo>
                  <a:cubicBezTo>
                    <a:pt x="500" y="273"/>
                    <a:pt x="487" y="482"/>
                    <a:pt x="487" y="588"/>
                  </a:cubicBezTo>
                  <a:cubicBezTo>
                    <a:pt x="487" y="710"/>
                    <a:pt x="506" y="903"/>
                    <a:pt x="672" y="90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" name="Freeform 262">
              <a:extLst>
                <a:ext uri="{FF2B5EF4-FFF2-40B4-BE49-F238E27FC236}">
                  <a16:creationId xmlns:a16="http://schemas.microsoft.com/office/drawing/2014/main" id="{7EA0C17E-1088-A147-85CE-5B29A6E150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5988" y="4386263"/>
              <a:ext cx="449262" cy="411162"/>
            </a:xfrm>
            <a:custGeom>
              <a:avLst/>
              <a:gdLst>
                <a:gd name="T0" fmla="*/ 288708 w 1248"/>
                <a:gd name="T1" fmla="*/ 0 h 1140"/>
                <a:gd name="T2" fmla="*/ 448902 w 1248"/>
                <a:gd name="T3" fmla="*/ 141382 h 1140"/>
                <a:gd name="T4" fmla="*/ 287628 w 1248"/>
                <a:gd name="T5" fmla="*/ 292502 h 1140"/>
                <a:gd name="T6" fmla="*/ 167753 w 1248"/>
                <a:gd name="T7" fmla="*/ 292502 h 1140"/>
                <a:gd name="T8" fmla="*/ 167753 w 1248"/>
                <a:gd name="T9" fmla="*/ 410801 h 1140"/>
                <a:gd name="T10" fmla="*/ 0 w 1248"/>
                <a:gd name="T11" fmla="*/ 410801 h 1140"/>
                <a:gd name="T12" fmla="*/ 0 w 1248"/>
                <a:gd name="T13" fmla="*/ 0 h 1140"/>
                <a:gd name="T14" fmla="*/ 288708 w 1248"/>
                <a:gd name="T15" fmla="*/ 0 h 1140"/>
                <a:gd name="T16" fmla="*/ 200152 w 1248"/>
                <a:gd name="T17" fmla="*/ 196925 h 1140"/>
                <a:gd name="T18" fmla="*/ 281149 w 1248"/>
                <a:gd name="T19" fmla="*/ 144267 h 1140"/>
                <a:gd name="T20" fmla="*/ 200152 w 1248"/>
                <a:gd name="T21" fmla="*/ 95577 h 1140"/>
                <a:gd name="T22" fmla="*/ 163793 w 1248"/>
                <a:gd name="T23" fmla="*/ 95577 h 1140"/>
                <a:gd name="T24" fmla="*/ 163793 w 1248"/>
                <a:gd name="T25" fmla="*/ 196925 h 1140"/>
                <a:gd name="T26" fmla="*/ 200152 w 1248"/>
                <a:gd name="T27" fmla="*/ 196925 h 11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248" h="1140">
                  <a:moveTo>
                    <a:pt x="802" y="0"/>
                  </a:moveTo>
                  <a:cubicBezTo>
                    <a:pt x="993" y="0"/>
                    <a:pt x="1247" y="85"/>
                    <a:pt x="1247" y="392"/>
                  </a:cubicBezTo>
                  <a:cubicBezTo>
                    <a:pt x="1247" y="689"/>
                    <a:pt x="1043" y="811"/>
                    <a:pt x="799" y="811"/>
                  </a:cubicBezTo>
                  <a:lnTo>
                    <a:pt x="466" y="811"/>
                  </a:lnTo>
                  <a:lnTo>
                    <a:pt x="466" y="1139"/>
                  </a:lnTo>
                  <a:lnTo>
                    <a:pt x="0" y="1139"/>
                  </a:lnTo>
                  <a:lnTo>
                    <a:pt x="0" y="0"/>
                  </a:lnTo>
                  <a:lnTo>
                    <a:pt x="802" y="0"/>
                  </a:lnTo>
                  <a:close/>
                  <a:moveTo>
                    <a:pt x="556" y="546"/>
                  </a:moveTo>
                  <a:cubicBezTo>
                    <a:pt x="667" y="546"/>
                    <a:pt x="781" y="527"/>
                    <a:pt x="781" y="400"/>
                  </a:cubicBezTo>
                  <a:cubicBezTo>
                    <a:pt x="781" y="278"/>
                    <a:pt x="667" y="265"/>
                    <a:pt x="556" y="265"/>
                  </a:cubicBezTo>
                  <a:lnTo>
                    <a:pt x="455" y="265"/>
                  </a:lnTo>
                  <a:lnTo>
                    <a:pt x="455" y="546"/>
                  </a:lnTo>
                  <a:lnTo>
                    <a:pt x="556" y="54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" name="Freeform 263">
              <a:extLst>
                <a:ext uri="{FF2B5EF4-FFF2-40B4-BE49-F238E27FC236}">
                  <a16:creationId xmlns:a16="http://schemas.microsoft.com/office/drawing/2014/main" id="{78322572-3784-D64D-B1E2-B980F7F019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3825" y="4378325"/>
              <a:ext cx="396875" cy="423863"/>
            </a:xfrm>
            <a:custGeom>
              <a:avLst/>
              <a:gdLst>
                <a:gd name="T0" fmla="*/ 368784 w 1102"/>
                <a:gd name="T1" fmla="*/ 120022 h 1176"/>
                <a:gd name="T2" fmla="*/ 239133 w 1102"/>
                <a:gd name="T3" fmla="*/ 99118 h 1176"/>
                <a:gd name="T4" fmla="*/ 166745 w 1102"/>
                <a:gd name="T5" fmla="*/ 125789 h 1176"/>
                <a:gd name="T6" fmla="*/ 396515 w 1102"/>
                <a:gd name="T7" fmla="*/ 286180 h 1176"/>
                <a:gd name="T8" fmla="*/ 184032 w 1102"/>
                <a:gd name="T9" fmla="*/ 423503 h 1176"/>
                <a:gd name="T10" fmla="*/ 3601 w 1102"/>
                <a:gd name="T11" fmla="*/ 404400 h 1176"/>
                <a:gd name="T12" fmla="*/ 3601 w 1102"/>
                <a:gd name="T13" fmla="*/ 298434 h 1176"/>
                <a:gd name="T14" fmla="*/ 154140 w 1102"/>
                <a:gd name="T15" fmla="*/ 325466 h 1176"/>
                <a:gd name="T16" fmla="*/ 229770 w 1102"/>
                <a:gd name="T17" fmla="*/ 296632 h 1176"/>
                <a:gd name="T18" fmla="*/ 0 w 1102"/>
                <a:gd name="T19" fmla="*/ 132637 h 1176"/>
                <a:gd name="T20" fmla="*/ 224728 w 1102"/>
                <a:gd name="T21" fmla="*/ 0 h 1176"/>
                <a:gd name="T22" fmla="*/ 369864 w 1102"/>
                <a:gd name="T23" fmla="*/ 14057 h 1176"/>
                <a:gd name="T24" fmla="*/ 369864 w 1102"/>
                <a:gd name="T25" fmla="*/ 120022 h 1176"/>
                <a:gd name="T26" fmla="*/ 368784 w 1102"/>
                <a:gd name="T27" fmla="*/ 120022 h 11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02" h="1176">
                  <a:moveTo>
                    <a:pt x="1024" y="333"/>
                  </a:moveTo>
                  <a:cubicBezTo>
                    <a:pt x="921" y="299"/>
                    <a:pt x="797" y="275"/>
                    <a:pt x="664" y="275"/>
                  </a:cubicBezTo>
                  <a:cubicBezTo>
                    <a:pt x="590" y="275"/>
                    <a:pt x="463" y="278"/>
                    <a:pt x="463" y="349"/>
                  </a:cubicBezTo>
                  <a:cubicBezTo>
                    <a:pt x="463" y="497"/>
                    <a:pt x="1101" y="357"/>
                    <a:pt x="1101" y="794"/>
                  </a:cubicBezTo>
                  <a:cubicBezTo>
                    <a:pt x="1101" y="1098"/>
                    <a:pt x="778" y="1175"/>
                    <a:pt x="511" y="1175"/>
                  </a:cubicBezTo>
                  <a:cubicBezTo>
                    <a:pt x="330" y="1175"/>
                    <a:pt x="185" y="1159"/>
                    <a:pt x="10" y="1122"/>
                  </a:cubicBezTo>
                  <a:lnTo>
                    <a:pt x="10" y="828"/>
                  </a:lnTo>
                  <a:cubicBezTo>
                    <a:pt x="135" y="876"/>
                    <a:pt x="288" y="903"/>
                    <a:pt x="428" y="903"/>
                  </a:cubicBezTo>
                  <a:cubicBezTo>
                    <a:pt x="537" y="903"/>
                    <a:pt x="638" y="881"/>
                    <a:pt x="638" y="823"/>
                  </a:cubicBezTo>
                  <a:cubicBezTo>
                    <a:pt x="638" y="669"/>
                    <a:pt x="0" y="807"/>
                    <a:pt x="0" y="368"/>
                  </a:cubicBezTo>
                  <a:cubicBezTo>
                    <a:pt x="0" y="55"/>
                    <a:pt x="346" y="0"/>
                    <a:pt x="624" y="0"/>
                  </a:cubicBezTo>
                  <a:cubicBezTo>
                    <a:pt x="754" y="0"/>
                    <a:pt x="900" y="15"/>
                    <a:pt x="1027" y="39"/>
                  </a:cubicBezTo>
                  <a:lnTo>
                    <a:pt x="1027" y="333"/>
                  </a:lnTo>
                  <a:lnTo>
                    <a:pt x="1024" y="333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C78A5530-5A5A-9CD1-9D9B-1212D767B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1688" y="3048000"/>
            <a:ext cx="10588625" cy="762000"/>
          </a:xfrm>
        </p:spPr>
        <p:txBody>
          <a:bodyPr>
            <a:noAutofit/>
          </a:bodyPr>
          <a:lstStyle/>
          <a:p>
            <a:pPr algn="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b="1">
                <a:solidFill>
                  <a:schemeClr val="accent5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ias!</a:t>
            </a:r>
            <a:br>
              <a:rPr lang="en-US" b="1">
                <a:solidFill>
                  <a:schemeClr val="accent5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>
                <a:solidFill>
                  <a:schemeClr val="accent5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aho.org/immunization</a:t>
            </a:r>
            <a:br>
              <a:rPr lang="en-US" b="1">
                <a:solidFill>
                  <a:schemeClr val="accent5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1">
              <a:solidFill>
                <a:schemeClr val="accent5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9101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 advClick="0">
        <p15:prstTrans prst="curtains"/>
      </p:transition>
    </mc:Choice>
    <mc:Fallback xmlns="">
      <p:transition spd="slow" advClick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9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609F5621-ED30-3F89-5D50-56D8B3DBBC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6012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A69B0C3-F9D4-551F-C691-71475CF3E3D1}"/>
              </a:ext>
            </a:extLst>
          </p:cNvPr>
          <p:cNvSpPr txBox="1"/>
          <p:nvPr/>
        </p:nvSpPr>
        <p:spPr>
          <a:xfrm>
            <a:off x="589720" y="6439628"/>
            <a:ext cx="9607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/>
            <a:r>
              <a:rPr lang="es-419" sz="1800" b="1" dirty="0">
                <a:solidFill>
                  <a:schemeClr val="bg1"/>
                </a:solidFill>
              </a:rPr>
              <a:t>La matriz complete se encuentra en:</a:t>
            </a:r>
            <a:r>
              <a:rPr lang="es-419" sz="1800" b="1" dirty="0"/>
              <a:t> </a:t>
            </a:r>
            <a:r>
              <a:rPr lang="es-419" sz="1800" b="1" dirty="0">
                <a:hlinkClick r:id="rId4"/>
              </a:rPr>
              <a:t>https://iris.paho.org/handle/10665.2/57456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5473633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8">
            <a:extLst>
              <a:ext uri="{FF2B5EF4-FFF2-40B4-BE49-F238E27FC236}">
                <a16:creationId xmlns:a16="http://schemas.microsoft.com/office/drawing/2014/main" id="{69D47016-023F-44BD-981C-50E7A10A66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BAD08C-0788-786C-A6FE-588F92975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457200"/>
            <a:ext cx="4571998" cy="192938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419" b="1"/>
              <a:t>Dos tipos de herramienta de riesgo: </a:t>
            </a:r>
          </a:p>
        </p:txBody>
      </p:sp>
      <p:sp>
        <p:nvSpPr>
          <p:cNvPr id="26" name="sketchy line">
            <a:extLst>
              <a:ext uri="{FF2B5EF4-FFF2-40B4-BE49-F238E27FC236}">
                <a16:creationId xmlns:a16="http://schemas.microsoft.com/office/drawing/2014/main" id="{6D8B37B0-0682-433E-BC8D-498C04ABD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471415" y="1412748"/>
            <a:ext cx="1554480" cy="18288"/>
          </a:xfrm>
          <a:custGeom>
            <a:avLst/>
            <a:gdLst>
              <a:gd name="connsiteX0" fmla="*/ 0 w 1554480"/>
              <a:gd name="connsiteY0" fmla="*/ 0 h 18288"/>
              <a:gd name="connsiteX1" fmla="*/ 549250 w 1554480"/>
              <a:gd name="connsiteY1" fmla="*/ 0 h 18288"/>
              <a:gd name="connsiteX2" fmla="*/ 1082954 w 1554480"/>
              <a:gd name="connsiteY2" fmla="*/ 0 h 18288"/>
              <a:gd name="connsiteX3" fmla="*/ 1554480 w 1554480"/>
              <a:gd name="connsiteY3" fmla="*/ 0 h 18288"/>
              <a:gd name="connsiteX4" fmla="*/ 1554480 w 1554480"/>
              <a:gd name="connsiteY4" fmla="*/ 18288 h 18288"/>
              <a:gd name="connsiteX5" fmla="*/ 1067410 w 1554480"/>
              <a:gd name="connsiteY5" fmla="*/ 18288 h 18288"/>
              <a:gd name="connsiteX6" fmla="*/ 549250 w 1554480"/>
              <a:gd name="connsiteY6" fmla="*/ 18288 h 18288"/>
              <a:gd name="connsiteX7" fmla="*/ 0 w 1554480"/>
              <a:gd name="connsiteY7" fmla="*/ 18288 h 18288"/>
              <a:gd name="connsiteX8" fmla="*/ 0 w 1554480"/>
              <a:gd name="connsiteY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4480" h="18288" fill="none" extrusionOk="0">
                <a:moveTo>
                  <a:pt x="0" y="0"/>
                </a:moveTo>
                <a:cubicBezTo>
                  <a:pt x="114141" y="-19864"/>
                  <a:pt x="345055" y="-1657"/>
                  <a:pt x="549250" y="0"/>
                </a:cubicBezTo>
                <a:cubicBezTo>
                  <a:pt x="753445" y="1657"/>
                  <a:pt x="862292" y="-5674"/>
                  <a:pt x="1082954" y="0"/>
                </a:cubicBezTo>
                <a:cubicBezTo>
                  <a:pt x="1303616" y="5674"/>
                  <a:pt x="1363530" y="4537"/>
                  <a:pt x="1554480" y="0"/>
                </a:cubicBezTo>
                <a:cubicBezTo>
                  <a:pt x="1554963" y="7176"/>
                  <a:pt x="1553909" y="13682"/>
                  <a:pt x="1554480" y="18288"/>
                </a:cubicBezTo>
                <a:cubicBezTo>
                  <a:pt x="1338847" y="6127"/>
                  <a:pt x="1215066" y="37851"/>
                  <a:pt x="1067410" y="18288"/>
                </a:cubicBezTo>
                <a:cubicBezTo>
                  <a:pt x="919754" y="-1275"/>
                  <a:pt x="800465" y="3080"/>
                  <a:pt x="549250" y="18288"/>
                </a:cubicBezTo>
                <a:cubicBezTo>
                  <a:pt x="298035" y="33496"/>
                  <a:pt x="158868" y="22769"/>
                  <a:pt x="0" y="18288"/>
                </a:cubicBezTo>
                <a:cubicBezTo>
                  <a:pt x="-655" y="13237"/>
                  <a:pt x="709" y="4645"/>
                  <a:pt x="0" y="0"/>
                </a:cubicBezTo>
                <a:close/>
              </a:path>
              <a:path w="1554480" h="18288" stroke="0" extrusionOk="0">
                <a:moveTo>
                  <a:pt x="0" y="0"/>
                </a:moveTo>
                <a:cubicBezTo>
                  <a:pt x="249941" y="-58"/>
                  <a:pt x="367334" y="23448"/>
                  <a:pt x="502615" y="0"/>
                </a:cubicBezTo>
                <a:cubicBezTo>
                  <a:pt x="637897" y="-23448"/>
                  <a:pt x="813653" y="-20418"/>
                  <a:pt x="974141" y="0"/>
                </a:cubicBezTo>
                <a:cubicBezTo>
                  <a:pt x="1134629" y="20418"/>
                  <a:pt x="1268772" y="6288"/>
                  <a:pt x="1554480" y="0"/>
                </a:cubicBezTo>
                <a:cubicBezTo>
                  <a:pt x="1554917" y="7222"/>
                  <a:pt x="1555359" y="13299"/>
                  <a:pt x="1554480" y="18288"/>
                </a:cubicBezTo>
                <a:cubicBezTo>
                  <a:pt x="1336087" y="12172"/>
                  <a:pt x="1310024" y="19759"/>
                  <a:pt x="1067410" y="18288"/>
                </a:cubicBezTo>
                <a:cubicBezTo>
                  <a:pt x="824796" y="16818"/>
                  <a:pt x="787902" y="34647"/>
                  <a:pt x="518160" y="18288"/>
                </a:cubicBezTo>
                <a:cubicBezTo>
                  <a:pt x="248418" y="1930"/>
                  <a:pt x="133160" y="9205"/>
                  <a:pt x="0" y="18288"/>
                </a:cubicBezTo>
                <a:cubicBezTo>
                  <a:pt x="-643" y="9451"/>
                  <a:pt x="-340" y="711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074DD-8CF2-2B15-B89B-0526D30FCA8E}"/>
              </a:ext>
            </a:extLst>
          </p:cNvPr>
          <p:cNvSpPr txBox="1"/>
          <p:nvPr/>
        </p:nvSpPr>
        <p:spPr>
          <a:xfrm>
            <a:off x="5529596" y="399472"/>
            <a:ext cx="6007608" cy="1929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200"/>
              <a:t>Los resultados de riesgo son los mismo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419" sz="2200"/>
              <a:t>Se dispone de un reporte de paí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02D-53B7-1FD8-6D74-8115C34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1864FEA-1DA4-48A5-8C27-3E4FD55277C5}" type="slidenum">
              <a:rPr lang="en-US"/>
              <a:pPr>
                <a:spcAft>
                  <a:spcPts val="600"/>
                </a:spcAft>
                <a:defRPr/>
              </a:pPr>
              <a:t>9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B89730-1B5B-AB35-A9FF-7B6BB01929D6}"/>
              </a:ext>
            </a:extLst>
          </p:cNvPr>
          <p:cNvSpPr txBox="1"/>
          <p:nvPr/>
        </p:nvSpPr>
        <p:spPr>
          <a:xfrm rot="16200000">
            <a:off x="-590192" y="3494998"/>
            <a:ext cx="21587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2800" b="1"/>
              <a:t>EXCEL</a:t>
            </a:r>
          </a:p>
        </p:txBody>
      </p:sp>
      <p:pic>
        <p:nvPicPr>
          <p:cNvPr id="15" name="Picture 14" descr="A blue tex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6BF6505D-8A98-024B-4C83-72427EA60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798" y="6102046"/>
            <a:ext cx="1153128" cy="48546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B45E132-E2EF-D44E-87F7-18716386343A}"/>
              </a:ext>
            </a:extLst>
          </p:cNvPr>
          <p:cNvSpPr txBox="1"/>
          <p:nvPr/>
        </p:nvSpPr>
        <p:spPr>
          <a:xfrm rot="16200000">
            <a:off x="4719285" y="3454695"/>
            <a:ext cx="21587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419" sz="3200" b="1"/>
              <a:t>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D02D18-3C5B-1737-317B-33410183C6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412" y="2548517"/>
            <a:ext cx="4422522" cy="3159610"/>
          </a:xfrm>
          <a:prstGeom prst="rect">
            <a:avLst/>
          </a:prstGeom>
        </p:spPr>
      </p:pic>
      <p:pic>
        <p:nvPicPr>
          <p:cNvPr id="8" name="Picture 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3B9416A-56F0-B815-DC8B-998849E52E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93" y="1947111"/>
            <a:ext cx="6496633" cy="376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46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vel-T.potx" id="{2CF6A590-CB06-4261-880B-19D77BCC3F1B}" vid="{155EA292-4C34-43FD-8BDA-E27211F232E5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vel-T.potx" id="{2CF6A590-CB06-4261-880B-19D77BCC3F1B}" vid="{155EA292-4C34-43FD-8BDA-E27211F232E5}"/>
    </a:ext>
  </a:extLst>
</a:theme>
</file>

<file path=ppt/theme/theme5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2982</Words>
  <Application>Microsoft Macintosh PowerPoint</Application>
  <PresentationFormat>Widescreen</PresentationFormat>
  <Paragraphs>834</Paragraphs>
  <Slides>77</Slides>
  <Notes>64</Notes>
  <HiddenSlides>5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7</vt:i4>
      </vt:variant>
    </vt:vector>
  </HeadingPairs>
  <TitlesOfParts>
    <vt:vector size="93" baseType="lpstr">
      <vt:lpstr>Arial</vt:lpstr>
      <vt:lpstr>Arial,Sans-Serif</vt:lpstr>
      <vt:lpstr>Calibri</vt:lpstr>
      <vt:lpstr>Calibri Light</vt:lpstr>
      <vt:lpstr>Courier New</vt:lpstr>
      <vt:lpstr>Palatino Linotype</vt:lpstr>
      <vt:lpstr>Segoe UI</vt:lpstr>
      <vt:lpstr>Wingdings</vt:lpstr>
      <vt:lpstr>1_Tema de Office</vt:lpstr>
      <vt:lpstr>Tema de Office</vt:lpstr>
      <vt:lpstr>1_Office Theme</vt:lpstr>
      <vt:lpstr>2_Tema de Office</vt:lpstr>
      <vt:lpstr>3_Tema de Office</vt:lpstr>
      <vt:lpstr>6_Custom Design</vt:lpstr>
      <vt:lpstr>7_Custom Design</vt:lpstr>
      <vt:lpstr>think-cell Slide</vt:lpstr>
      <vt:lpstr>PowerPoint Presentation</vt:lpstr>
      <vt:lpstr>PowerPoint Presentation</vt:lpstr>
      <vt:lpstr>1. Panorama general de la herramienta</vt:lpstr>
      <vt:lpstr>Tres preguntas claves en el análisis de riesgo para sarampión y rubeola </vt:lpstr>
      <vt:lpstr>PowerPoint Presentation</vt:lpstr>
      <vt:lpstr>PowerPoint Presentation</vt:lpstr>
      <vt:lpstr>Variables de la herramienta de riesgo</vt:lpstr>
      <vt:lpstr>PowerPoint Presentation</vt:lpstr>
      <vt:lpstr>Dos tipos de herramienta de riesgo: </vt:lpstr>
      <vt:lpstr>PowerPoint Presentation</vt:lpstr>
      <vt:lpstr>PowerPoint Presentation</vt:lpstr>
      <vt:lpstr>Uso de los resultados de la evaluación de riesgo</vt:lpstr>
      <vt:lpstr>PowerPoint Presentation</vt:lpstr>
      <vt:lpstr>2. Consideraciones para preparar los datos</vt:lpstr>
      <vt:lpstr>1. Definir el nivel administrativo  </vt:lpstr>
      <vt:lpstr>2. Los códigos georreferenciales por nivel de administrativo no deben repetirse</vt:lpstr>
      <vt:lpstr>PowerPoint Presentation</vt:lpstr>
      <vt:lpstr>Garantizar el formato de los datos</vt:lpstr>
      <vt:lpstr>Garantizar la completitud de los datos</vt:lpstr>
      <vt:lpstr>Garantizar la calidad de los datos</vt:lpstr>
      <vt:lpstr>3. Pasos para ejecutar la herramienta de riesgo</vt:lpstr>
      <vt:lpstr>Flujograma para ejecutar el análisis de riesgo en línea</vt:lpstr>
      <vt:lpstr>Organización y contenido de carpetas</vt:lpstr>
      <vt:lpstr>Paso 1: Preparar y configurar herramienta</vt:lpstr>
      <vt:lpstr>Instalar R y R Studio</vt:lpstr>
      <vt:lpstr>Configuración R Studio</vt:lpstr>
      <vt:lpstr>Configuración R Studio</vt:lpstr>
      <vt:lpstr>Verificar acceso a GitHub</vt:lpstr>
      <vt:lpstr>Descargar herramienta</vt:lpstr>
      <vt:lpstr>Folder de trabajo</vt:lpstr>
      <vt:lpstr>Colocar country_data.xlsx y country_flag.png en /Data/</vt:lpstr>
      <vt:lpstr>Configurar paquetes de R – config.R</vt:lpstr>
      <vt:lpstr>Paso 2: Preparar shapefiles</vt:lpstr>
      <vt:lpstr>Qué son los shapefiles</vt:lpstr>
      <vt:lpstr>Colocar shapefiles o GeoJSON en carpeta Shapefile_prep</vt:lpstr>
      <vt:lpstr>Subir shapefiles a mapshaper.org</vt:lpstr>
      <vt:lpstr>Cargar y explorar atributos de los shapefiles</vt:lpstr>
      <vt:lpstr>Abrir excel shapefile_settings /Shapefile_prep/shapefile_settings.xlsx</vt:lpstr>
      <vt:lpstr>Identificar atributos y llenar shapefile_settings</vt:lpstr>
      <vt:lpstr>Crear shapefiles finales Abrir geodata_to_shapefiles.R en RStudio</vt:lpstr>
      <vt:lpstr>Crear shapefiles finales Ejecutar geodata_to_shapefiles.R </vt:lpstr>
      <vt:lpstr>Verificar carpeta "shapefiles" en carpeta “Data”</vt:lpstr>
      <vt:lpstr>Paso 3: Recopilar los datos en plantilla de Excel </vt:lpstr>
      <vt:lpstr>Abrir plantilla Excel country_data Llenar información página: 1-General</vt:lpstr>
      <vt:lpstr>Abrir Excel /Shapefile_prep/geocodigos_nombre.xlsx Pre-llenar información de geocódigos y nombres en pestañas 2,3,4,5,7</vt:lpstr>
      <vt:lpstr>PowerPoint Presentation</vt:lpstr>
      <vt:lpstr>Colocar country_data.xlsx y country_flag.png en /Data/</vt:lpstr>
      <vt:lpstr>Bonus track: Qué hacer cuando primero se ha llenado el Excel con los datos </vt:lpstr>
      <vt:lpstr>Bonus track: Qué hacer cuando primero se ha llenado el Excel con los datos </vt:lpstr>
      <vt:lpstr>Paso 4. Revisar la calidad del dato</vt:lpstr>
      <vt:lpstr>Informe de calidad del dato </vt:lpstr>
      <vt:lpstr>Generar informe de calidad del dato Abrir qa.R en RStudio </vt:lpstr>
      <vt:lpstr>Generar informe de calidad del dato Ejecutar qa.R en RStudio.</vt:lpstr>
      <vt:lpstr>Abrir Reporte QA</vt:lpstr>
      <vt:lpstr>Estructura</vt:lpstr>
      <vt:lpstr>Ejemplos de errores</vt:lpstr>
      <vt:lpstr>Ejemplos de errores</vt:lpstr>
      <vt:lpstr>Ejemplos de errores 6 - Caso a caso</vt:lpstr>
      <vt:lpstr>Proceso de corrección de  errores encontrados</vt:lpstr>
      <vt:lpstr>Paso 5. Ejecutar la herramienta de riesgo</vt:lpstr>
      <vt:lpstr>Ejecutar la herramienta de riesgo Abrir run.R en RStudio </vt:lpstr>
      <vt:lpstr>Ejecutar la herramienta de riesgo Abrir run.R en RStudio y ejecutar. </vt:lpstr>
      <vt:lpstr>Mensajes de ejecución de la herramienta de riesgo</vt:lpstr>
      <vt:lpstr>Visualización de resultados</vt:lpstr>
      <vt:lpstr>Paso 6. Publicar los resultados en línea</vt:lpstr>
      <vt:lpstr>Crear cuenta en Shinyapps.io </vt:lpstr>
      <vt:lpstr>Conectar R Studio a Shinyapps.io </vt:lpstr>
      <vt:lpstr>Conectar R Studio a Shinyapps.io </vt:lpstr>
      <vt:lpstr>Conectar R Studio a Shinyapps.io </vt:lpstr>
      <vt:lpstr>Publicar dashboard de resultados en Shinyapps.io </vt:lpstr>
      <vt:lpstr>Publicar dashboard de resultados en Shinyapps.io </vt:lpstr>
      <vt:lpstr>Publicar dashboard de resultados en Shinyapps.io </vt:lpstr>
      <vt:lpstr>Ver publicación en línea </vt:lpstr>
      <vt:lpstr>Flujograma para actualizar el análisis de riesgo en línea</vt:lpstr>
      <vt:lpstr>Paso 7. Ejecutar el análisis de riesgo cada año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la herramienta para SRP</dc:title>
  <dc:creator>Vincent Bertin</dc:creator>
  <cp:keywords>MRAT;PAHO;pantallas;herramienta</cp:keywords>
  <cp:lastModifiedBy>Quezada,  Luis Fernando (OS-)</cp:lastModifiedBy>
  <cp:revision>2</cp:revision>
  <dcterms:created xsi:type="dcterms:W3CDTF">2018-10-24T11:31:44Z</dcterms:created>
  <dcterms:modified xsi:type="dcterms:W3CDTF">2024-02-15T15:16:40Z</dcterms:modified>
</cp:coreProperties>
</file>